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slideLayouts/slideLayout40.xml" ContentType="application/vnd.openxmlformats-officedocument.presentationml.slideLayout+xml"/>
  <Override PartName="/ppt/theme/theme6.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7.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8.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9.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1" r:id="rId3"/>
    <p:sldMasterId id="2147483683" r:id="rId4"/>
    <p:sldMasterId id="2147483729" r:id="rId5"/>
    <p:sldMasterId id="2147483774" r:id="rId6"/>
    <p:sldMasterId id="2147483870" r:id="rId7"/>
    <p:sldMasterId id="2147483880" r:id="rId8"/>
    <p:sldMasterId id="2147483918" r:id="rId9"/>
    <p:sldMasterId id="2147483931" r:id="rId10"/>
  </p:sldMasterIdLst>
  <p:notesMasterIdLst>
    <p:notesMasterId r:id="rId96"/>
  </p:notesMasterIdLst>
  <p:sldIdLst>
    <p:sldId id="256" r:id="rId11"/>
    <p:sldId id="257" r:id="rId12"/>
    <p:sldId id="266" r:id="rId13"/>
    <p:sldId id="260" r:id="rId14"/>
    <p:sldId id="263" r:id="rId15"/>
    <p:sldId id="10954" r:id="rId16"/>
    <p:sldId id="11005" r:id="rId17"/>
    <p:sldId id="11009" r:id="rId18"/>
    <p:sldId id="11010" r:id="rId19"/>
    <p:sldId id="11016" r:id="rId20"/>
    <p:sldId id="10983" r:id="rId21"/>
    <p:sldId id="11012" r:id="rId22"/>
    <p:sldId id="11013" r:id="rId23"/>
    <p:sldId id="11027" r:id="rId24"/>
    <p:sldId id="11004" r:id="rId25"/>
    <p:sldId id="364" r:id="rId26"/>
    <p:sldId id="10933" r:id="rId27"/>
    <p:sldId id="10932" r:id="rId28"/>
    <p:sldId id="10957" r:id="rId29"/>
    <p:sldId id="10959" r:id="rId30"/>
    <p:sldId id="10934" r:id="rId31"/>
    <p:sldId id="10960" r:id="rId32"/>
    <p:sldId id="10938" r:id="rId33"/>
    <p:sldId id="10939" r:id="rId34"/>
    <p:sldId id="10961" r:id="rId35"/>
    <p:sldId id="10944" r:id="rId36"/>
    <p:sldId id="10962" r:id="rId37"/>
    <p:sldId id="10949" r:id="rId38"/>
    <p:sldId id="10963" r:id="rId39"/>
    <p:sldId id="10964" r:id="rId40"/>
    <p:sldId id="4808" r:id="rId41"/>
    <p:sldId id="4809" r:id="rId42"/>
    <p:sldId id="4844" r:id="rId43"/>
    <p:sldId id="11029" r:id="rId44"/>
    <p:sldId id="11030" r:id="rId45"/>
    <p:sldId id="11006" r:id="rId46"/>
    <p:sldId id="11007" r:id="rId47"/>
    <p:sldId id="11008" r:id="rId48"/>
    <p:sldId id="1792" r:id="rId49"/>
    <p:sldId id="11017" r:id="rId50"/>
    <p:sldId id="1112" r:id="rId51"/>
    <p:sldId id="11018" r:id="rId52"/>
    <p:sldId id="779" r:id="rId53"/>
    <p:sldId id="11019" r:id="rId54"/>
    <p:sldId id="11028" r:id="rId55"/>
    <p:sldId id="10872" r:id="rId56"/>
    <p:sldId id="11020" r:id="rId57"/>
    <p:sldId id="10910" r:id="rId58"/>
    <p:sldId id="11014" r:id="rId59"/>
    <p:sldId id="11015" r:id="rId60"/>
    <p:sldId id="264" r:id="rId61"/>
    <p:sldId id="366" r:id="rId62"/>
    <p:sldId id="1728" r:id="rId63"/>
    <p:sldId id="270" r:id="rId64"/>
    <p:sldId id="10936" r:id="rId65"/>
    <p:sldId id="1038" r:id="rId66"/>
    <p:sldId id="11021" r:id="rId67"/>
    <p:sldId id="11022" r:id="rId68"/>
    <p:sldId id="258" r:id="rId69"/>
    <p:sldId id="11023" r:id="rId70"/>
    <p:sldId id="259" r:id="rId71"/>
    <p:sldId id="261" r:id="rId72"/>
    <p:sldId id="262" r:id="rId73"/>
    <p:sldId id="11024" r:id="rId74"/>
    <p:sldId id="11025" r:id="rId75"/>
    <p:sldId id="10859" r:id="rId76"/>
    <p:sldId id="11002" r:id="rId77"/>
    <p:sldId id="868" r:id="rId78"/>
    <p:sldId id="11026" r:id="rId79"/>
    <p:sldId id="5715" r:id="rId80"/>
    <p:sldId id="5721" r:id="rId81"/>
    <p:sldId id="5722" r:id="rId82"/>
    <p:sldId id="5724" r:id="rId83"/>
    <p:sldId id="5713" r:id="rId84"/>
    <p:sldId id="5714" r:id="rId85"/>
    <p:sldId id="5723" r:id="rId86"/>
    <p:sldId id="5725" r:id="rId87"/>
    <p:sldId id="5726" r:id="rId88"/>
    <p:sldId id="5727" r:id="rId89"/>
    <p:sldId id="409" r:id="rId90"/>
    <p:sldId id="10972" r:id="rId91"/>
    <p:sldId id="10968" r:id="rId92"/>
    <p:sldId id="10970" r:id="rId93"/>
    <p:sldId id="269" r:id="rId94"/>
    <p:sldId id="2123" r:id="rId95"/>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ady, Cindi" initials="KC" lastIdx="1" clrIdx="0">
    <p:extLst>
      <p:ext uri="{19B8F6BF-5375-455C-9EA6-DF929625EA0E}">
        <p15:presenceInfo xmlns:p15="http://schemas.microsoft.com/office/powerpoint/2012/main" userId="S-1-5-21-798254582-200106796-1537874043-125763" providerId="AD"/>
      </p:ext>
    </p:extLst>
  </p:cmAuthor>
  <p:cmAuthor id="2" name="Rhyne, Craig D" initials="RCD" lastIdx="1" clrIdx="1">
    <p:extLst>
      <p:ext uri="{19B8F6BF-5375-455C-9EA6-DF929625EA0E}">
        <p15:presenceInfo xmlns:p15="http://schemas.microsoft.com/office/powerpoint/2012/main" userId="S::crhyne@stjoe.org::71649abc-8083-4223-98b2-3cfdbe7666b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1F29"/>
    <a:srgbClr val="F38D4D"/>
    <a:srgbClr val="339933"/>
    <a:srgbClr val="000099"/>
    <a:srgbClr val="E936ED"/>
    <a:srgbClr val="E85C0E"/>
    <a:srgbClr val="D5540D"/>
    <a:srgbClr val="CE510C"/>
    <a:srgbClr val="C04C0C"/>
    <a:srgbClr val="99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4092" autoAdjust="0"/>
    <p:restoredTop sz="95535" autoAdjust="0"/>
  </p:normalViewPr>
  <p:slideViewPr>
    <p:cSldViewPr snapToGrid="0">
      <p:cViewPr varScale="1">
        <p:scale>
          <a:sx n="118" d="100"/>
          <a:sy n="118" d="100"/>
        </p:scale>
        <p:origin x="240" y="1160"/>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548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slide" Target="slides/slide74.xml"/><Relationship Id="rId89" Type="http://schemas.openxmlformats.org/officeDocument/2006/relationships/slide" Target="slides/slide79.xml"/><Relationship Id="rId16" Type="http://schemas.openxmlformats.org/officeDocument/2006/relationships/slide" Target="slides/slide6.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slide" Target="slides/slide69.xml"/><Relationship Id="rId5" Type="http://schemas.openxmlformats.org/officeDocument/2006/relationships/slideMaster" Target="slideMasters/slideMaster5.xml"/><Relationship Id="rId90" Type="http://schemas.openxmlformats.org/officeDocument/2006/relationships/slide" Target="slides/slide80.xml"/><Relationship Id="rId95" Type="http://schemas.openxmlformats.org/officeDocument/2006/relationships/slide" Target="slides/slide85.xml"/><Relationship Id="rId22" Type="http://schemas.openxmlformats.org/officeDocument/2006/relationships/slide" Target="slides/slide12.xml"/><Relationship Id="rId27" Type="http://schemas.openxmlformats.org/officeDocument/2006/relationships/slide" Target="slides/slide17.xml"/><Relationship Id="rId43" Type="http://schemas.openxmlformats.org/officeDocument/2006/relationships/slide" Target="slides/slide33.xml"/><Relationship Id="rId48" Type="http://schemas.openxmlformats.org/officeDocument/2006/relationships/slide" Target="slides/slide38.xml"/><Relationship Id="rId64" Type="http://schemas.openxmlformats.org/officeDocument/2006/relationships/slide" Target="slides/slide54.xml"/><Relationship Id="rId69" Type="http://schemas.openxmlformats.org/officeDocument/2006/relationships/slide" Target="slides/slide59.xml"/><Relationship Id="rId80" Type="http://schemas.openxmlformats.org/officeDocument/2006/relationships/slide" Target="slides/slide70.xml"/><Relationship Id="rId85" Type="http://schemas.openxmlformats.org/officeDocument/2006/relationships/slide" Target="slides/slide75.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slide" Target="slides/slide78.xml"/><Relationship Id="rId91" Type="http://schemas.openxmlformats.org/officeDocument/2006/relationships/slide" Target="slides/slide81.xml"/><Relationship Id="rId96"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slide" Target="slides/slide84.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commentAuthors" Target="commentAuthors.xml"/><Relationship Id="rId7" Type="http://schemas.openxmlformats.org/officeDocument/2006/relationships/slideMaster" Target="slideMasters/slideMaster7.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slideMaster" Target="slideMasters/slideMaster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61" Type="http://schemas.openxmlformats.org/officeDocument/2006/relationships/slide" Target="slides/slide51.xml"/><Relationship Id="rId82" Type="http://schemas.openxmlformats.org/officeDocument/2006/relationships/slide" Target="slides/slide72.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presProps" Target="presProps.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BF05DB2C-8DCE-4461-A4C0-829B572BD36F}" type="datetimeFigureOut">
              <a:rPr lang="en-US" smtClean="0"/>
              <a:t>1/8/21</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DD41161-6CC1-40CF-BFAD-D1410EEE27B0}" type="slidenum">
              <a:rPr lang="en-US" smtClean="0"/>
              <a:t>‹#›</a:t>
            </a:fld>
            <a:endParaRPr lang="en-US"/>
          </a:p>
        </p:txBody>
      </p:sp>
    </p:spTree>
    <p:extLst>
      <p:ext uri="{BB962C8B-B14F-4D97-AF65-F5344CB8AC3E}">
        <p14:creationId xmlns:p14="http://schemas.microsoft.com/office/powerpoint/2010/main" val="748858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a:extLst>
              <a:ext uri="{FF2B5EF4-FFF2-40B4-BE49-F238E27FC236}">
                <a16:creationId xmlns:a16="http://schemas.microsoft.com/office/drawing/2014/main" id="{1F574542-6A91-4884-A673-198038223B7D}"/>
              </a:ext>
            </a:extLst>
          </p:cNvPr>
          <p:cNvSpPr>
            <a:spLocks noGrp="1" noRot="1" noChangeAspect="1" noChangeArrowheads="1" noTextEdit="1"/>
          </p:cNvSpPr>
          <p:nvPr>
            <p:ph type="sldImg"/>
          </p:nvPr>
        </p:nvSpPr>
        <p:spPr>
          <a:ln/>
        </p:spPr>
      </p:sp>
      <p:sp>
        <p:nvSpPr>
          <p:cNvPr id="11267" name="Notes Placeholder 2">
            <a:extLst>
              <a:ext uri="{FF2B5EF4-FFF2-40B4-BE49-F238E27FC236}">
                <a16:creationId xmlns:a16="http://schemas.microsoft.com/office/drawing/2014/main" id="{2E6E574E-4302-4E7A-B900-F5390E4ADC9C}"/>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cs typeface="Arial" panose="020B0604020202020204" pitchFamily="34" charset="0"/>
            </a:endParaRPr>
          </a:p>
        </p:txBody>
      </p:sp>
      <p:sp>
        <p:nvSpPr>
          <p:cNvPr id="11268" name="Slide Number Placeholder 3">
            <a:extLst>
              <a:ext uri="{FF2B5EF4-FFF2-40B4-BE49-F238E27FC236}">
                <a16:creationId xmlns:a16="http://schemas.microsoft.com/office/drawing/2014/main" id="{2EF6941F-6A48-4F3E-935E-97884526BFB6}"/>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57238" indent="-290513">
              <a:spcBef>
                <a:spcPct val="30000"/>
              </a:spcBef>
              <a:defRPr sz="1200">
                <a:solidFill>
                  <a:schemeClr val="tx1"/>
                </a:solidFill>
                <a:latin typeface="Arial" panose="020B0604020202020204" pitchFamily="34" charset="0"/>
                <a:cs typeface="Arial" panose="020B0604020202020204" pitchFamily="34" charset="0"/>
              </a:defRPr>
            </a:lvl2pPr>
            <a:lvl3pPr marL="1165225" indent="-231775">
              <a:spcBef>
                <a:spcPct val="30000"/>
              </a:spcBef>
              <a:defRPr sz="1200">
                <a:solidFill>
                  <a:schemeClr val="tx1"/>
                </a:solidFill>
                <a:latin typeface="Arial" panose="020B0604020202020204" pitchFamily="34" charset="0"/>
                <a:cs typeface="Arial" panose="020B0604020202020204" pitchFamily="34" charset="0"/>
              </a:defRPr>
            </a:lvl3pPr>
            <a:lvl4pPr marL="1631950" indent="-231775">
              <a:spcBef>
                <a:spcPct val="30000"/>
              </a:spcBef>
              <a:defRPr sz="1200">
                <a:solidFill>
                  <a:schemeClr val="tx1"/>
                </a:solidFill>
                <a:latin typeface="Arial" panose="020B0604020202020204" pitchFamily="34" charset="0"/>
                <a:cs typeface="Arial" panose="020B0604020202020204" pitchFamily="34" charset="0"/>
              </a:defRPr>
            </a:lvl4pPr>
            <a:lvl5pPr marL="2098675" indent="-231775">
              <a:spcBef>
                <a:spcPct val="30000"/>
              </a:spcBef>
              <a:defRPr sz="1200">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F0992A7-AFA6-4059-90D7-58A026B78436}"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247647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47</a:t>
            </a:fld>
            <a:endParaRPr lang="en-US"/>
          </a:p>
        </p:txBody>
      </p:sp>
    </p:spTree>
    <p:extLst>
      <p:ext uri="{BB962C8B-B14F-4D97-AF65-F5344CB8AC3E}">
        <p14:creationId xmlns:p14="http://schemas.microsoft.com/office/powerpoint/2010/main" val="4289380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56</a:t>
            </a:fld>
            <a:endParaRPr lang="en-US" dirty="0"/>
          </a:p>
        </p:txBody>
      </p:sp>
    </p:spTree>
    <p:extLst>
      <p:ext uri="{BB962C8B-B14F-4D97-AF65-F5344CB8AC3E}">
        <p14:creationId xmlns:p14="http://schemas.microsoft.com/office/powerpoint/2010/main" val="14153833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3D3641F-9DC9-4C37-8076-B2E08F82F9C5}" type="slidenum">
              <a:rPr lang="en-US" smtClean="0"/>
              <a:t>68</a:t>
            </a:fld>
            <a:endParaRPr lang="en-US"/>
          </a:p>
        </p:txBody>
      </p:sp>
    </p:spTree>
    <p:extLst>
      <p:ext uri="{BB962C8B-B14F-4D97-AF65-F5344CB8AC3E}">
        <p14:creationId xmlns:p14="http://schemas.microsoft.com/office/powerpoint/2010/main" val="25445043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464620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87130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1D91CB0-253A-42D9-A4C7-32011C21724A}"/>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0A42D9E5-510E-47E0-B0A1-BEB684DA8F3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7412" name="Slide Number Placeholder 3">
            <a:extLst>
              <a:ext uri="{FF2B5EF4-FFF2-40B4-BE49-F238E27FC236}">
                <a16:creationId xmlns:a16="http://schemas.microsoft.com/office/drawing/2014/main" id="{E8CCDC4D-F3FA-45D3-B376-A41898F2C4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60D4B7-0745-4EB2-800A-61E7F03E01B3}"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5</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440480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id="{CAC1FEAA-6834-4322-BCFF-9062A510C02C}"/>
              </a:ext>
            </a:extLst>
          </p:cNvPr>
          <p:cNvSpPr>
            <a:spLocks noGrp="1" noRot="1" noChangeAspect="1" noChangeArrowheads="1" noTextEdit="1"/>
          </p:cNvSpPr>
          <p:nvPr>
            <p:ph type="sldImg"/>
          </p:nvPr>
        </p:nvSpPr>
        <p:spPr>
          <a:ln/>
        </p:spPr>
      </p:sp>
      <p:sp>
        <p:nvSpPr>
          <p:cNvPr id="15363" name="Notes Placeholder 2">
            <a:extLst>
              <a:ext uri="{FF2B5EF4-FFF2-40B4-BE49-F238E27FC236}">
                <a16:creationId xmlns:a16="http://schemas.microsoft.com/office/drawing/2014/main" id="{4AA118C7-3C10-4790-AAAD-A415FE1A44F5}"/>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Arial" panose="020B0604020202020204" pitchFamily="34" charset="0"/>
              <a:cs typeface="Arial" panose="020B0604020202020204" pitchFamily="34" charset="0"/>
            </a:endParaRPr>
          </a:p>
        </p:txBody>
      </p:sp>
      <p:sp>
        <p:nvSpPr>
          <p:cNvPr id="15364" name="Slide Number Placeholder 3">
            <a:extLst>
              <a:ext uri="{FF2B5EF4-FFF2-40B4-BE49-F238E27FC236}">
                <a16:creationId xmlns:a16="http://schemas.microsoft.com/office/drawing/2014/main" id="{4C238052-F157-4386-8760-EFED3AB1573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7900A14-864B-4B61-A6D8-E35507CEEA17}"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140922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1D91CB0-253A-42D9-A4C7-32011C21724A}"/>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0A42D9E5-510E-47E0-B0A1-BEB684DA8F3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Arial" panose="020B0604020202020204" pitchFamily="34" charset="0"/>
              <a:cs typeface="Arial" panose="020B0604020202020204" pitchFamily="34" charset="0"/>
            </a:endParaRPr>
          </a:p>
        </p:txBody>
      </p:sp>
      <p:sp>
        <p:nvSpPr>
          <p:cNvPr id="17412" name="Slide Number Placeholder 3">
            <a:extLst>
              <a:ext uri="{FF2B5EF4-FFF2-40B4-BE49-F238E27FC236}">
                <a16:creationId xmlns:a16="http://schemas.microsoft.com/office/drawing/2014/main" id="{E8CCDC4D-F3FA-45D3-B376-A41898F2C4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60D4B7-0745-4EB2-800A-61E7F03E01B3}"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581239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40</a:t>
            </a:fld>
            <a:endParaRPr lang="en-US"/>
          </a:p>
        </p:txBody>
      </p:sp>
    </p:spTree>
    <p:extLst>
      <p:ext uri="{BB962C8B-B14F-4D97-AF65-F5344CB8AC3E}">
        <p14:creationId xmlns:p14="http://schemas.microsoft.com/office/powerpoint/2010/main" val="17733915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41</a:t>
            </a:fld>
            <a:endParaRPr lang="en-US"/>
          </a:p>
        </p:txBody>
      </p:sp>
    </p:spTree>
    <p:extLst>
      <p:ext uri="{BB962C8B-B14F-4D97-AF65-F5344CB8AC3E}">
        <p14:creationId xmlns:p14="http://schemas.microsoft.com/office/powerpoint/2010/main" val="23877189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42</a:t>
            </a:fld>
            <a:endParaRPr lang="en-US"/>
          </a:p>
        </p:txBody>
      </p:sp>
    </p:spTree>
    <p:extLst>
      <p:ext uri="{BB962C8B-B14F-4D97-AF65-F5344CB8AC3E}">
        <p14:creationId xmlns:p14="http://schemas.microsoft.com/office/powerpoint/2010/main" val="12258654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43</a:t>
            </a:fld>
            <a:endParaRPr lang="en-US" dirty="0"/>
          </a:p>
        </p:txBody>
      </p:sp>
    </p:spTree>
    <p:extLst>
      <p:ext uri="{BB962C8B-B14F-4D97-AF65-F5344CB8AC3E}">
        <p14:creationId xmlns:p14="http://schemas.microsoft.com/office/powerpoint/2010/main" val="3040128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44</a:t>
            </a:fld>
            <a:endParaRPr lang="en-US"/>
          </a:p>
        </p:txBody>
      </p:sp>
    </p:spTree>
    <p:extLst>
      <p:ext uri="{BB962C8B-B14F-4D97-AF65-F5344CB8AC3E}">
        <p14:creationId xmlns:p14="http://schemas.microsoft.com/office/powerpoint/2010/main" val="27535860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45</a:t>
            </a:fld>
            <a:endParaRPr lang="en-US" dirty="0"/>
          </a:p>
        </p:txBody>
      </p:sp>
    </p:spTree>
    <p:extLst>
      <p:ext uri="{BB962C8B-B14F-4D97-AF65-F5344CB8AC3E}">
        <p14:creationId xmlns:p14="http://schemas.microsoft.com/office/powerpoint/2010/main" val="34097065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g"/><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jpg"/><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jp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jpg"/><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2.jpg"/><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3.jpg"/><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4.jp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5.jpg"/><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6.jpg"/><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7.jp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8.jpg"/><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9.png"/><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9.png"/><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5.jpg"/><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6.jpg"/><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9.emf"/></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0.png"/><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tags" Target="../tags/tag56.xml"/><Relationship Id="rId11" Type="http://schemas.openxmlformats.org/officeDocument/2006/relationships/image" Target="../media/image8.emf"/><Relationship Id="rId5" Type="http://schemas.openxmlformats.org/officeDocument/2006/relationships/tags" Target="../tags/tag55.xml"/><Relationship Id="rId10" Type="http://schemas.openxmlformats.org/officeDocument/2006/relationships/oleObject" Target="../embeddings/oleObject6.bin"/><Relationship Id="rId4" Type="http://schemas.openxmlformats.org/officeDocument/2006/relationships/tags" Target="../tags/tag54.xml"/><Relationship Id="rId9"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image" Target="../media/image8.emf"/><Relationship Id="rId5" Type="http://schemas.openxmlformats.org/officeDocument/2006/relationships/tags" Target="../tags/tag62.xml"/><Relationship Id="rId10" Type="http://schemas.openxmlformats.org/officeDocument/2006/relationships/oleObject" Target="../embeddings/oleObject7.bin"/><Relationship Id="rId4" Type="http://schemas.openxmlformats.org/officeDocument/2006/relationships/tags" Target="../tags/tag61.xml"/><Relationship Id="rId9"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image" Target="../media/image8.emf"/><Relationship Id="rId5" Type="http://schemas.openxmlformats.org/officeDocument/2006/relationships/tags" Target="../tags/tag69.xml"/><Relationship Id="rId10" Type="http://schemas.openxmlformats.org/officeDocument/2006/relationships/oleObject" Target="../embeddings/oleObject8.bin"/><Relationship Id="rId4" Type="http://schemas.openxmlformats.org/officeDocument/2006/relationships/tags" Target="../tags/tag68.xml"/><Relationship Id="rId9"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tags" Target="../tags/tag77.xml"/><Relationship Id="rId11" Type="http://schemas.openxmlformats.org/officeDocument/2006/relationships/image" Target="../media/image11.emf"/><Relationship Id="rId5" Type="http://schemas.openxmlformats.org/officeDocument/2006/relationships/tags" Target="../tags/tag76.xml"/><Relationship Id="rId10" Type="http://schemas.openxmlformats.org/officeDocument/2006/relationships/oleObject" Target="../embeddings/oleObject9.bin"/><Relationship Id="rId4" Type="http://schemas.openxmlformats.org/officeDocument/2006/relationships/tags" Target="../tags/tag75.xml"/><Relationship Id="rId9"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1.xml"/><Relationship Id="rId7" Type="http://schemas.openxmlformats.org/officeDocument/2006/relationships/image" Target="../media/image9.emf"/><Relationship Id="rId2" Type="http://schemas.openxmlformats.org/officeDocument/2006/relationships/tags" Target="../tags/tag8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82.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4.xml"/><Relationship Id="rId7" Type="http://schemas.openxmlformats.org/officeDocument/2006/relationships/image" Target="../media/image9.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85.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4.xml"/><Relationship Id="rId4" Type="http://schemas.openxmlformats.org/officeDocument/2006/relationships/tags" Target="../tags/tag8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0.xml"/><Relationship Id="rId7" Type="http://schemas.openxmlformats.org/officeDocument/2006/relationships/image" Target="../media/image9.emf"/><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3.xml"/><Relationship Id="rId7"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2.jpeg"/><Relationship Id="rId2" Type="http://schemas.openxmlformats.org/officeDocument/2006/relationships/tags" Target="../tags/tag9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openxmlformats.org/officeDocument/2006/relationships/image" Target="../media/image13.jp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jpg"/><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8.jpg"/><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0.jpe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g"/><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27929792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a:t>1/8/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235774872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ver_image_1">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49" y="0"/>
            <a:ext cx="12179298" cy="6856212"/>
          </a:xfrm>
          <a:prstGeom prst="rect">
            <a:avLst/>
          </a:prstGeom>
        </p:spPr>
      </p:pic>
      <p:pic>
        <p:nvPicPr>
          <p:cNvPr id="8" name="Picture 7">
            <a:extLst>
              <a:ext uri="{FF2B5EF4-FFF2-40B4-BE49-F238E27FC236}">
                <a16:creationId xmlns:a16="http://schemas.microsoft.com/office/drawing/2014/main" id="{F20716D8-B44F-884B-A9C2-459621A71328}"/>
              </a:ext>
            </a:extLst>
          </p:cNvPr>
          <p:cNvPicPr>
            <a:picLocks noChangeAspect="1"/>
          </p:cNvPicPr>
          <p:nvPr userDrawn="1"/>
        </p:nvPicPr>
        <p:blipFill>
          <a:blip r:embed="rId3"/>
          <a:srcRect/>
          <a:stretch/>
        </p:blipFill>
        <p:spPr>
          <a:xfrm>
            <a:off x="474482" y="480762"/>
            <a:ext cx="2431521" cy="463564"/>
          </a:xfrm>
          <a:prstGeom prst="rect">
            <a:avLst/>
          </a:prstGeom>
        </p:spPr>
      </p:pic>
      <p:sp>
        <p:nvSpPr>
          <p:cNvPr id="11" name="Title 1">
            <a:extLst>
              <a:ext uri="{FF2B5EF4-FFF2-40B4-BE49-F238E27FC236}">
                <a16:creationId xmlns:a16="http://schemas.microsoft.com/office/drawing/2014/main" id="{28630CEA-3BC3-674A-A438-E4F13669E610}"/>
              </a:ext>
            </a:extLst>
          </p:cNvPr>
          <p:cNvSpPr>
            <a:spLocks noGrp="1"/>
          </p:cNvSpPr>
          <p:nvPr>
            <p:ph type="title"/>
          </p:nvPr>
        </p:nvSpPr>
        <p:spPr>
          <a:xfrm>
            <a:off x="457320" y="3429000"/>
            <a:ext cx="5525938" cy="2072148"/>
          </a:xfrm>
        </p:spPr>
        <p:txBody>
          <a:bodyPr lIns="0" tIns="182880" rIns="0" bIns="0" anchor="t" anchorCtr="0">
            <a:noAutofit/>
          </a:bodyPr>
          <a:lstStyle>
            <a:lvl1pPr>
              <a:lnSpc>
                <a:spcPts val="5200"/>
              </a:lnSpc>
              <a:defRPr sz="4800" b="0">
                <a:solidFill>
                  <a:schemeClr val="accent1"/>
                </a:solidFill>
              </a:defRPr>
            </a:lvl1pPr>
          </a:lstStyle>
          <a:p>
            <a:r>
              <a:rPr lang="en-US"/>
              <a:t>Click to edit Master title style</a:t>
            </a:r>
          </a:p>
        </p:txBody>
      </p:sp>
      <p:sp>
        <p:nvSpPr>
          <p:cNvPr id="12" name="Text Placeholder 6">
            <a:extLst>
              <a:ext uri="{FF2B5EF4-FFF2-40B4-BE49-F238E27FC236}">
                <a16:creationId xmlns:a16="http://schemas.microsoft.com/office/drawing/2014/main" id="{8C438B96-72CC-AD46-893B-151CAC20B660}"/>
              </a:ext>
            </a:extLst>
          </p:cNvPr>
          <p:cNvSpPr>
            <a:spLocks noGrp="1"/>
          </p:cNvSpPr>
          <p:nvPr>
            <p:ph type="body" sz="quarter" idx="11"/>
          </p:nvPr>
        </p:nvSpPr>
        <p:spPr>
          <a:xfrm>
            <a:off x="460495" y="5501148"/>
            <a:ext cx="5522763" cy="525002"/>
          </a:xfrm>
          <a:prstGeom prst="rect">
            <a:avLst/>
          </a:prstGeom>
        </p:spPr>
        <p:txBody>
          <a:bodyPr lIns="0" tIns="0" anchor="b" anchorCtr="0">
            <a:noAutofit/>
          </a:bodyPr>
          <a:lstStyle>
            <a:lvl1pPr>
              <a:lnSpc>
                <a:spcPts val="2300"/>
              </a:lnSpc>
              <a:spcAft>
                <a:spcPts val="0"/>
              </a:spcAft>
              <a:defRPr sz="16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Click to edit Master text styles</a:t>
            </a:r>
          </a:p>
        </p:txBody>
      </p:sp>
      <p:sp>
        <p:nvSpPr>
          <p:cNvPr id="14" name="Date Placeholder 2">
            <a:extLst>
              <a:ext uri="{FF2B5EF4-FFF2-40B4-BE49-F238E27FC236}">
                <a16:creationId xmlns:a16="http://schemas.microsoft.com/office/drawing/2014/main" id="{B453A5BC-ED0D-4845-A8DD-34DEDE375F56}"/>
              </a:ext>
            </a:extLst>
          </p:cNvPr>
          <p:cNvSpPr>
            <a:spLocks noGrp="1"/>
          </p:cNvSpPr>
          <p:nvPr>
            <p:ph type="dt" sz="half" idx="13"/>
          </p:nvPr>
        </p:nvSpPr>
        <p:spPr>
          <a:xfrm>
            <a:off x="455731" y="6026150"/>
            <a:ext cx="5527526" cy="209550"/>
          </a:xfrm>
          <a:prstGeom prst="rect">
            <a:avLst/>
          </a:prstGeom>
        </p:spPr>
        <p:txBody>
          <a:bodyPr lIns="0" tIns="0" rIns="0" bIns="0"/>
          <a:lstStyle>
            <a:lvl1pPr>
              <a:defRPr sz="1600" b="0" i="0">
                <a:solidFill>
                  <a:schemeClr val="accent2"/>
                </a:solidFill>
                <a:latin typeface="Barlow" pitchFamily="2" charset="77"/>
              </a:defRPr>
            </a:lvl1pPr>
            <a:lvl2pPr marL="0">
              <a:defRPr sz="1600" b="0" i="0">
                <a:solidFill>
                  <a:schemeClr val="accent2"/>
                </a:solidFill>
                <a:latin typeface="Barlow" pitchFamily="2" charset="77"/>
              </a:defRPr>
            </a:lvl2pPr>
            <a:lvl3pPr marL="0">
              <a:defRPr sz="1600" b="0" i="0">
                <a:solidFill>
                  <a:schemeClr val="accent2"/>
                </a:solidFill>
                <a:latin typeface="Barlow" pitchFamily="2" charset="77"/>
              </a:defRPr>
            </a:lvl3pPr>
            <a:lvl4pPr marL="0">
              <a:defRPr sz="1600" b="0" i="0">
                <a:solidFill>
                  <a:schemeClr val="accent2"/>
                </a:solidFill>
                <a:latin typeface="Barlow" pitchFamily="2" charset="77"/>
              </a:defRPr>
            </a:lvl4pPr>
            <a:lvl5pPr marL="0">
              <a:defRPr sz="1600" b="0" i="0">
                <a:solidFill>
                  <a:schemeClr val="accent2"/>
                </a:solidFill>
                <a:latin typeface="Barlow" pitchFamily="2" charset="77"/>
              </a:defRPr>
            </a:lvl5pPr>
            <a:lvl6pPr marL="0">
              <a:defRPr sz="1600" b="0" i="0">
                <a:solidFill>
                  <a:schemeClr val="accent2"/>
                </a:solidFill>
                <a:latin typeface="Barlow" pitchFamily="2" charset="77"/>
              </a:defRPr>
            </a:lvl6pPr>
            <a:lvl7pPr marL="0">
              <a:defRPr sz="1600" b="0" i="0">
                <a:solidFill>
                  <a:schemeClr val="accent2"/>
                </a:solidFill>
                <a:latin typeface="Barlow" pitchFamily="2" charset="77"/>
              </a:defRPr>
            </a:lvl7pPr>
            <a:lvl8pPr marL="0">
              <a:defRPr sz="1600">
                <a:solidFill>
                  <a:schemeClr val="accent2"/>
                </a:solidFill>
                <a:latin typeface="Barlow" pitchFamily="2" charset="77"/>
              </a:defRPr>
            </a:lvl8pPr>
            <a:lvl9pPr marL="0">
              <a:defRPr sz="1600" b="0" i="0">
                <a:solidFill>
                  <a:schemeClr val="accent2"/>
                </a:solidFill>
                <a:latin typeface="Barlow" pitchFamily="2" charset="77"/>
              </a:defRPr>
            </a:lvl9pPr>
          </a:lstStyle>
          <a:p>
            <a:pPr lvl="8"/>
            <a:r>
              <a:rPr lang="en-US"/>
              <a:t>Date</a:t>
            </a:r>
          </a:p>
        </p:txBody>
      </p:sp>
      <p:sp>
        <p:nvSpPr>
          <p:cNvPr id="15" name="Text Placeholder 6">
            <a:extLst>
              <a:ext uri="{FF2B5EF4-FFF2-40B4-BE49-F238E27FC236}">
                <a16:creationId xmlns:a16="http://schemas.microsoft.com/office/drawing/2014/main" id="{9B9BCFA6-6AD5-044E-A501-56F6BB48C533}"/>
              </a:ext>
            </a:extLst>
          </p:cNvPr>
          <p:cNvSpPr>
            <a:spLocks noGrp="1"/>
          </p:cNvSpPr>
          <p:nvPr>
            <p:ph type="body" sz="quarter" idx="14" hasCustomPrompt="1"/>
          </p:nvPr>
        </p:nvSpPr>
        <p:spPr>
          <a:xfrm>
            <a:off x="457319" y="2509603"/>
            <a:ext cx="5525939" cy="919398"/>
          </a:xfrm>
          <a:prstGeom prst="rect">
            <a:avLst/>
          </a:prstGeom>
        </p:spPr>
        <p:txBody>
          <a:bodyPr lIns="0" tIns="182880" anchor="b" anchorCtr="0">
            <a:noAutofit/>
          </a:bodyPr>
          <a:lstStyle>
            <a:lvl1pPr>
              <a:lnSpc>
                <a:spcPts val="2300"/>
              </a:lnSpc>
              <a:spcAft>
                <a:spcPts val="0"/>
              </a:spcAft>
              <a:defRPr sz="20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Optional service or offering name here</a:t>
            </a:r>
          </a:p>
        </p:txBody>
      </p:sp>
      <p:sp>
        <p:nvSpPr>
          <p:cNvPr id="16" name="Picture Placeholder 16">
            <a:extLst>
              <a:ext uri="{FF2B5EF4-FFF2-40B4-BE49-F238E27FC236}">
                <a16:creationId xmlns:a16="http://schemas.microsoft.com/office/drawing/2014/main" id="{B8EEF346-7996-D04B-AAE3-CBEAC9A98FA6}"/>
              </a:ext>
            </a:extLst>
          </p:cNvPr>
          <p:cNvSpPr>
            <a:spLocks noGrp="1"/>
          </p:cNvSpPr>
          <p:nvPr>
            <p:ph type="pic" sz="quarter" idx="17" hasCustomPrompt="1"/>
          </p:nvPr>
        </p:nvSpPr>
        <p:spPr>
          <a:xfrm>
            <a:off x="474482" y="460375"/>
            <a:ext cx="2431521" cy="876300"/>
          </a:xfrm>
          <a:solidFill>
            <a:schemeClr val="bg1"/>
          </a:solidFill>
        </p:spPr>
        <p:txBody>
          <a:bodyPr tIns="0" anchor="t" anchorCtr="0"/>
          <a:lstStyle>
            <a:lvl1pPr algn="ctr">
              <a:spcAft>
                <a:spcPts val="0"/>
              </a:spcAft>
              <a:defRPr sz="800">
                <a:solidFill>
                  <a:schemeClr val="tx2"/>
                </a:solidFill>
              </a:defRPr>
            </a:lvl1pPr>
          </a:lstStyle>
          <a:p>
            <a:r>
              <a:rPr lang="en-US" dirty="0"/>
              <a:t>Insert entity logo or delete box for default logo</a:t>
            </a:r>
          </a:p>
        </p:txBody>
      </p:sp>
    </p:spTree>
    <p:extLst>
      <p:ext uri="{BB962C8B-B14F-4D97-AF65-F5344CB8AC3E}">
        <p14:creationId xmlns:p14="http://schemas.microsoft.com/office/powerpoint/2010/main" val="36381104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ver_image_2">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49" y="0"/>
            <a:ext cx="12179298" cy="6856212"/>
          </a:xfrm>
          <a:prstGeom prst="rect">
            <a:avLst/>
          </a:prstGeom>
        </p:spPr>
      </p:pic>
      <p:pic>
        <p:nvPicPr>
          <p:cNvPr id="8" name="Picture 7">
            <a:extLst>
              <a:ext uri="{FF2B5EF4-FFF2-40B4-BE49-F238E27FC236}">
                <a16:creationId xmlns:a16="http://schemas.microsoft.com/office/drawing/2014/main" id="{7915F7A6-3594-E34F-96EB-8292BF5E701D}"/>
              </a:ext>
            </a:extLst>
          </p:cNvPr>
          <p:cNvPicPr>
            <a:picLocks noChangeAspect="1"/>
          </p:cNvPicPr>
          <p:nvPr userDrawn="1"/>
        </p:nvPicPr>
        <p:blipFill>
          <a:blip r:embed="rId3"/>
          <a:srcRect/>
          <a:stretch/>
        </p:blipFill>
        <p:spPr>
          <a:xfrm>
            <a:off x="474482" y="480762"/>
            <a:ext cx="2431521" cy="463564"/>
          </a:xfrm>
          <a:prstGeom prst="rect">
            <a:avLst/>
          </a:prstGeom>
        </p:spPr>
      </p:pic>
      <p:sp>
        <p:nvSpPr>
          <p:cNvPr id="11" name="Title 1">
            <a:extLst>
              <a:ext uri="{FF2B5EF4-FFF2-40B4-BE49-F238E27FC236}">
                <a16:creationId xmlns:a16="http://schemas.microsoft.com/office/drawing/2014/main" id="{A3D26F65-2984-1045-9680-19A2259D399A}"/>
              </a:ext>
            </a:extLst>
          </p:cNvPr>
          <p:cNvSpPr>
            <a:spLocks noGrp="1"/>
          </p:cNvSpPr>
          <p:nvPr>
            <p:ph type="title"/>
          </p:nvPr>
        </p:nvSpPr>
        <p:spPr>
          <a:xfrm>
            <a:off x="457320" y="3429000"/>
            <a:ext cx="5525938" cy="2072148"/>
          </a:xfrm>
        </p:spPr>
        <p:txBody>
          <a:bodyPr lIns="0" tIns="182880" rIns="0" bIns="0" anchor="t" anchorCtr="0">
            <a:noAutofit/>
          </a:bodyPr>
          <a:lstStyle>
            <a:lvl1pPr>
              <a:lnSpc>
                <a:spcPts val="5200"/>
              </a:lnSpc>
              <a:defRPr sz="4800" b="0">
                <a:solidFill>
                  <a:schemeClr val="accent1"/>
                </a:solidFill>
              </a:defRPr>
            </a:lvl1pPr>
          </a:lstStyle>
          <a:p>
            <a:r>
              <a:rPr lang="en-US"/>
              <a:t>Click to edit Master title style</a:t>
            </a:r>
          </a:p>
        </p:txBody>
      </p:sp>
      <p:sp>
        <p:nvSpPr>
          <p:cNvPr id="12" name="Text Placeholder 6">
            <a:extLst>
              <a:ext uri="{FF2B5EF4-FFF2-40B4-BE49-F238E27FC236}">
                <a16:creationId xmlns:a16="http://schemas.microsoft.com/office/drawing/2014/main" id="{3A762F2D-4238-F84E-8D6D-C3F86C3784B9}"/>
              </a:ext>
            </a:extLst>
          </p:cNvPr>
          <p:cNvSpPr>
            <a:spLocks noGrp="1"/>
          </p:cNvSpPr>
          <p:nvPr>
            <p:ph type="body" sz="quarter" idx="11"/>
          </p:nvPr>
        </p:nvSpPr>
        <p:spPr>
          <a:xfrm>
            <a:off x="460495" y="5501148"/>
            <a:ext cx="5522763" cy="525002"/>
          </a:xfrm>
          <a:prstGeom prst="rect">
            <a:avLst/>
          </a:prstGeom>
        </p:spPr>
        <p:txBody>
          <a:bodyPr lIns="0" tIns="0" anchor="b" anchorCtr="0">
            <a:noAutofit/>
          </a:bodyPr>
          <a:lstStyle>
            <a:lvl1pPr>
              <a:lnSpc>
                <a:spcPts val="2300"/>
              </a:lnSpc>
              <a:spcAft>
                <a:spcPts val="0"/>
              </a:spcAft>
              <a:defRPr sz="16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Click to edit Master text styles</a:t>
            </a:r>
          </a:p>
        </p:txBody>
      </p:sp>
      <p:sp>
        <p:nvSpPr>
          <p:cNvPr id="14" name="Date Placeholder 2">
            <a:extLst>
              <a:ext uri="{FF2B5EF4-FFF2-40B4-BE49-F238E27FC236}">
                <a16:creationId xmlns:a16="http://schemas.microsoft.com/office/drawing/2014/main" id="{447E9EC9-DDC3-9340-A446-60C35DCAFBA7}"/>
              </a:ext>
            </a:extLst>
          </p:cNvPr>
          <p:cNvSpPr>
            <a:spLocks noGrp="1"/>
          </p:cNvSpPr>
          <p:nvPr>
            <p:ph type="dt" sz="half" idx="13"/>
          </p:nvPr>
        </p:nvSpPr>
        <p:spPr>
          <a:xfrm>
            <a:off x="455731" y="6026150"/>
            <a:ext cx="5527526" cy="209550"/>
          </a:xfrm>
          <a:prstGeom prst="rect">
            <a:avLst/>
          </a:prstGeom>
        </p:spPr>
        <p:txBody>
          <a:bodyPr lIns="0" tIns="0" rIns="0" bIns="0"/>
          <a:lstStyle>
            <a:lvl1pPr>
              <a:defRPr sz="1600" b="0" i="0">
                <a:solidFill>
                  <a:schemeClr val="accent2"/>
                </a:solidFill>
                <a:latin typeface="Barlow" pitchFamily="2" charset="77"/>
              </a:defRPr>
            </a:lvl1pPr>
            <a:lvl2pPr marL="0">
              <a:defRPr sz="1600" b="0" i="0">
                <a:solidFill>
                  <a:schemeClr val="accent2"/>
                </a:solidFill>
                <a:latin typeface="Barlow" pitchFamily="2" charset="77"/>
              </a:defRPr>
            </a:lvl2pPr>
            <a:lvl3pPr marL="0">
              <a:defRPr sz="1600" b="0" i="0">
                <a:solidFill>
                  <a:schemeClr val="accent2"/>
                </a:solidFill>
                <a:latin typeface="Barlow" pitchFamily="2" charset="77"/>
              </a:defRPr>
            </a:lvl3pPr>
            <a:lvl4pPr marL="0">
              <a:defRPr sz="1600" b="0" i="0">
                <a:solidFill>
                  <a:schemeClr val="accent2"/>
                </a:solidFill>
                <a:latin typeface="Barlow" pitchFamily="2" charset="77"/>
              </a:defRPr>
            </a:lvl4pPr>
            <a:lvl5pPr marL="0">
              <a:defRPr sz="1600" b="0" i="0">
                <a:solidFill>
                  <a:schemeClr val="accent2"/>
                </a:solidFill>
                <a:latin typeface="Barlow" pitchFamily="2" charset="77"/>
              </a:defRPr>
            </a:lvl5pPr>
            <a:lvl6pPr marL="0">
              <a:defRPr sz="1600" b="0" i="0">
                <a:solidFill>
                  <a:schemeClr val="accent2"/>
                </a:solidFill>
                <a:latin typeface="Barlow" pitchFamily="2" charset="77"/>
              </a:defRPr>
            </a:lvl6pPr>
            <a:lvl7pPr marL="0">
              <a:defRPr sz="1600" b="0" i="0">
                <a:solidFill>
                  <a:schemeClr val="accent2"/>
                </a:solidFill>
                <a:latin typeface="Barlow" pitchFamily="2" charset="77"/>
              </a:defRPr>
            </a:lvl7pPr>
            <a:lvl8pPr marL="0">
              <a:defRPr sz="1600">
                <a:solidFill>
                  <a:schemeClr val="accent2"/>
                </a:solidFill>
                <a:latin typeface="Barlow" pitchFamily="2" charset="77"/>
              </a:defRPr>
            </a:lvl8pPr>
            <a:lvl9pPr marL="0">
              <a:defRPr sz="1600" b="0" i="0">
                <a:solidFill>
                  <a:schemeClr val="accent2"/>
                </a:solidFill>
                <a:latin typeface="Barlow" pitchFamily="2" charset="77"/>
              </a:defRPr>
            </a:lvl9pPr>
          </a:lstStyle>
          <a:p>
            <a:pPr lvl="8"/>
            <a:r>
              <a:rPr lang="en-US"/>
              <a:t>Date</a:t>
            </a:r>
          </a:p>
        </p:txBody>
      </p:sp>
      <p:sp>
        <p:nvSpPr>
          <p:cNvPr id="15" name="Text Placeholder 6">
            <a:extLst>
              <a:ext uri="{FF2B5EF4-FFF2-40B4-BE49-F238E27FC236}">
                <a16:creationId xmlns:a16="http://schemas.microsoft.com/office/drawing/2014/main" id="{3478BB48-F520-1D42-9264-3E52FFD321BD}"/>
              </a:ext>
            </a:extLst>
          </p:cNvPr>
          <p:cNvSpPr>
            <a:spLocks noGrp="1"/>
          </p:cNvSpPr>
          <p:nvPr>
            <p:ph type="body" sz="quarter" idx="14" hasCustomPrompt="1"/>
          </p:nvPr>
        </p:nvSpPr>
        <p:spPr>
          <a:xfrm>
            <a:off x="457319" y="2509603"/>
            <a:ext cx="5525939" cy="919398"/>
          </a:xfrm>
          <a:prstGeom prst="rect">
            <a:avLst/>
          </a:prstGeom>
        </p:spPr>
        <p:txBody>
          <a:bodyPr lIns="0" tIns="182880" anchor="b" anchorCtr="0">
            <a:noAutofit/>
          </a:bodyPr>
          <a:lstStyle>
            <a:lvl1pPr>
              <a:lnSpc>
                <a:spcPts val="2300"/>
              </a:lnSpc>
              <a:spcAft>
                <a:spcPts val="0"/>
              </a:spcAft>
              <a:defRPr sz="20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Optional service or offering name here</a:t>
            </a:r>
          </a:p>
        </p:txBody>
      </p:sp>
      <p:sp>
        <p:nvSpPr>
          <p:cNvPr id="16" name="Picture Placeholder 16">
            <a:extLst>
              <a:ext uri="{FF2B5EF4-FFF2-40B4-BE49-F238E27FC236}">
                <a16:creationId xmlns:a16="http://schemas.microsoft.com/office/drawing/2014/main" id="{388B4421-02B0-8749-B54E-DA13C4F05BDF}"/>
              </a:ext>
            </a:extLst>
          </p:cNvPr>
          <p:cNvSpPr>
            <a:spLocks noGrp="1"/>
          </p:cNvSpPr>
          <p:nvPr>
            <p:ph type="pic" sz="quarter" idx="17" hasCustomPrompt="1"/>
          </p:nvPr>
        </p:nvSpPr>
        <p:spPr>
          <a:xfrm>
            <a:off x="474482" y="460375"/>
            <a:ext cx="2431521" cy="876300"/>
          </a:xfrm>
          <a:solidFill>
            <a:schemeClr val="bg1"/>
          </a:solidFill>
        </p:spPr>
        <p:txBody>
          <a:bodyPr tIns="0" anchor="t" anchorCtr="0"/>
          <a:lstStyle>
            <a:lvl1pPr algn="ctr">
              <a:spcAft>
                <a:spcPts val="0"/>
              </a:spcAft>
              <a:defRPr sz="800">
                <a:solidFill>
                  <a:schemeClr val="tx2"/>
                </a:solidFill>
              </a:defRPr>
            </a:lvl1pPr>
          </a:lstStyle>
          <a:p>
            <a:r>
              <a:rPr lang="en-US" dirty="0"/>
              <a:t>Insert entity logo or delete box for default logo</a:t>
            </a:r>
          </a:p>
        </p:txBody>
      </p:sp>
    </p:spTree>
    <p:extLst>
      <p:ext uri="{BB962C8B-B14F-4D97-AF65-F5344CB8AC3E}">
        <p14:creationId xmlns:p14="http://schemas.microsoft.com/office/powerpoint/2010/main" val="369393417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ver_image_3">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49" y="0"/>
            <a:ext cx="12179298" cy="6856212"/>
          </a:xfrm>
          <a:prstGeom prst="rect">
            <a:avLst/>
          </a:prstGeom>
        </p:spPr>
      </p:pic>
      <p:pic>
        <p:nvPicPr>
          <p:cNvPr id="8" name="Picture 7">
            <a:extLst>
              <a:ext uri="{FF2B5EF4-FFF2-40B4-BE49-F238E27FC236}">
                <a16:creationId xmlns:a16="http://schemas.microsoft.com/office/drawing/2014/main" id="{EDA19225-5402-B849-995F-9CD3FE904964}"/>
              </a:ext>
            </a:extLst>
          </p:cNvPr>
          <p:cNvPicPr>
            <a:picLocks noChangeAspect="1"/>
          </p:cNvPicPr>
          <p:nvPr userDrawn="1"/>
        </p:nvPicPr>
        <p:blipFill>
          <a:blip r:embed="rId3"/>
          <a:srcRect/>
          <a:stretch/>
        </p:blipFill>
        <p:spPr>
          <a:xfrm>
            <a:off x="474482" y="480762"/>
            <a:ext cx="2431521" cy="463564"/>
          </a:xfrm>
          <a:prstGeom prst="rect">
            <a:avLst/>
          </a:prstGeom>
        </p:spPr>
      </p:pic>
      <p:sp>
        <p:nvSpPr>
          <p:cNvPr id="11" name="Title 1">
            <a:extLst>
              <a:ext uri="{FF2B5EF4-FFF2-40B4-BE49-F238E27FC236}">
                <a16:creationId xmlns:a16="http://schemas.microsoft.com/office/drawing/2014/main" id="{69184965-CABD-DB48-A360-15AEC4A7814A}"/>
              </a:ext>
            </a:extLst>
          </p:cNvPr>
          <p:cNvSpPr>
            <a:spLocks noGrp="1"/>
          </p:cNvSpPr>
          <p:nvPr>
            <p:ph type="title"/>
          </p:nvPr>
        </p:nvSpPr>
        <p:spPr>
          <a:xfrm>
            <a:off x="457320" y="3429000"/>
            <a:ext cx="5525938" cy="2072148"/>
          </a:xfrm>
        </p:spPr>
        <p:txBody>
          <a:bodyPr lIns="0" tIns="182880" rIns="0" bIns="0" anchor="t" anchorCtr="0">
            <a:noAutofit/>
          </a:bodyPr>
          <a:lstStyle>
            <a:lvl1pPr>
              <a:lnSpc>
                <a:spcPts val="5200"/>
              </a:lnSpc>
              <a:defRPr sz="4800" b="0">
                <a:solidFill>
                  <a:schemeClr val="accent1"/>
                </a:solidFill>
              </a:defRPr>
            </a:lvl1pPr>
          </a:lstStyle>
          <a:p>
            <a:r>
              <a:rPr lang="en-US"/>
              <a:t>Click to edit Master title style</a:t>
            </a:r>
          </a:p>
        </p:txBody>
      </p:sp>
      <p:sp>
        <p:nvSpPr>
          <p:cNvPr id="12" name="Text Placeholder 6">
            <a:extLst>
              <a:ext uri="{FF2B5EF4-FFF2-40B4-BE49-F238E27FC236}">
                <a16:creationId xmlns:a16="http://schemas.microsoft.com/office/drawing/2014/main" id="{A6D1EBCA-9317-F646-B03E-01A6E3EB4642}"/>
              </a:ext>
            </a:extLst>
          </p:cNvPr>
          <p:cNvSpPr>
            <a:spLocks noGrp="1"/>
          </p:cNvSpPr>
          <p:nvPr>
            <p:ph type="body" sz="quarter" idx="11"/>
          </p:nvPr>
        </p:nvSpPr>
        <p:spPr>
          <a:xfrm>
            <a:off x="460495" y="5501148"/>
            <a:ext cx="5522763" cy="525002"/>
          </a:xfrm>
          <a:prstGeom prst="rect">
            <a:avLst/>
          </a:prstGeom>
        </p:spPr>
        <p:txBody>
          <a:bodyPr lIns="0" tIns="0" anchor="b" anchorCtr="0">
            <a:noAutofit/>
          </a:bodyPr>
          <a:lstStyle>
            <a:lvl1pPr>
              <a:lnSpc>
                <a:spcPts val="2300"/>
              </a:lnSpc>
              <a:spcAft>
                <a:spcPts val="0"/>
              </a:spcAft>
              <a:defRPr sz="16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Click to edit Master text styles</a:t>
            </a:r>
          </a:p>
        </p:txBody>
      </p:sp>
      <p:sp>
        <p:nvSpPr>
          <p:cNvPr id="14" name="Date Placeholder 2">
            <a:extLst>
              <a:ext uri="{FF2B5EF4-FFF2-40B4-BE49-F238E27FC236}">
                <a16:creationId xmlns:a16="http://schemas.microsoft.com/office/drawing/2014/main" id="{B799A0D0-3DED-AC4D-B4AF-BF854A1B3A4B}"/>
              </a:ext>
            </a:extLst>
          </p:cNvPr>
          <p:cNvSpPr>
            <a:spLocks noGrp="1"/>
          </p:cNvSpPr>
          <p:nvPr>
            <p:ph type="dt" sz="half" idx="13"/>
          </p:nvPr>
        </p:nvSpPr>
        <p:spPr>
          <a:xfrm>
            <a:off x="455731" y="6026150"/>
            <a:ext cx="5527526" cy="209550"/>
          </a:xfrm>
          <a:prstGeom prst="rect">
            <a:avLst/>
          </a:prstGeom>
        </p:spPr>
        <p:txBody>
          <a:bodyPr lIns="0" tIns="0" rIns="0" bIns="0"/>
          <a:lstStyle>
            <a:lvl1pPr>
              <a:defRPr sz="1600" b="0" i="0">
                <a:solidFill>
                  <a:schemeClr val="accent2"/>
                </a:solidFill>
                <a:latin typeface="Barlow" pitchFamily="2" charset="77"/>
              </a:defRPr>
            </a:lvl1pPr>
            <a:lvl2pPr marL="0">
              <a:defRPr sz="1600" b="0" i="0">
                <a:solidFill>
                  <a:schemeClr val="accent2"/>
                </a:solidFill>
                <a:latin typeface="Barlow" pitchFamily="2" charset="77"/>
              </a:defRPr>
            </a:lvl2pPr>
            <a:lvl3pPr marL="0">
              <a:defRPr sz="1600" b="0" i="0">
                <a:solidFill>
                  <a:schemeClr val="accent2"/>
                </a:solidFill>
                <a:latin typeface="Barlow" pitchFamily="2" charset="77"/>
              </a:defRPr>
            </a:lvl3pPr>
            <a:lvl4pPr marL="0">
              <a:defRPr sz="1600" b="0" i="0">
                <a:solidFill>
                  <a:schemeClr val="accent2"/>
                </a:solidFill>
                <a:latin typeface="Barlow" pitchFamily="2" charset="77"/>
              </a:defRPr>
            </a:lvl4pPr>
            <a:lvl5pPr marL="0">
              <a:defRPr sz="1600" b="0" i="0">
                <a:solidFill>
                  <a:schemeClr val="accent2"/>
                </a:solidFill>
                <a:latin typeface="Barlow" pitchFamily="2" charset="77"/>
              </a:defRPr>
            </a:lvl5pPr>
            <a:lvl6pPr marL="0">
              <a:defRPr sz="1600" b="0" i="0">
                <a:solidFill>
                  <a:schemeClr val="accent2"/>
                </a:solidFill>
                <a:latin typeface="Barlow" pitchFamily="2" charset="77"/>
              </a:defRPr>
            </a:lvl6pPr>
            <a:lvl7pPr marL="0">
              <a:defRPr sz="1600" b="0" i="0">
                <a:solidFill>
                  <a:schemeClr val="accent2"/>
                </a:solidFill>
                <a:latin typeface="Barlow" pitchFamily="2" charset="77"/>
              </a:defRPr>
            </a:lvl7pPr>
            <a:lvl8pPr marL="0">
              <a:defRPr sz="1600">
                <a:solidFill>
                  <a:schemeClr val="accent2"/>
                </a:solidFill>
                <a:latin typeface="Barlow" pitchFamily="2" charset="77"/>
              </a:defRPr>
            </a:lvl8pPr>
            <a:lvl9pPr marL="0">
              <a:defRPr sz="1600" b="0" i="0">
                <a:solidFill>
                  <a:schemeClr val="accent2"/>
                </a:solidFill>
                <a:latin typeface="Barlow" pitchFamily="2" charset="77"/>
              </a:defRPr>
            </a:lvl9pPr>
          </a:lstStyle>
          <a:p>
            <a:pPr lvl="8"/>
            <a:r>
              <a:rPr lang="en-US"/>
              <a:t>Date</a:t>
            </a:r>
          </a:p>
        </p:txBody>
      </p:sp>
      <p:sp>
        <p:nvSpPr>
          <p:cNvPr id="15" name="Text Placeholder 6">
            <a:extLst>
              <a:ext uri="{FF2B5EF4-FFF2-40B4-BE49-F238E27FC236}">
                <a16:creationId xmlns:a16="http://schemas.microsoft.com/office/drawing/2014/main" id="{A2370510-0E84-CE42-BB80-1CD932D8F3BA}"/>
              </a:ext>
            </a:extLst>
          </p:cNvPr>
          <p:cNvSpPr>
            <a:spLocks noGrp="1"/>
          </p:cNvSpPr>
          <p:nvPr>
            <p:ph type="body" sz="quarter" idx="14" hasCustomPrompt="1"/>
          </p:nvPr>
        </p:nvSpPr>
        <p:spPr>
          <a:xfrm>
            <a:off x="457319" y="2509603"/>
            <a:ext cx="5525939" cy="919398"/>
          </a:xfrm>
          <a:prstGeom prst="rect">
            <a:avLst/>
          </a:prstGeom>
        </p:spPr>
        <p:txBody>
          <a:bodyPr lIns="0" tIns="182880" anchor="b" anchorCtr="0">
            <a:noAutofit/>
          </a:bodyPr>
          <a:lstStyle>
            <a:lvl1pPr>
              <a:lnSpc>
                <a:spcPts val="2300"/>
              </a:lnSpc>
              <a:spcAft>
                <a:spcPts val="0"/>
              </a:spcAft>
              <a:defRPr sz="20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Optional service or offering name here</a:t>
            </a:r>
          </a:p>
        </p:txBody>
      </p:sp>
      <p:sp>
        <p:nvSpPr>
          <p:cNvPr id="16" name="Picture Placeholder 16">
            <a:extLst>
              <a:ext uri="{FF2B5EF4-FFF2-40B4-BE49-F238E27FC236}">
                <a16:creationId xmlns:a16="http://schemas.microsoft.com/office/drawing/2014/main" id="{8246FCEF-D382-914B-BE38-876BD0419155}"/>
              </a:ext>
            </a:extLst>
          </p:cNvPr>
          <p:cNvSpPr>
            <a:spLocks noGrp="1"/>
          </p:cNvSpPr>
          <p:nvPr>
            <p:ph type="pic" sz="quarter" idx="17" hasCustomPrompt="1"/>
          </p:nvPr>
        </p:nvSpPr>
        <p:spPr>
          <a:xfrm>
            <a:off x="474482" y="460375"/>
            <a:ext cx="2431521" cy="876300"/>
          </a:xfrm>
          <a:solidFill>
            <a:schemeClr val="bg1"/>
          </a:solidFill>
        </p:spPr>
        <p:txBody>
          <a:bodyPr tIns="0" anchor="t" anchorCtr="0"/>
          <a:lstStyle>
            <a:lvl1pPr algn="ctr">
              <a:spcAft>
                <a:spcPts val="0"/>
              </a:spcAft>
              <a:defRPr sz="800">
                <a:solidFill>
                  <a:schemeClr val="tx2"/>
                </a:solidFill>
              </a:defRPr>
            </a:lvl1pPr>
          </a:lstStyle>
          <a:p>
            <a:r>
              <a:rPr lang="en-US" dirty="0"/>
              <a:t>Insert entity logo or delete box for default logo</a:t>
            </a:r>
          </a:p>
        </p:txBody>
      </p:sp>
    </p:spTree>
    <p:extLst>
      <p:ext uri="{BB962C8B-B14F-4D97-AF65-F5344CB8AC3E}">
        <p14:creationId xmlns:p14="http://schemas.microsoft.com/office/powerpoint/2010/main" val="244242492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ver_image_4">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49" y="0"/>
            <a:ext cx="12179298" cy="6856212"/>
          </a:xfrm>
          <a:prstGeom prst="rect">
            <a:avLst/>
          </a:prstGeom>
        </p:spPr>
      </p:pic>
      <p:pic>
        <p:nvPicPr>
          <p:cNvPr id="8" name="Picture 7">
            <a:extLst>
              <a:ext uri="{FF2B5EF4-FFF2-40B4-BE49-F238E27FC236}">
                <a16:creationId xmlns:a16="http://schemas.microsoft.com/office/drawing/2014/main" id="{12C88E1B-A6D4-AE4B-A631-6E8AF50BA37C}"/>
              </a:ext>
            </a:extLst>
          </p:cNvPr>
          <p:cNvPicPr>
            <a:picLocks noChangeAspect="1"/>
          </p:cNvPicPr>
          <p:nvPr userDrawn="1"/>
        </p:nvPicPr>
        <p:blipFill>
          <a:blip r:embed="rId3"/>
          <a:srcRect/>
          <a:stretch/>
        </p:blipFill>
        <p:spPr>
          <a:xfrm>
            <a:off x="474482" y="480762"/>
            <a:ext cx="2431521" cy="463564"/>
          </a:xfrm>
          <a:prstGeom prst="rect">
            <a:avLst/>
          </a:prstGeom>
        </p:spPr>
      </p:pic>
      <p:sp>
        <p:nvSpPr>
          <p:cNvPr id="11" name="Title 1">
            <a:extLst>
              <a:ext uri="{FF2B5EF4-FFF2-40B4-BE49-F238E27FC236}">
                <a16:creationId xmlns:a16="http://schemas.microsoft.com/office/drawing/2014/main" id="{86B9DFE4-4BF3-C045-AC8D-11F4080771C3}"/>
              </a:ext>
            </a:extLst>
          </p:cNvPr>
          <p:cNvSpPr>
            <a:spLocks noGrp="1"/>
          </p:cNvSpPr>
          <p:nvPr>
            <p:ph type="title"/>
          </p:nvPr>
        </p:nvSpPr>
        <p:spPr>
          <a:xfrm>
            <a:off x="457320" y="3429000"/>
            <a:ext cx="5525938" cy="2072148"/>
          </a:xfrm>
        </p:spPr>
        <p:txBody>
          <a:bodyPr lIns="0" tIns="182880" rIns="0" bIns="0" anchor="t" anchorCtr="0">
            <a:noAutofit/>
          </a:bodyPr>
          <a:lstStyle>
            <a:lvl1pPr>
              <a:lnSpc>
                <a:spcPts val="5200"/>
              </a:lnSpc>
              <a:defRPr sz="4800" b="0">
                <a:solidFill>
                  <a:schemeClr val="accent1"/>
                </a:solidFill>
              </a:defRPr>
            </a:lvl1pPr>
          </a:lstStyle>
          <a:p>
            <a:r>
              <a:rPr lang="en-US"/>
              <a:t>Click to edit Master title style</a:t>
            </a:r>
          </a:p>
        </p:txBody>
      </p:sp>
      <p:sp>
        <p:nvSpPr>
          <p:cNvPr id="12" name="Text Placeholder 6">
            <a:extLst>
              <a:ext uri="{FF2B5EF4-FFF2-40B4-BE49-F238E27FC236}">
                <a16:creationId xmlns:a16="http://schemas.microsoft.com/office/drawing/2014/main" id="{580851B8-843D-BE41-8B9B-8E82790C0FA9}"/>
              </a:ext>
            </a:extLst>
          </p:cNvPr>
          <p:cNvSpPr>
            <a:spLocks noGrp="1"/>
          </p:cNvSpPr>
          <p:nvPr>
            <p:ph type="body" sz="quarter" idx="11"/>
          </p:nvPr>
        </p:nvSpPr>
        <p:spPr>
          <a:xfrm>
            <a:off x="460495" y="5501148"/>
            <a:ext cx="5522763" cy="525002"/>
          </a:xfrm>
          <a:prstGeom prst="rect">
            <a:avLst/>
          </a:prstGeom>
        </p:spPr>
        <p:txBody>
          <a:bodyPr lIns="0" tIns="0" anchor="b" anchorCtr="0">
            <a:noAutofit/>
          </a:bodyPr>
          <a:lstStyle>
            <a:lvl1pPr>
              <a:lnSpc>
                <a:spcPts val="2300"/>
              </a:lnSpc>
              <a:spcAft>
                <a:spcPts val="0"/>
              </a:spcAft>
              <a:defRPr sz="16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Click to edit Master text styles</a:t>
            </a:r>
          </a:p>
        </p:txBody>
      </p:sp>
      <p:sp>
        <p:nvSpPr>
          <p:cNvPr id="14" name="Date Placeholder 2">
            <a:extLst>
              <a:ext uri="{FF2B5EF4-FFF2-40B4-BE49-F238E27FC236}">
                <a16:creationId xmlns:a16="http://schemas.microsoft.com/office/drawing/2014/main" id="{DB9B45C3-9443-E442-B64D-F9386F50D7E3}"/>
              </a:ext>
            </a:extLst>
          </p:cNvPr>
          <p:cNvSpPr>
            <a:spLocks noGrp="1"/>
          </p:cNvSpPr>
          <p:nvPr>
            <p:ph type="dt" sz="half" idx="13"/>
          </p:nvPr>
        </p:nvSpPr>
        <p:spPr>
          <a:xfrm>
            <a:off x="455731" y="6026150"/>
            <a:ext cx="5527526" cy="209550"/>
          </a:xfrm>
          <a:prstGeom prst="rect">
            <a:avLst/>
          </a:prstGeom>
        </p:spPr>
        <p:txBody>
          <a:bodyPr lIns="0" tIns="0" rIns="0" bIns="0"/>
          <a:lstStyle>
            <a:lvl1pPr>
              <a:defRPr sz="1600" b="0" i="0">
                <a:solidFill>
                  <a:schemeClr val="accent2"/>
                </a:solidFill>
                <a:latin typeface="Barlow" pitchFamily="2" charset="77"/>
              </a:defRPr>
            </a:lvl1pPr>
            <a:lvl2pPr marL="0">
              <a:defRPr sz="1600" b="0" i="0">
                <a:solidFill>
                  <a:schemeClr val="accent2"/>
                </a:solidFill>
                <a:latin typeface="Barlow" pitchFamily="2" charset="77"/>
              </a:defRPr>
            </a:lvl2pPr>
            <a:lvl3pPr marL="0">
              <a:defRPr sz="1600" b="0" i="0">
                <a:solidFill>
                  <a:schemeClr val="accent2"/>
                </a:solidFill>
                <a:latin typeface="Barlow" pitchFamily="2" charset="77"/>
              </a:defRPr>
            </a:lvl3pPr>
            <a:lvl4pPr marL="0">
              <a:defRPr sz="1600" b="0" i="0">
                <a:solidFill>
                  <a:schemeClr val="accent2"/>
                </a:solidFill>
                <a:latin typeface="Barlow" pitchFamily="2" charset="77"/>
              </a:defRPr>
            </a:lvl4pPr>
            <a:lvl5pPr marL="0">
              <a:defRPr sz="1600" b="0" i="0">
                <a:solidFill>
                  <a:schemeClr val="accent2"/>
                </a:solidFill>
                <a:latin typeface="Barlow" pitchFamily="2" charset="77"/>
              </a:defRPr>
            </a:lvl5pPr>
            <a:lvl6pPr marL="0">
              <a:defRPr sz="1600" b="0" i="0">
                <a:solidFill>
                  <a:schemeClr val="accent2"/>
                </a:solidFill>
                <a:latin typeface="Barlow" pitchFamily="2" charset="77"/>
              </a:defRPr>
            </a:lvl6pPr>
            <a:lvl7pPr marL="0">
              <a:defRPr sz="1600" b="0" i="0">
                <a:solidFill>
                  <a:schemeClr val="accent2"/>
                </a:solidFill>
                <a:latin typeface="Barlow" pitchFamily="2" charset="77"/>
              </a:defRPr>
            </a:lvl7pPr>
            <a:lvl8pPr marL="0">
              <a:defRPr sz="1600">
                <a:solidFill>
                  <a:schemeClr val="accent2"/>
                </a:solidFill>
                <a:latin typeface="Barlow" pitchFamily="2" charset="77"/>
              </a:defRPr>
            </a:lvl8pPr>
            <a:lvl9pPr marL="0">
              <a:defRPr sz="1600" b="0" i="0">
                <a:solidFill>
                  <a:schemeClr val="accent2"/>
                </a:solidFill>
                <a:latin typeface="Barlow" pitchFamily="2" charset="77"/>
              </a:defRPr>
            </a:lvl9pPr>
          </a:lstStyle>
          <a:p>
            <a:pPr lvl="8"/>
            <a:r>
              <a:rPr lang="en-US"/>
              <a:t>Date</a:t>
            </a:r>
          </a:p>
        </p:txBody>
      </p:sp>
      <p:sp>
        <p:nvSpPr>
          <p:cNvPr id="15" name="Text Placeholder 6">
            <a:extLst>
              <a:ext uri="{FF2B5EF4-FFF2-40B4-BE49-F238E27FC236}">
                <a16:creationId xmlns:a16="http://schemas.microsoft.com/office/drawing/2014/main" id="{CCF5A2D5-101B-6C40-9CF9-148696BBD457}"/>
              </a:ext>
            </a:extLst>
          </p:cNvPr>
          <p:cNvSpPr>
            <a:spLocks noGrp="1"/>
          </p:cNvSpPr>
          <p:nvPr>
            <p:ph type="body" sz="quarter" idx="14" hasCustomPrompt="1"/>
          </p:nvPr>
        </p:nvSpPr>
        <p:spPr>
          <a:xfrm>
            <a:off x="457319" y="2509603"/>
            <a:ext cx="5525939" cy="919398"/>
          </a:xfrm>
          <a:prstGeom prst="rect">
            <a:avLst/>
          </a:prstGeom>
        </p:spPr>
        <p:txBody>
          <a:bodyPr lIns="0" tIns="182880" anchor="b" anchorCtr="0">
            <a:noAutofit/>
          </a:bodyPr>
          <a:lstStyle>
            <a:lvl1pPr>
              <a:lnSpc>
                <a:spcPts val="2300"/>
              </a:lnSpc>
              <a:spcAft>
                <a:spcPts val="0"/>
              </a:spcAft>
              <a:defRPr sz="20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Optional service or offering name here</a:t>
            </a:r>
          </a:p>
        </p:txBody>
      </p:sp>
      <p:sp>
        <p:nvSpPr>
          <p:cNvPr id="16" name="Picture Placeholder 16">
            <a:extLst>
              <a:ext uri="{FF2B5EF4-FFF2-40B4-BE49-F238E27FC236}">
                <a16:creationId xmlns:a16="http://schemas.microsoft.com/office/drawing/2014/main" id="{765FA35B-92C3-E44D-81AB-FF87CA16F78C}"/>
              </a:ext>
            </a:extLst>
          </p:cNvPr>
          <p:cNvSpPr>
            <a:spLocks noGrp="1"/>
          </p:cNvSpPr>
          <p:nvPr>
            <p:ph type="pic" sz="quarter" idx="17" hasCustomPrompt="1"/>
          </p:nvPr>
        </p:nvSpPr>
        <p:spPr>
          <a:xfrm>
            <a:off x="474482" y="460375"/>
            <a:ext cx="2431521" cy="876300"/>
          </a:xfrm>
          <a:solidFill>
            <a:schemeClr val="bg1"/>
          </a:solidFill>
        </p:spPr>
        <p:txBody>
          <a:bodyPr tIns="0" anchor="t" anchorCtr="0"/>
          <a:lstStyle>
            <a:lvl1pPr algn="ctr">
              <a:spcAft>
                <a:spcPts val="0"/>
              </a:spcAft>
              <a:defRPr sz="800">
                <a:solidFill>
                  <a:schemeClr val="tx2"/>
                </a:solidFill>
              </a:defRPr>
            </a:lvl1pPr>
          </a:lstStyle>
          <a:p>
            <a:r>
              <a:rPr lang="en-US" dirty="0"/>
              <a:t>Insert entity logo or delete box for default logo</a:t>
            </a:r>
          </a:p>
        </p:txBody>
      </p:sp>
    </p:spTree>
    <p:extLst>
      <p:ext uri="{BB962C8B-B14F-4D97-AF65-F5344CB8AC3E}">
        <p14:creationId xmlns:p14="http://schemas.microsoft.com/office/powerpoint/2010/main" val="313954839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ver_image_5">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49" y="0"/>
            <a:ext cx="12179298" cy="6856212"/>
          </a:xfrm>
          <a:prstGeom prst="rect">
            <a:avLst/>
          </a:prstGeom>
        </p:spPr>
      </p:pic>
      <p:pic>
        <p:nvPicPr>
          <p:cNvPr id="8" name="Picture 7">
            <a:extLst>
              <a:ext uri="{FF2B5EF4-FFF2-40B4-BE49-F238E27FC236}">
                <a16:creationId xmlns:a16="http://schemas.microsoft.com/office/drawing/2014/main" id="{4652CB6F-F70F-974E-BEBD-CDD81D14E979}"/>
              </a:ext>
            </a:extLst>
          </p:cNvPr>
          <p:cNvPicPr>
            <a:picLocks noChangeAspect="1"/>
          </p:cNvPicPr>
          <p:nvPr userDrawn="1"/>
        </p:nvPicPr>
        <p:blipFill>
          <a:blip r:embed="rId3"/>
          <a:srcRect/>
          <a:stretch/>
        </p:blipFill>
        <p:spPr>
          <a:xfrm>
            <a:off x="474482" y="480762"/>
            <a:ext cx="2431521" cy="463564"/>
          </a:xfrm>
          <a:prstGeom prst="rect">
            <a:avLst/>
          </a:prstGeom>
        </p:spPr>
      </p:pic>
      <p:sp>
        <p:nvSpPr>
          <p:cNvPr id="11" name="Title 1">
            <a:extLst>
              <a:ext uri="{FF2B5EF4-FFF2-40B4-BE49-F238E27FC236}">
                <a16:creationId xmlns:a16="http://schemas.microsoft.com/office/drawing/2014/main" id="{01ED60FB-0446-4047-870C-2D5AEEE712F5}"/>
              </a:ext>
            </a:extLst>
          </p:cNvPr>
          <p:cNvSpPr>
            <a:spLocks noGrp="1"/>
          </p:cNvSpPr>
          <p:nvPr>
            <p:ph type="title"/>
          </p:nvPr>
        </p:nvSpPr>
        <p:spPr>
          <a:xfrm>
            <a:off x="457320" y="3429000"/>
            <a:ext cx="5525938" cy="2072148"/>
          </a:xfrm>
        </p:spPr>
        <p:txBody>
          <a:bodyPr lIns="0" tIns="182880" rIns="0" bIns="0" anchor="t" anchorCtr="0">
            <a:noAutofit/>
          </a:bodyPr>
          <a:lstStyle>
            <a:lvl1pPr>
              <a:lnSpc>
                <a:spcPts val="5200"/>
              </a:lnSpc>
              <a:defRPr sz="4800" b="0">
                <a:solidFill>
                  <a:schemeClr val="accent1"/>
                </a:solidFill>
              </a:defRPr>
            </a:lvl1pPr>
          </a:lstStyle>
          <a:p>
            <a:r>
              <a:rPr lang="en-US"/>
              <a:t>Click to edit Master title style</a:t>
            </a:r>
          </a:p>
        </p:txBody>
      </p:sp>
      <p:sp>
        <p:nvSpPr>
          <p:cNvPr id="12" name="Text Placeholder 6">
            <a:extLst>
              <a:ext uri="{FF2B5EF4-FFF2-40B4-BE49-F238E27FC236}">
                <a16:creationId xmlns:a16="http://schemas.microsoft.com/office/drawing/2014/main" id="{ED732D23-C9AF-374D-8098-F7C3F9DDFFC5}"/>
              </a:ext>
            </a:extLst>
          </p:cNvPr>
          <p:cNvSpPr>
            <a:spLocks noGrp="1"/>
          </p:cNvSpPr>
          <p:nvPr>
            <p:ph type="body" sz="quarter" idx="11"/>
          </p:nvPr>
        </p:nvSpPr>
        <p:spPr>
          <a:xfrm>
            <a:off x="460495" y="5501148"/>
            <a:ext cx="5522763" cy="525002"/>
          </a:xfrm>
          <a:prstGeom prst="rect">
            <a:avLst/>
          </a:prstGeom>
        </p:spPr>
        <p:txBody>
          <a:bodyPr lIns="0" tIns="0" anchor="b" anchorCtr="0">
            <a:noAutofit/>
          </a:bodyPr>
          <a:lstStyle>
            <a:lvl1pPr>
              <a:lnSpc>
                <a:spcPts val="2300"/>
              </a:lnSpc>
              <a:spcAft>
                <a:spcPts val="0"/>
              </a:spcAft>
              <a:defRPr sz="16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Click to edit Master text styles</a:t>
            </a:r>
          </a:p>
        </p:txBody>
      </p:sp>
      <p:sp>
        <p:nvSpPr>
          <p:cNvPr id="14" name="Date Placeholder 2">
            <a:extLst>
              <a:ext uri="{FF2B5EF4-FFF2-40B4-BE49-F238E27FC236}">
                <a16:creationId xmlns:a16="http://schemas.microsoft.com/office/drawing/2014/main" id="{11369535-2D97-914B-AFA9-A4AAAF2F8EF1}"/>
              </a:ext>
            </a:extLst>
          </p:cNvPr>
          <p:cNvSpPr>
            <a:spLocks noGrp="1"/>
          </p:cNvSpPr>
          <p:nvPr>
            <p:ph type="dt" sz="half" idx="13"/>
          </p:nvPr>
        </p:nvSpPr>
        <p:spPr>
          <a:xfrm>
            <a:off x="455731" y="6026150"/>
            <a:ext cx="5527526" cy="209550"/>
          </a:xfrm>
          <a:prstGeom prst="rect">
            <a:avLst/>
          </a:prstGeom>
        </p:spPr>
        <p:txBody>
          <a:bodyPr lIns="0" tIns="0" rIns="0" bIns="0"/>
          <a:lstStyle>
            <a:lvl1pPr>
              <a:defRPr sz="1600" b="0" i="0">
                <a:solidFill>
                  <a:schemeClr val="accent2"/>
                </a:solidFill>
                <a:latin typeface="Barlow" pitchFamily="2" charset="77"/>
              </a:defRPr>
            </a:lvl1pPr>
            <a:lvl2pPr marL="0">
              <a:defRPr sz="1600" b="0" i="0">
                <a:solidFill>
                  <a:schemeClr val="accent2"/>
                </a:solidFill>
                <a:latin typeface="Barlow" pitchFamily="2" charset="77"/>
              </a:defRPr>
            </a:lvl2pPr>
            <a:lvl3pPr marL="0">
              <a:defRPr sz="1600" b="0" i="0">
                <a:solidFill>
                  <a:schemeClr val="accent2"/>
                </a:solidFill>
                <a:latin typeface="Barlow" pitchFamily="2" charset="77"/>
              </a:defRPr>
            </a:lvl3pPr>
            <a:lvl4pPr marL="0">
              <a:defRPr sz="1600" b="0" i="0">
                <a:solidFill>
                  <a:schemeClr val="accent2"/>
                </a:solidFill>
                <a:latin typeface="Barlow" pitchFamily="2" charset="77"/>
              </a:defRPr>
            </a:lvl4pPr>
            <a:lvl5pPr marL="0">
              <a:defRPr sz="1600" b="0" i="0">
                <a:solidFill>
                  <a:schemeClr val="accent2"/>
                </a:solidFill>
                <a:latin typeface="Barlow" pitchFamily="2" charset="77"/>
              </a:defRPr>
            </a:lvl5pPr>
            <a:lvl6pPr marL="0">
              <a:defRPr sz="1600" b="0" i="0">
                <a:solidFill>
                  <a:schemeClr val="accent2"/>
                </a:solidFill>
                <a:latin typeface="Barlow" pitchFamily="2" charset="77"/>
              </a:defRPr>
            </a:lvl6pPr>
            <a:lvl7pPr marL="0">
              <a:defRPr sz="1600" b="0" i="0">
                <a:solidFill>
                  <a:schemeClr val="accent2"/>
                </a:solidFill>
                <a:latin typeface="Barlow" pitchFamily="2" charset="77"/>
              </a:defRPr>
            </a:lvl7pPr>
            <a:lvl8pPr marL="0">
              <a:defRPr sz="1600">
                <a:solidFill>
                  <a:schemeClr val="accent2"/>
                </a:solidFill>
                <a:latin typeface="Barlow" pitchFamily="2" charset="77"/>
              </a:defRPr>
            </a:lvl8pPr>
            <a:lvl9pPr marL="0">
              <a:defRPr sz="1600" b="0" i="0">
                <a:solidFill>
                  <a:schemeClr val="accent2"/>
                </a:solidFill>
                <a:latin typeface="Barlow" pitchFamily="2" charset="77"/>
              </a:defRPr>
            </a:lvl9pPr>
          </a:lstStyle>
          <a:p>
            <a:pPr lvl="8"/>
            <a:r>
              <a:rPr lang="en-US"/>
              <a:t>Date</a:t>
            </a:r>
          </a:p>
        </p:txBody>
      </p:sp>
      <p:sp>
        <p:nvSpPr>
          <p:cNvPr id="15" name="Text Placeholder 6">
            <a:extLst>
              <a:ext uri="{FF2B5EF4-FFF2-40B4-BE49-F238E27FC236}">
                <a16:creationId xmlns:a16="http://schemas.microsoft.com/office/drawing/2014/main" id="{44952705-7C34-B947-A7BA-8E998C756360}"/>
              </a:ext>
            </a:extLst>
          </p:cNvPr>
          <p:cNvSpPr>
            <a:spLocks noGrp="1"/>
          </p:cNvSpPr>
          <p:nvPr>
            <p:ph type="body" sz="quarter" idx="14" hasCustomPrompt="1"/>
          </p:nvPr>
        </p:nvSpPr>
        <p:spPr>
          <a:xfrm>
            <a:off x="457319" y="2509603"/>
            <a:ext cx="5525939" cy="919398"/>
          </a:xfrm>
          <a:prstGeom prst="rect">
            <a:avLst/>
          </a:prstGeom>
        </p:spPr>
        <p:txBody>
          <a:bodyPr lIns="0" tIns="182880" anchor="b" anchorCtr="0">
            <a:noAutofit/>
          </a:bodyPr>
          <a:lstStyle>
            <a:lvl1pPr>
              <a:lnSpc>
                <a:spcPts val="2300"/>
              </a:lnSpc>
              <a:spcAft>
                <a:spcPts val="0"/>
              </a:spcAft>
              <a:defRPr sz="20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Optional service or offering name here</a:t>
            </a:r>
          </a:p>
        </p:txBody>
      </p:sp>
      <p:sp>
        <p:nvSpPr>
          <p:cNvPr id="16" name="Picture Placeholder 16">
            <a:extLst>
              <a:ext uri="{FF2B5EF4-FFF2-40B4-BE49-F238E27FC236}">
                <a16:creationId xmlns:a16="http://schemas.microsoft.com/office/drawing/2014/main" id="{942F615D-6A50-4344-8B2F-9DC0B54204DD}"/>
              </a:ext>
            </a:extLst>
          </p:cNvPr>
          <p:cNvSpPr>
            <a:spLocks noGrp="1"/>
          </p:cNvSpPr>
          <p:nvPr>
            <p:ph type="pic" sz="quarter" idx="17" hasCustomPrompt="1"/>
          </p:nvPr>
        </p:nvSpPr>
        <p:spPr>
          <a:xfrm>
            <a:off x="474482" y="460375"/>
            <a:ext cx="2431521" cy="876300"/>
          </a:xfrm>
          <a:solidFill>
            <a:schemeClr val="bg1"/>
          </a:solidFill>
        </p:spPr>
        <p:txBody>
          <a:bodyPr tIns="0" anchor="t" anchorCtr="0"/>
          <a:lstStyle>
            <a:lvl1pPr algn="ctr">
              <a:spcAft>
                <a:spcPts val="0"/>
              </a:spcAft>
              <a:defRPr sz="800">
                <a:solidFill>
                  <a:schemeClr val="tx2"/>
                </a:solidFill>
              </a:defRPr>
            </a:lvl1pPr>
          </a:lstStyle>
          <a:p>
            <a:r>
              <a:rPr lang="en-US" dirty="0"/>
              <a:t>Insert entity logo or delete box for default logo</a:t>
            </a:r>
          </a:p>
        </p:txBody>
      </p:sp>
    </p:spTree>
    <p:extLst>
      <p:ext uri="{BB962C8B-B14F-4D97-AF65-F5344CB8AC3E}">
        <p14:creationId xmlns:p14="http://schemas.microsoft.com/office/powerpoint/2010/main" val="175186934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ver_image_6">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49" y="0"/>
            <a:ext cx="12179298" cy="6856212"/>
          </a:xfrm>
          <a:prstGeom prst="rect">
            <a:avLst/>
          </a:prstGeom>
        </p:spPr>
      </p:pic>
      <p:pic>
        <p:nvPicPr>
          <p:cNvPr id="8" name="Picture 7">
            <a:extLst>
              <a:ext uri="{FF2B5EF4-FFF2-40B4-BE49-F238E27FC236}">
                <a16:creationId xmlns:a16="http://schemas.microsoft.com/office/drawing/2014/main" id="{E46D06F3-6EE5-6A4F-88B6-06A99919F5F4}"/>
              </a:ext>
            </a:extLst>
          </p:cNvPr>
          <p:cNvPicPr>
            <a:picLocks noChangeAspect="1"/>
          </p:cNvPicPr>
          <p:nvPr userDrawn="1"/>
        </p:nvPicPr>
        <p:blipFill>
          <a:blip r:embed="rId3"/>
          <a:srcRect/>
          <a:stretch/>
        </p:blipFill>
        <p:spPr>
          <a:xfrm>
            <a:off x="474482" y="480762"/>
            <a:ext cx="2431521" cy="463564"/>
          </a:xfrm>
          <a:prstGeom prst="rect">
            <a:avLst/>
          </a:prstGeom>
        </p:spPr>
      </p:pic>
      <p:sp>
        <p:nvSpPr>
          <p:cNvPr id="11" name="Title 1">
            <a:extLst>
              <a:ext uri="{FF2B5EF4-FFF2-40B4-BE49-F238E27FC236}">
                <a16:creationId xmlns:a16="http://schemas.microsoft.com/office/drawing/2014/main" id="{65DD66D4-1403-4046-BF2A-6F7ABB701EAD}"/>
              </a:ext>
            </a:extLst>
          </p:cNvPr>
          <p:cNvSpPr>
            <a:spLocks noGrp="1"/>
          </p:cNvSpPr>
          <p:nvPr>
            <p:ph type="title"/>
          </p:nvPr>
        </p:nvSpPr>
        <p:spPr>
          <a:xfrm>
            <a:off x="457320" y="3429000"/>
            <a:ext cx="5525938" cy="2072148"/>
          </a:xfrm>
        </p:spPr>
        <p:txBody>
          <a:bodyPr lIns="0" tIns="182880" rIns="0" bIns="0" anchor="t" anchorCtr="0">
            <a:noAutofit/>
          </a:bodyPr>
          <a:lstStyle>
            <a:lvl1pPr>
              <a:lnSpc>
                <a:spcPts val="5200"/>
              </a:lnSpc>
              <a:defRPr sz="4800" b="0">
                <a:solidFill>
                  <a:schemeClr val="accent1"/>
                </a:solidFill>
              </a:defRPr>
            </a:lvl1pPr>
          </a:lstStyle>
          <a:p>
            <a:r>
              <a:rPr lang="en-US"/>
              <a:t>Click to edit Master title style</a:t>
            </a:r>
          </a:p>
        </p:txBody>
      </p:sp>
      <p:sp>
        <p:nvSpPr>
          <p:cNvPr id="12" name="Text Placeholder 6">
            <a:extLst>
              <a:ext uri="{FF2B5EF4-FFF2-40B4-BE49-F238E27FC236}">
                <a16:creationId xmlns:a16="http://schemas.microsoft.com/office/drawing/2014/main" id="{E521B26B-01CE-084E-BCD1-3E2688EFC22A}"/>
              </a:ext>
            </a:extLst>
          </p:cNvPr>
          <p:cNvSpPr>
            <a:spLocks noGrp="1"/>
          </p:cNvSpPr>
          <p:nvPr>
            <p:ph type="body" sz="quarter" idx="11"/>
          </p:nvPr>
        </p:nvSpPr>
        <p:spPr>
          <a:xfrm>
            <a:off x="460495" y="5501148"/>
            <a:ext cx="5522763" cy="525002"/>
          </a:xfrm>
          <a:prstGeom prst="rect">
            <a:avLst/>
          </a:prstGeom>
        </p:spPr>
        <p:txBody>
          <a:bodyPr lIns="0" tIns="0" anchor="b" anchorCtr="0">
            <a:noAutofit/>
          </a:bodyPr>
          <a:lstStyle>
            <a:lvl1pPr>
              <a:lnSpc>
                <a:spcPts val="2300"/>
              </a:lnSpc>
              <a:spcAft>
                <a:spcPts val="0"/>
              </a:spcAft>
              <a:defRPr sz="16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Click to edit Master text styles</a:t>
            </a:r>
          </a:p>
        </p:txBody>
      </p:sp>
      <p:sp>
        <p:nvSpPr>
          <p:cNvPr id="14" name="Date Placeholder 2">
            <a:extLst>
              <a:ext uri="{FF2B5EF4-FFF2-40B4-BE49-F238E27FC236}">
                <a16:creationId xmlns:a16="http://schemas.microsoft.com/office/drawing/2014/main" id="{2CFC5557-CBDC-6646-97EF-32D2D79968AF}"/>
              </a:ext>
            </a:extLst>
          </p:cNvPr>
          <p:cNvSpPr>
            <a:spLocks noGrp="1"/>
          </p:cNvSpPr>
          <p:nvPr>
            <p:ph type="dt" sz="half" idx="13"/>
          </p:nvPr>
        </p:nvSpPr>
        <p:spPr>
          <a:xfrm>
            <a:off x="455731" y="6026150"/>
            <a:ext cx="5527526" cy="209550"/>
          </a:xfrm>
          <a:prstGeom prst="rect">
            <a:avLst/>
          </a:prstGeom>
        </p:spPr>
        <p:txBody>
          <a:bodyPr lIns="0" tIns="0" rIns="0" bIns="0"/>
          <a:lstStyle>
            <a:lvl1pPr>
              <a:defRPr sz="1600" b="0" i="0">
                <a:solidFill>
                  <a:schemeClr val="accent2"/>
                </a:solidFill>
                <a:latin typeface="Barlow" pitchFamily="2" charset="77"/>
              </a:defRPr>
            </a:lvl1pPr>
            <a:lvl2pPr marL="0">
              <a:defRPr sz="1600" b="0" i="0">
                <a:solidFill>
                  <a:schemeClr val="accent2"/>
                </a:solidFill>
                <a:latin typeface="Barlow" pitchFamily="2" charset="77"/>
              </a:defRPr>
            </a:lvl2pPr>
            <a:lvl3pPr marL="0">
              <a:defRPr sz="1600" b="0" i="0">
                <a:solidFill>
                  <a:schemeClr val="accent2"/>
                </a:solidFill>
                <a:latin typeface="Barlow" pitchFamily="2" charset="77"/>
              </a:defRPr>
            </a:lvl3pPr>
            <a:lvl4pPr marL="0">
              <a:defRPr sz="1600" b="0" i="0">
                <a:solidFill>
                  <a:schemeClr val="accent2"/>
                </a:solidFill>
                <a:latin typeface="Barlow" pitchFamily="2" charset="77"/>
              </a:defRPr>
            </a:lvl4pPr>
            <a:lvl5pPr marL="0">
              <a:defRPr sz="1600" b="0" i="0">
                <a:solidFill>
                  <a:schemeClr val="accent2"/>
                </a:solidFill>
                <a:latin typeface="Barlow" pitchFamily="2" charset="77"/>
              </a:defRPr>
            </a:lvl5pPr>
            <a:lvl6pPr marL="0">
              <a:defRPr sz="1600" b="0" i="0">
                <a:solidFill>
                  <a:schemeClr val="accent2"/>
                </a:solidFill>
                <a:latin typeface="Barlow" pitchFamily="2" charset="77"/>
              </a:defRPr>
            </a:lvl6pPr>
            <a:lvl7pPr marL="0">
              <a:defRPr sz="1600" b="0" i="0">
                <a:solidFill>
                  <a:schemeClr val="accent2"/>
                </a:solidFill>
                <a:latin typeface="Barlow" pitchFamily="2" charset="77"/>
              </a:defRPr>
            </a:lvl7pPr>
            <a:lvl8pPr marL="0">
              <a:defRPr sz="1600">
                <a:solidFill>
                  <a:schemeClr val="accent2"/>
                </a:solidFill>
                <a:latin typeface="Barlow" pitchFamily="2" charset="77"/>
              </a:defRPr>
            </a:lvl8pPr>
            <a:lvl9pPr marL="0">
              <a:defRPr sz="1600" b="0" i="0">
                <a:solidFill>
                  <a:schemeClr val="accent2"/>
                </a:solidFill>
                <a:latin typeface="Barlow" pitchFamily="2" charset="77"/>
              </a:defRPr>
            </a:lvl9pPr>
          </a:lstStyle>
          <a:p>
            <a:pPr lvl="8"/>
            <a:r>
              <a:rPr lang="en-US"/>
              <a:t>Date</a:t>
            </a:r>
          </a:p>
        </p:txBody>
      </p:sp>
      <p:sp>
        <p:nvSpPr>
          <p:cNvPr id="15" name="Text Placeholder 6">
            <a:extLst>
              <a:ext uri="{FF2B5EF4-FFF2-40B4-BE49-F238E27FC236}">
                <a16:creationId xmlns:a16="http://schemas.microsoft.com/office/drawing/2014/main" id="{1A726996-E172-5C45-837A-77BB4F14E640}"/>
              </a:ext>
            </a:extLst>
          </p:cNvPr>
          <p:cNvSpPr>
            <a:spLocks noGrp="1"/>
          </p:cNvSpPr>
          <p:nvPr>
            <p:ph type="body" sz="quarter" idx="14" hasCustomPrompt="1"/>
          </p:nvPr>
        </p:nvSpPr>
        <p:spPr>
          <a:xfrm>
            <a:off x="457319" y="2509603"/>
            <a:ext cx="5525939" cy="919398"/>
          </a:xfrm>
          <a:prstGeom prst="rect">
            <a:avLst/>
          </a:prstGeom>
        </p:spPr>
        <p:txBody>
          <a:bodyPr lIns="0" tIns="182880" anchor="b" anchorCtr="0">
            <a:noAutofit/>
          </a:bodyPr>
          <a:lstStyle>
            <a:lvl1pPr>
              <a:lnSpc>
                <a:spcPts val="2300"/>
              </a:lnSpc>
              <a:spcAft>
                <a:spcPts val="0"/>
              </a:spcAft>
              <a:defRPr sz="20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Optional service or offering name here</a:t>
            </a:r>
          </a:p>
        </p:txBody>
      </p:sp>
      <p:sp>
        <p:nvSpPr>
          <p:cNvPr id="16" name="Picture Placeholder 16">
            <a:extLst>
              <a:ext uri="{FF2B5EF4-FFF2-40B4-BE49-F238E27FC236}">
                <a16:creationId xmlns:a16="http://schemas.microsoft.com/office/drawing/2014/main" id="{E8B22FC8-3CC5-5F45-9BC3-DB565548B38F}"/>
              </a:ext>
            </a:extLst>
          </p:cNvPr>
          <p:cNvSpPr>
            <a:spLocks noGrp="1"/>
          </p:cNvSpPr>
          <p:nvPr>
            <p:ph type="pic" sz="quarter" idx="17" hasCustomPrompt="1"/>
          </p:nvPr>
        </p:nvSpPr>
        <p:spPr>
          <a:xfrm>
            <a:off x="474482" y="460375"/>
            <a:ext cx="2431521" cy="876300"/>
          </a:xfrm>
          <a:solidFill>
            <a:schemeClr val="bg1"/>
          </a:solidFill>
        </p:spPr>
        <p:txBody>
          <a:bodyPr tIns="0" anchor="t" anchorCtr="0"/>
          <a:lstStyle>
            <a:lvl1pPr algn="ctr">
              <a:spcAft>
                <a:spcPts val="0"/>
              </a:spcAft>
              <a:defRPr sz="800">
                <a:solidFill>
                  <a:schemeClr val="tx2"/>
                </a:solidFill>
              </a:defRPr>
            </a:lvl1pPr>
          </a:lstStyle>
          <a:p>
            <a:r>
              <a:rPr lang="en-US" dirty="0"/>
              <a:t>Insert entity logo or delete box for default logo</a:t>
            </a:r>
          </a:p>
        </p:txBody>
      </p:sp>
    </p:spTree>
    <p:extLst>
      <p:ext uri="{BB962C8B-B14F-4D97-AF65-F5344CB8AC3E}">
        <p14:creationId xmlns:p14="http://schemas.microsoft.com/office/powerpoint/2010/main" val="153223772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ver_image_7">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49" y="0"/>
            <a:ext cx="12179298" cy="6856212"/>
          </a:xfrm>
          <a:prstGeom prst="rect">
            <a:avLst/>
          </a:prstGeom>
        </p:spPr>
      </p:pic>
      <p:pic>
        <p:nvPicPr>
          <p:cNvPr id="8" name="Picture 7">
            <a:extLst>
              <a:ext uri="{FF2B5EF4-FFF2-40B4-BE49-F238E27FC236}">
                <a16:creationId xmlns:a16="http://schemas.microsoft.com/office/drawing/2014/main" id="{52B1931B-4DAA-B94A-8CE6-18C54E1C5A6C}"/>
              </a:ext>
            </a:extLst>
          </p:cNvPr>
          <p:cNvPicPr>
            <a:picLocks noChangeAspect="1"/>
          </p:cNvPicPr>
          <p:nvPr userDrawn="1"/>
        </p:nvPicPr>
        <p:blipFill>
          <a:blip r:embed="rId3"/>
          <a:srcRect/>
          <a:stretch/>
        </p:blipFill>
        <p:spPr>
          <a:xfrm>
            <a:off x="474482" y="480762"/>
            <a:ext cx="2431521" cy="463564"/>
          </a:xfrm>
          <a:prstGeom prst="rect">
            <a:avLst/>
          </a:prstGeom>
        </p:spPr>
      </p:pic>
      <p:sp>
        <p:nvSpPr>
          <p:cNvPr id="11" name="Title 1">
            <a:extLst>
              <a:ext uri="{FF2B5EF4-FFF2-40B4-BE49-F238E27FC236}">
                <a16:creationId xmlns:a16="http://schemas.microsoft.com/office/drawing/2014/main" id="{7BEE3760-BA92-6044-9EDB-4EE48B1ABFE3}"/>
              </a:ext>
            </a:extLst>
          </p:cNvPr>
          <p:cNvSpPr>
            <a:spLocks noGrp="1"/>
          </p:cNvSpPr>
          <p:nvPr>
            <p:ph type="title"/>
          </p:nvPr>
        </p:nvSpPr>
        <p:spPr>
          <a:xfrm>
            <a:off x="457320" y="3429000"/>
            <a:ext cx="5525938" cy="2072148"/>
          </a:xfrm>
        </p:spPr>
        <p:txBody>
          <a:bodyPr lIns="0" tIns="182880" rIns="0" bIns="0" anchor="t" anchorCtr="0">
            <a:noAutofit/>
          </a:bodyPr>
          <a:lstStyle>
            <a:lvl1pPr>
              <a:lnSpc>
                <a:spcPts val="5200"/>
              </a:lnSpc>
              <a:defRPr sz="4800" b="0">
                <a:solidFill>
                  <a:schemeClr val="accent1"/>
                </a:solidFill>
              </a:defRPr>
            </a:lvl1pPr>
          </a:lstStyle>
          <a:p>
            <a:r>
              <a:rPr lang="en-US"/>
              <a:t>Click to edit Master title style</a:t>
            </a:r>
          </a:p>
        </p:txBody>
      </p:sp>
      <p:sp>
        <p:nvSpPr>
          <p:cNvPr id="12" name="Text Placeholder 6">
            <a:extLst>
              <a:ext uri="{FF2B5EF4-FFF2-40B4-BE49-F238E27FC236}">
                <a16:creationId xmlns:a16="http://schemas.microsoft.com/office/drawing/2014/main" id="{186941BE-94A3-8E45-B4FC-DEBB6D46616C}"/>
              </a:ext>
            </a:extLst>
          </p:cNvPr>
          <p:cNvSpPr>
            <a:spLocks noGrp="1"/>
          </p:cNvSpPr>
          <p:nvPr>
            <p:ph type="body" sz="quarter" idx="11"/>
          </p:nvPr>
        </p:nvSpPr>
        <p:spPr>
          <a:xfrm>
            <a:off x="460495" y="5501148"/>
            <a:ext cx="5522763" cy="525002"/>
          </a:xfrm>
          <a:prstGeom prst="rect">
            <a:avLst/>
          </a:prstGeom>
        </p:spPr>
        <p:txBody>
          <a:bodyPr lIns="0" tIns="0" anchor="b" anchorCtr="0">
            <a:noAutofit/>
          </a:bodyPr>
          <a:lstStyle>
            <a:lvl1pPr>
              <a:lnSpc>
                <a:spcPts val="2300"/>
              </a:lnSpc>
              <a:spcAft>
                <a:spcPts val="0"/>
              </a:spcAft>
              <a:defRPr sz="16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Click to edit Master text styles</a:t>
            </a:r>
          </a:p>
        </p:txBody>
      </p:sp>
      <p:sp>
        <p:nvSpPr>
          <p:cNvPr id="14" name="Date Placeholder 2">
            <a:extLst>
              <a:ext uri="{FF2B5EF4-FFF2-40B4-BE49-F238E27FC236}">
                <a16:creationId xmlns:a16="http://schemas.microsoft.com/office/drawing/2014/main" id="{655F7B86-BE77-6940-8518-D4065A6AF478}"/>
              </a:ext>
            </a:extLst>
          </p:cNvPr>
          <p:cNvSpPr>
            <a:spLocks noGrp="1"/>
          </p:cNvSpPr>
          <p:nvPr>
            <p:ph type="dt" sz="half" idx="13"/>
          </p:nvPr>
        </p:nvSpPr>
        <p:spPr>
          <a:xfrm>
            <a:off x="455731" y="6026150"/>
            <a:ext cx="5527526" cy="209550"/>
          </a:xfrm>
          <a:prstGeom prst="rect">
            <a:avLst/>
          </a:prstGeom>
        </p:spPr>
        <p:txBody>
          <a:bodyPr lIns="0" tIns="0" rIns="0" bIns="0"/>
          <a:lstStyle>
            <a:lvl1pPr>
              <a:defRPr sz="1600" b="0" i="0">
                <a:solidFill>
                  <a:schemeClr val="accent2"/>
                </a:solidFill>
                <a:latin typeface="Barlow" pitchFamily="2" charset="77"/>
              </a:defRPr>
            </a:lvl1pPr>
            <a:lvl2pPr marL="0">
              <a:defRPr sz="1600" b="0" i="0">
                <a:solidFill>
                  <a:schemeClr val="accent2"/>
                </a:solidFill>
                <a:latin typeface="Barlow" pitchFamily="2" charset="77"/>
              </a:defRPr>
            </a:lvl2pPr>
            <a:lvl3pPr marL="0">
              <a:defRPr sz="1600" b="0" i="0">
                <a:solidFill>
                  <a:schemeClr val="accent2"/>
                </a:solidFill>
                <a:latin typeface="Barlow" pitchFamily="2" charset="77"/>
              </a:defRPr>
            </a:lvl3pPr>
            <a:lvl4pPr marL="0">
              <a:defRPr sz="1600" b="0" i="0">
                <a:solidFill>
                  <a:schemeClr val="accent2"/>
                </a:solidFill>
                <a:latin typeface="Barlow" pitchFamily="2" charset="77"/>
              </a:defRPr>
            </a:lvl4pPr>
            <a:lvl5pPr marL="0">
              <a:defRPr sz="1600" b="0" i="0">
                <a:solidFill>
                  <a:schemeClr val="accent2"/>
                </a:solidFill>
                <a:latin typeface="Barlow" pitchFamily="2" charset="77"/>
              </a:defRPr>
            </a:lvl5pPr>
            <a:lvl6pPr marL="0">
              <a:defRPr sz="1600" b="0" i="0">
                <a:solidFill>
                  <a:schemeClr val="accent2"/>
                </a:solidFill>
                <a:latin typeface="Barlow" pitchFamily="2" charset="77"/>
              </a:defRPr>
            </a:lvl6pPr>
            <a:lvl7pPr marL="0">
              <a:defRPr sz="1600" b="0" i="0">
                <a:solidFill>
                  <a:schemeClr val="accent2"/>
                </a:solidFill>
                <a:latin typeface="Barlow" pitchFamily="2" charset="77"/>
              </a:defRPr>
            </a:lvl7pPr>
            <a:lvl8pPr marL="0">
              <a:defRPr sz="1600">
                <a:solidFill>
                  <a:schemeClr val="accent2"/>
                </a:solidFill>
                <a:latin typeface="Barlow" pitchFamily="2" charset="77"/>
              </a:defRPr>
            </a:lvl8pPr>
            <a:lvl9pPr marL="0">
              <a:defRPr sz="1600" b="0" i="0">
                <a:solidFill>
                  <a:schemeClr val="accent2"/>
                </a:solidFill>
                <a:latin typeface="Barlow" pitchFamily="2" charset="77"/>
              </a:defRPr>
            </a:lvl9pPr>
          </a:lstStyle>
          <a:p>
            <a:pPr lvl="8"/>
            <a:r>
              <a:rPr lang="en-US"/>
              <a:t>Date</a:t>
            </a:r>
          </a:p>
        </p:txBody>
      </p:sp>
      <p:sp>
        <p:nvSpPr>
          <p:cNvPr id="15" name="Text Placeholder 6">
            <a:extLst>
              <a:ext uri="{FF2B5EF4-FFF2-40B4-BE49-F238E27FC236}">
                <a16:creationId xmlns:a16="http://schemas.microsoft.com/office/drawing/2014/main" id="{B4522E7B-9AC7-9547-85E6-CD5A41A4D9A2}"/>
              </a:ext>
            </a:extLst>
          </p:cNvPr>
          <p:cNvSpPr>
            <a:spLocks noGrp="1"/>
          </p:cNvSpPr>
          <p:nvPr>
            <p:ph type="body" sz="quarter" idx="14" hasCustomPrompt="1"/>
          </p:nvPr>
        </p:nvSpPr>
        <p:spPr>
          <a:xfrm>
            <a:off x="457319" y="2509603"/>
            <a:ext cx="5525939" cy="919398"/>
          </a:xfrm>
          <a:prstGeom prst="rect">
            <a:avLst/>
          </a:prstGeom>
        </p:spPr>
        <p:txBody>
          <a:bodyPr lIns="0" tIns="182880" anchor="b" anchorCtr="0">
            <a:noAutofit/>
          </a:bodyPr>
          <a:lstStyle>
            <a:lvl1pPr>
              <a:lnSpc>
                <a:spcPts val="2300"/>
              </a:lnSpc>
              <a:spcAft>
                <a:spcPts val="0"/>
              </a:spcAft>
              <a:defRPr sz="20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Optional service or offering name here</a:t>
            </a:r>
          </a:p>
        </p:txBody>
      </p:sp>
      <p:sp>
        <p:nvSpPr>
          <p:cNvPr id="16" name="Picture Placeholder 16">
            <a:extLst>
              <a:ext uri="{FF2B5EF4-FFF2-40B4-BE49-F238E27FC236}">
                <a16:creationId xmlns:a16="http://schemas.microsoft.com/office/drawing/2014/main" id="{7E010F64-5C6D-7249-A211-796843E9185E}"/>
              </a:ext>
            </a:extLst>
          </p:cNvPr>
          <p:cNvSpPr>
            <a:spLocks noGrp="1"/>
          </p:cNvSpPr>
          <p:nvPr>
            <p:ph type="pic" sz="quarter" idx="17" hasCustomPrompt="1"/>
          </p:nvPr>
        </p:nvSpPr>
        <p:spPr>
          <a:xfrm>
            <a:off x="474482" y="460375"/>
            <a:ext cx="2431521" cy="876300"/>
          </a:xfrm>
          <a:solidFill>
            <a:schemeClr val="bg1"/>
          </a:solidFill>
        </p:spPr>
        <p:txBody>
          <a:bodyPr tIns="0" anchor="t" anchorCtr="0"/>
          <a:lstStyle>
            <a:lvl1pPr algn="ctr">
              <a:spcAft>
                <a:spcPts val="0"/>
              </a:spcAft>
              <a:defRPr sz="800">
                <a:solidFill>
                  <a:schemeClr val="tx2"/>
                </a:solidFill>
              </a:defRPr>
            </a:lvl1pPr>
          </a:lstStyle>
          <a:p>
            <a:r>
              <a:rPr lang="en-US" dirty="0"/>
              <a:t>Insert entity logo or delete box for default logo</a:t>
            </a:r>
          </a:p>
        </p:txBody>
      </p:sp>
    </p:spTree>
    <p:extLst>
      <p:ext uri="{BB962C8B-B14F-4D97-AF65-F5344CB8AC3E}">
        <p14:creationId xmlns:p14="http://schemas.microsoft.com/office/powerpoint/2010/main" val="398680507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9618A2A-DF5D-E94F-AE1B-05869B8CDF0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7" y="4466"/>
            <a:ext cx="12179296" cy="6856212"/>
          </a:xfrm>
          <a:prstGeom prst="rect">
            <a:avLst/>
          </a:prstGeom>
        </p:spPr>
      </p:pic>
      <p:sp>
        <p:nvSpPr>
          <p:cNvPr id="2" name="TextBox 1">
            <a:extLst>
              <a:ext uri="{FF2B5EF4-FFF2-40B4-BE49-F238E27FC236}">
                <a16:creationId xmlns:a16="http://schemas.microsoft.com/office/drawing/2014/main" id="{96C6DFFD-D32D-F046-95A8-4D7002C62042}"/>
              </a:ext>
            </a:extLst>
          </p:cNvPr>
          <p:cNvSpPr txBox="1"/>
          <p:nvPr userDrawn="1"/>
        </p:nvSpPr>
        <p:spPr>
          <a:xfrm>
            <a:off x="463671" y="460375"/>
            <a:ext cx="3604564" cy="1104900"/>
          </a:xfrm>
          <a:prstGeom prst="rect">
            <a:avLst/>
          </a:prstGeom>
          <a:noFill/>
        </p:spPr>
        <p:txBody>
          <a:bodyPr wrap="square" lIns="0" tIns="0" rIns="0" bIns="137160" rtlCol="0" anchor="b" anchorCtr="0">
            <a:noAutofit/>
          </a:bodyPr>
          <a:lstStyle/>
          <a:p>
            <a:pPr marL="0" lvl="0" indent="-3657235" algn="l">
              <a:lnSpc>
                <a:spcPts val="3400"/>
              </a:lnSpc>
              <a:spcAft>
                <a:spcPts val="0"/>
              </a:spcAft>
            </a:pPr>
            <a:r>
              <a:rPr lang="en-US" sz="3600" b="0">
                <a:solidFill>
                  <a:schemeClr val="bg1"/>
                </a:solidFill>
                <a:latin typeface="Lora" pitchFamily="2" charset="77"/>
              </a:rPr>
              <a:t>Agenda</a:t>
            </a:r>
          </a:p>
        </p:txBody>
      </p:sp>
      <p:sp>
        <p:nvSpPr>
          <p:cNvPr id="14" name="Footer Placeholder 13">
            <a:extLst>
              <a:ext uri="{FF2B5EF4-FFF2-40B4-BE49-F238E27FC236}">
                <a16:creationId xmlns:a16="http://schemas.microsoft.com/office/drawing/2014/main" id="{E8F47C92-6270-F544-B541-A469D4A5DA9A}"/>
              </a:ext>
            </a:extLst>
          </p:cNvPr>
          <p:cNvSpPr>
            <a:spLocks noGrp="1"/>
          </p:cNvSpPr>
          <p:nvPr>
            <p:ph type="ftr" sz="quarter" idx="15"/>
          </p:nvPr>
        </p:nvSpPr>
        <p:spPr>
          <a:xfrm>
            <a:off x="4298483" y="6432562"/>
            <a:ext cx="6937594" cy="234938"/>
          </a:xfrm>
        </p:spPr>
        <p:txBody>
          <a:bodyPr/>
          <a:lstStyle/>
          <a:p>
            <a:pPr lvl="8"/>
            <a:r>
              <a:rPr lang="en-US"/>
              <a:t>Presentation Title Here &gt; Insert &gt; Header &amp; Footer</a:t>
            </a:r>
          </a:p>
        </p:txBody>
      </p:sp>
      <p:sp>
        <p:nvSpPr>
          <p:cNvPr id="15" name="Slide Number Placeholder 14">
            <a:extLst>
              <a:ext uri="{FF2B5EF4-FFF2-40B4-BE49-F238E27FC236}">
                <a16:creationId xmlns:a16="http://schemas.microsoft.com/office/drawing/2014/main" id="{9AFAAF2F-5C32-014B-B859-13C713ABBAE0}"/>
              </a:ext>
            </a:extLst>
          </p:cNvPr>
          <p:cNvSpPr>
            <a:spLocks noGrp="1"/>
          </p:cNvSpPr>
          <p:nvPr>
            <p:ph type="sldNum" sz="quarter" idx="16"/>
          </p:nvPr>
        </p:nvSpPr>
        <p:spPr/>
        <p:txBody>
          <a:bodyPr/>
          <a:lstStyle/>
          <a:p>
            <a:fld id="{1E3D5677-3D20-0C46-8497-54D73E689044}" type="slidenum">
              <a:rPr lang="en-US"/>
              <a:pPr/>
              <a:t>‹#›</a:t>
            </a:fld>
            <a:endParaRPr lang="en-US"/>
          </a:p>
        </p:txBody>
      </p:sp>
      <p:pic>
        <p:nvPicPr>
          <p:cNvPr id="12" name="Picture 11">
            <a:extLst>
              <a:ext uri="{FF2B5EF4-FFF2-40B4-BE49-F238E27FC236}">
                <a16:creationId xmlns:a16="http://schemas.microsoft.com/office/drawing/2014/main" id="{A3B34E8E-34B1-5048-94AE-5C770B84AE5A}"/>
              </a:ext>
            </a:extLst>
          </p:cNvPr>
          <p:cNvPicPr>
            <a:picLocks noChangeAspect="1"/>
          </p:cNvPicPr>
          <p:nvPr userDrawn="1"/>
        </p:nvPicPr>
        <p:blipFill>
          <a:blip r:embed="rId3"/>
          <a:srcRect/>
          <a:stretch/>
        </p:blipFill>
        <p:spPr>
          <a:xfrm>
            <a:off x="472868" y="6412434"/>
            <a:ext cx="1497466" cy="285488"/>
          </a:xfrm>
          <a:prstGeom prst="rect">
            <a:avLst/>
          </a:prstGeom>
        </p:spPr>
      </p:pic>
      <p:sp>
        <p:nvSpPr>
          <p:cNvPr id="8" name="Text Placeholder 6">
            <a:extLst>
              <a:ext uri="{FF2B5EF4-FFF2-40B4-BE49-F238E27FC236}">
                <a16:creationId xmlns:a16="http://schemas.microsoft.com/office/drawing/2014/main" id="{DB8C8CFC-BE13-AC4B-A5EC-B789B27C8395}"/>
              </a:ext>
            </a:extLst>
          </p:cNvPr>
          <p:cNvSpPr>
            <a:spLocks noGrp="1"/>
          </p:cNvSpPr>
          <p:nvPr>
            <p:ph type="body" sz="quarter" idx="13" hasCustomPrompt="1"/>
          </p:nvPr>
        </p:nvSpPr>
        <p:spPr>
          <a:xfrm>
            <a:off x="472870" y="2336801"/>
            <a:ext cx="1497465" cy="3526971"/>
          </a:xfrm>
          <a:prstGeom prst="rect">
            <a:avLst/>
          </a:prstGeom>
        </p:spPr>
        <p:txBody>
          <a:bodyPr lIns="0" tIns="0" rIns="0" anchor="t" anchorCtr="0">
            <a:noAutofit/>
          </a:bodyPr>
          <a:lstStyle>
            <a:lvl1pPr marL="0" indent="0">
              <a:lnSpc>
                <a:spcPts val="2100"/>
              </a:lnSpc>
              <a:spcAft>
                <a:spcPts val="1600"/>
              </a:spcAft>
              <a:buClr>
                <a:schemeClr val="bg1"/>
              </a:buClr>
              <a:buFontTx/>
              <a:buNone/>
              <a:defRPr sz="1800" b="0">
                <a:solidFill>
                  <a:schemeClr val="bg1"/>
                </a:solidFill>
              </a:defRPr>
            </a:lvl1pPr>
            <a:lvl2pPr marL="0" indent="0">
              <a:lnSpc>
                <a:spcPts val="2100"/>
              </a:lnSpc>
              <a:spcAft>
                <a:spcPts val="1600"/>
              </a:spcAft>
              <a:buClr>
                <a:schemeClr val="bg1"/>
              </a:buClr>
              <a:buFontTx/>
              <a:buNone/>
              <a:defRPr sz="1800" b="0">
                <a:solidFill>
                  <a:schemeClr val="bg1"/>
                </a:solidFill>
              </a:defRPr>
            </a:lvl2pPr>
            <a:lvl3pPr marL="0" indent="0">
              <a:lnSpc>
                <a:spcPts val="2100"/>
              </a:lnSpc>
              <a:spcAft>
                <a:spcPts val="1600"/>
              </a:spcAft>
              <a:buClr>
                <a:schemeClr val="bg1"/>
              </a:buClr>
              <a:buFontTx/>
              <a:buNone/>
              <a:defRPr sz="1800" b="0">
                <a:solidFill>
                  <a:schemeClr val="bg1"/>
                </a:solidFill>
              </a:defRPr>
            </a:lvl3pPr>
            <a:lvl4pPr marL="0" indent="0">
              <a:lnSpc>
                <a:spcPts val="2100"/>
              </a:lnSpc>
              <a:spcAft>
                <a:spcPts val="1600"/>
              </a:spcAft>
              <a:buClr>
                <a:schemeClr val="bg1"/>
              </a:buClr>
              <a:buFontTx/>
              <a:buNone/>
              <a:defRPr sz="1800" b="0">
                <a:solidFill>
                  <a:schemeClr val="bg1"/>
                </a:solidFill>
              </a:defRPr>
            </a:lvl4pPr>
            <a:lvl5pPr marL="0" indent="0">
              <a:lnSpc>
                <a:spcPts val="2100"/>
              </a:lnSpc>
              <a:spcAft>
                <a:spcPts val="1600"/>
              </a:spcAft>
              <a:buClr>
                <a:schemeClr val="bg1"/>
              </a:buClr>
              <a:buFontTx/>
              <a:buNone/>
              <a:defRPr sz="1800" b="0">
                <a:solidFill>
                  <a:schemeClr val="bg1"/>
                </a:solidFill>
              </a:defRPr>
            </a:lvl5pPr>
            <a:lvl6pPr marL="0" indent="0">
              <a:lnSpc>
                <a:spcPts val="2100"/>
              </a:lnSpc>
              <a:spcAft>
                <a:spcPts val="1600"/>
              </a:spcAft>
              <a:buClr>
                <a:schemeClr val="bg1"/>
              </a:buClr>
              <a:buFontTx/>
              <a:buNone/>
              <a:defRPr sz="1800" b="0">
                <a:solidFill>
                  <a:schemeClr val="bg1"/>
                </a:solidFill>
              </a:defRPr>
            </a:lvl6pPr>
            <a:lvl7pPr marL="0" indent="0">
              <a:lnSpc>
                <a:spcPts val="2100"/>
              </a:lnSpc>
              <a:spcAft>
                <a:spcPts val="1600"/>
              </a:spcAft>
              <a:buClr>
                <a:schemeClr val="bg1"/>
              </a:buClr>
              <a:buFontTx/>
              <a:buNone/>
              <a:defRPr sz="1800" b="0">
                <a:solidFill>
                  <a:schemeClr val="bg1"/>
                </a:solidFill>
              </a:defRPr>
            </a:lvl7pPr>
            <a:lvl8pPr marL="0" indent="0">
              <a:lnSpc>
                <a:spcPts val="2100"/>
              </a:lnSpc>
              <a:spcAft>
                <a:spcPts val="1600"/>
              </a:spcAft>
              <a:buClr>
                <a:schemeClr val="bg1"/>
              </a:buClr>
              <a:buFontTx/>
              <a:buNone/>
              <a:defRPr sz="1800" b="0">
                <a:solidFill>
                  <a:schemeClr val="bg1"/>
                </a:solidFill>
              </a:defRPr>
            </a:lvl8pPr>
            <a:lvl9pPr marL="0" indent="0">
              <a:lnSpc>
                <a:spcPts val="2100"/>
              </a:lnSpc>
              <a:spcAft>
                <a:spcPts val="1600"/>
              </a:spcAft>
              <a:buClr>
                <a:schemeClr val="bg1"/>
              </a:buClr>
              <a:buFontTx/>
              <a:buNone/>
              <a:defRPr sz="1800" b="0">
                <a:solidFill>
                  <a:schemeClr val="bg1"/>
                </a:solidFill>
              </a:defRPr>
            </a:lvl9pPr>
          </a:lstStyle>
          <a:p>
            <a:pPr lvl="0"/>
            <a:r>
              <a:rPr lang="en-US" dirty="0"/>
              <a:t>TIME</a:t>
            </a:r>
          </a:p>
        </p:txBody>
      </p:sp>
      <p:sp>
        <p:nvSpPr>
          <p:cNvPr id="10" name="Text Placeholder 6">
            <a:extLst>
              <a:ext uri="{FF2B5EF4-FFF2-40B4-BE49-F238E27FC236}">
                <a16:creationId xmlns:a16="http://schemas.microsoft.com/office/drawing/2014/main" id="{AD5C48A9-DB02-6644-AA7A-0B977622F799}"/>
              </a:ext>
            </a:extLst>
          </p:cNvPr>
          <p:cNvSpPr>
            <a:spLocks noGrp="1"/>
          </p:cNvSpPr>
          <p:nvPr>
            <p:ph type="body" sz="quarter" idx="17" hasCustomPrompt="1"/>
          </p:nvPr>
        </p:nvSpPr>
        <p:spPr>
          <a:xfrm>
            <a:off x="2227699" y="2336801"/>
            <a:ext cx="5672172" cy="3526971"/>
          </a:xfrm>
          <a:prstGeom prst="rect">
            <a:avLst/>
          </a:prstGeom>
        </p:spPr>
        <p:txBody>
          <a:bodyPr lIns="0" tIns="0" rIns="0" anchor="t" anchorCtr="0">
            <a:noAutofit/>
          </a:bodyPr>
          <a:lstStyle>
            <a:lvl1pPr marL="0" indent="0">
              <a:lnSpc>
                <a:spcPts val="2100"/>
              </a:lnSpc>
              <a:spcAft>
                <a:spcPts val="1600"/>
              </a:spcAft>
              <a:buClr>
                <a:schemeClr val="bg1"/>
              </a:buClr>
              <a:buFontTx/>
              <a:buNone/>
              <a:defRPr sz="1800" b="0">
                <a:solidFill>
                  <a:schemeClr val="bg1"/>
                </a:solidFill>
              </a:defRPr>
            </a:lvl1pPr>
            <a:lvl2pPr marL="0" indent="0">
              <a:lnSpc>
                <a:spcPts val="2100"/>
              </a:lnSpc>
              <a:spcAft>
                <a:spcPts val="1600"/>
              </a:spcAft>
              <a:buClr>
                <a:schemeClr val="bg1"/>
              </a:buClr>
              <a:buFontTx/>
              <a:buNone/>
              <a:defRPr sz="1800" b="0">
                <a:solidFill>
                  <a:schemeClr val="bg1"/>
                </a:solidFill>
              </a:defRPr>
            </a:lvl2pPr>
            <a:lvl3pPr marL="0" indent="0">
              <a:lnSpc>
                <a:spcPts val="2100"/>
              </a:lnSpc>
              <a:spcAft>
                <a:spcPts val="1600"/>
              </a:spcAft>
              <a:buClr>
                <a:schemeClr val="bg1"/>
              </a:buClr>
              <a:buFontTx/>
              <a:buNone/>
              <a:defRPr sz="1800" b="0">
                <a:solidFill>
                  <a:schemeClr val="bg1"/>
                </a:solidFill>
              </a:defRPr>
            </a:lvl3pPr>
            <a:lvl4pPr marL="0" indent="0">
              <a:lnSpc>
                <a:spcPts val="2100"/>
              </a:lnSpc>
              <a:spcAft>
                <a:spcPts val="1600"/>
              </a:spcAft>
              <a:buClr>
                <a:schemeClr val="bg1"/>
              </a:buClr>
              <a:buFontTx/>
              <a:buNone/>
              <a:defRPr sz="1800" b="0">
                <a:solidFill>
                  <a:schemeClr val="bg1"/>
                </a:solidFill>
              </a:defRPr>
            </a:lvl4pPr>
            <a:lvl5pPr marL="0" indent="0">
              <a:lnSpc>
                <a:spcPts val="2100"/>
              </a:lnSpc>
              <a:spcAft>
                <a:spcPts val="1600"/>
              </a:spcAft>
              <a:buClr>
                <a:schemeClr val="bg1"/>
              </a:buClr>
              <a:buFontTx/>
              <a:buNone/>
              <a:defRPr sz="1800" b="0">
                <a:solidFill>
                  <a:schemeClr val="bg1"/>
                </a:solidFill>
              </a:defRPr>
            </a:lvl5pPr>
            <a:lvl6pPr marL="0" indent="0">
              <a:lnSpc>
                <a:spcPts val="2100"/>
              </a:lnSpc>
              <a:spcAft>
                <a:spcPts val="1600"/>
              </a:spcAft>
              <a:buClr>
                <a:schemeClr val="bg1"/>
              </a:buClr>
              <a:buFontTx/>
              <a:buNone/>
              <a:defRPr sz="1800" b="0">
                <a:solidFill>
                  <a:schemeClr val="bg1"/>
                </a:solidFill>
              </a:defRPr>
            </a:lvl6pPr>
            <a:lvl7pPr marL="0" indent="0">
              <a:lnSpc>
                <a:spcPts val="2100"/>
              </a:lnSpc>
              <a:spcAft>
                <a:spcPts val="1600"/>
              </a:spcAft>
              <a:buClr>
                <a:schemeClr val="bg1"/>
              </a:buClr>
              <a:buFontTx/>
              <a:buNone/>
              <a:defRPr sz="1800" b="0">
                <a:solidFill>
                  <a:schemeClr val="bg1"/>
                </a:solidFill>
              </a:defRPr>
            </a:lvl7pPr>
            <a:lvl8pPr marL="0" indent="0">
              <a:lnSpc>
                <a:spcPts val="2100"/>
              </a:lnSpc>
              <a:spcAft>
                <a:spcPts val="1600"/>
              </a:spcAft>
              <a:buClr>
                <a:schemeClr val="bg1"/>
              </a:buClr>
              <a:buFontTx/>
              <a:buNone/>
              <a:defRPr sz="1800" b="0">
                <a:solidFill>
                  <a:schemeClr val="bg1"/>
                </a:solidFill>
              </a:defRPr>
            </a:lvl8pPr>
            <a:lvl9pPr marL="0" indent="0">
              <a:lnSpc>
                <a:spcPts val="2100"/>
              </a:lnSpc>
              <a:spcAft>
                <a:spcPts val="1600"/>
              </a:spcAft>
              <a:buClr>
                <a:schemeClr val="bg1"/>
              </a:buClr>
              <a:buFontTx/>
              <a:buNone/>
              <a:defRPr sz="1800" b="0">
                <a:solidFill>
                  <a:schemeClr val="bg1"/>
                </a:solidFill>
              </a:defRPr>
            </a:lvl9pPr>
          </a:lstStyle>
          <a:p>
            <a:pPr lvl="0"/>
            <a:r>
              <a:rPr lang="en-US" dirty="0"/>
              <a:t>Topic</a:t>
            </a:r>
          </a:p>
        </p:txBody>
      </p:sp>
      <p:sp>
        <p:nvSpPr>
          <p:cNvPr id="13" name="Text Placeholder 6">
            <a:extLst>
              <a:ext uri="{FF2B5EF4-FFF2-40B4-BE49-F238E27FC236}">
                <a16:creationId xmlns:a16="http://schemas.microsoft.com/office/drawing/2014/main" id="{89115212-75FE-AB42-9E22-73B8612CBD19}"/>
              </a:ext>
            </a:extLst>
          </p:cNvPr>
          <p:cNvSpPr>
            <a:spLocks noGrp="1"/>
          </p:cNvSpPr>
          <p:nvPr>
            <p:ph type="body" sz="quarter" idx="18" hasCustomPrompt="1"/>
          </p:nvPr>
        </p:nvSpPr>
        <p:spPr>
          <a:xfrm>
            <a:off x="8125354" y="2336801"/>
            <a:ext cx="3593777" cy="3526971"/>
          </a:xfrm>
          <a:prstGeom prst="rect">
            <a:avLst/>
          </a:prstGeom>
        </p:spPr>
        <p:txBody>
          <a:bodyPr lIns="0" tIns="0" rIns="0" anchor="t" anchorCtr="0">
            <a:noAutofit/>
          </a:bodyPr>
          <a:lstStyle>
            <a:lvl1pPr marL="0" indent="0">
              <a:lnSpc>
                <a:spcPts val="2100"/>
              </a:lnSpc>
              <a:spcAft>
                <a:spcPts val="1600"/>
              </a:spcAft>
              <a:buClr>
                <a:schemeClr val="bg1"/>
              </a:buClr>
              <a:buFontTx/>
              <a:buNone/>
              <a:defRPr sz="1800" b="0">
                <a:solidFill>
                  <a:schemeClr val="bg1"/>
                </a:solidFill>
              </a:defRPr>
            </a:lvl1pPr>
            <a:lvl2pPr marL="0" indent="0">
              <a:lnSpc>
                <a:spcPts val="2100"/>
              </a:lnSpc>
              <a:spcAft>
                <a:spcPts val="1600"/>
              </a:spcAft>
              <a:buClr>
                <a:schemeClr val="bg1"/>
              </a:buClr>
              <a:buFontTx/>
              <a:buNone/>
              <a:defRPr sz="1800" b="0">
                <a:solidFill>
                  <a:schemeClr val="bg1"/>
                </a:solidFill>
              </a:defRPr>
            </a:lvl2pPr>
            <a:lvl3pPr marL="0" indent="0">
              <a:lnSpc>
                <a:spcPts val="2100"/>
              </a:lnSpc>
              <a:spcAft>
                <a:spcPts val="1600"/>
              </a:spcAft>
              <a:buClr>
                <a:schemeClr val="bg1"/>
              </a:buClr>
              <a:buFontTx/>
              <a:buNone/>
              <a:defRPr sz="1800" b="0">
                <a:solidFill>
                  <a:schemeClr val="bg1"/>
                </a:solidFill>
              </a:defRPr>
            </a:lvl3pPr>
            <a:lvl4pPr marL="0" indent="0">
              <a:lnSpc>
                <a:spcPts val="2100"/>
              </a:lnSpc>
              <a:spcAft>
                <a:spcPts val="1600"/>
              </a:spcAft>
              <a:buClr>
                <a:schemeClr val="bg1"/>
              </a:buClr>
              <a:buFontTx/>
              <a:buNone/>
              <a:defRPr sz="1800" b="0">
                <a:solidFill>
                  <a:schemeClr val="bg1"/>
                </a:solidFill>
              </a:defRPr>
            </a:lvl4pPr>
            <a:lvl5pPr marL="0" indent="0">
              <a:lnSpc>
                <a:spcPts val="2100"/>
              </a:lnSpc>
              <a:spcAft>
                <a:spcPts val="1600"/>
              </a:spcAft>
              <a:buClr>
                <a:schemeClr val="bg1"/>
              </a:buClr>
              <a:buFontTx/>
              <a:buNone/>
              <a:defRPr sz="1800" b="0">
                <a:solidFill>
                  <a:schemeClr val="bg1"/>
                </a:solidFill>
              </a:defRPr>
            </a:lvl5pPr>
            <a:lvl6pPr marL="0" indent="0">
              <a:lnSpc>
                <a:spcPts val="2100"/>
              </a:lnSpc>
              <a:spcAft>
                <a:spcPts val="1600"/>
              </a:spcAft>
              <a:buClr>
                <a:schemeClr val="bg1"/>
              </a:buClr>
              <a:buFontTx/>
              <a:buNone/>
              <a:defRPr sz="1800" b="0">
                <a:solidFill>
                  <a:schemeClr val="bg1"/>
                </a:solidFill>
              </a:defRPr>
            </a:lvl6pPr>
            <a:lvl7pPr marL="0" indent="0">
              <a:lnSpc>
                <a:spcPts val="2100"/>
              </a:lnSpc>
              <a:spcAft>
                <a:spcPts val="1600"/>
              </a:spcAft>
              <a:buClr>
                <a:schemeClr val="bg1"/>
              </a:buClr>
              <a:buFontTx/>
              <a:buNone/>
              <a:defRPr sz="1800" b="0">
                <a:solidFill>
                  <a:schemeClr val="bg1"/>
                </a:solidFill>
              </a:defRPr>
            </a:lvl7pPr>
            <a:lvl8pPr marL="0" indent="0">
              <a:lnSpc>
                <a:spcPts val="2100"/>
              </a:lnSpc>
              <a:spcAft>
                <a:spcPts val="1600"/>
              </a:spcAft>
              <a:buClr>
                <a:schemeClr val="bg1"/>
              </a:buClr>
              <a:buFontTx/>
              <a:buNone/>
              <a:defRPr sz="1800" b="0">
                <a:solidFill>
                  <a:schemeClr val="bg1"/>
                </a:solidFill>
              </a:defRPr>
            </a:lvl8pPr>
            <a:lvl9pPr marL="0" indent="0">
              <a:lnSpc>
                <a:spcPts val="2100"/>
              </a:lnSpc>
              <a:spcAft>
                <a:spcPts val="1600"/>
              </a:spcAft>
              <a:buClr>
                <a:schemeClr val="bg1"/>
              </a:buClr>
              <a:buFontTx/>
              <a:buNone/>
              <a:defRPr sz="1800" b="0">
                <a:solidFill>
                  <a:schemeClr val="bg1"/>
                </a:solidFill>
              </a:defRPr>
            </a:lvl9pPr>
          </a:lstStyle>
          <a:p>
            <a:pPr lvl="0"/>
            <a:r>
              <a:rPr lang="en-US" dirty="0"/>
              <a:t>Name</a:t>
            </a:r>
          </a:p>
        </p:txBody>
      </p:sp>
    </p:spTree>
    <p:extLst>
      <p:ext uri="{BB962C8B-B14F-4D97-AF65-F5344CB8AC3E}">
        <p14:creationId xmlns:p14="http://schemas.microsoft.com/office/powerpoint/2010/main" val="332573211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able_of_contents">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B217E96-41B0-6043-94A0-7958ABA0E39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7" y="4467"/>
            <a:ext cx="12179296" cy="6856211"/>
          </a:xfrm>
          <a:prstGeom prst="rect">
            <a:avLst/>
          </a:prstGeom>
        </p:spPr>
      </p:pic>
      <p:sp>
        <p:nvSpPr>
          <p:cNvPr id="3" name="Footer Placeholder 2">
            <a:extLst>
              <a:ext uri="{FF2B5EF4-FFF2-40B4-BE49-F238E27FC236}">
                <a16:creationId xmlns:a16="http://schemas.microsoft.com/office/drawing/2014/main" id="{E8D17CCE-4148-054E-BC25-74B1DEEB2364}"/>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9" name="Text Placeholder 6">
            <a:extLst>
              <a:ext uri="{FF2B5EF4-FFF2-40B4-BE49-F238E27FC236}">
                <a16:creationId xmlns:a16="http://schemas.microsoft.com/office/drawing/2014/main" id="{2690C1FD-1E6B-BB44-8213-7BF2FC4D2537}"/>
              </a:ext>
            </a:extLst>
          </p:cNvPr>
          <p:cNvSpPr>
            <a:spLocks noGrp="1"/>
          </p:cNvSpPr>
          <p:nvPr>
            <p:ph type="body" sz="quarter" idx="13"/>
          </p:nvPr>
        </p:nvSpPr>
        <p:spPr>
          <a:xfrm>
            <a:off x="472869" y="2336801"/>
            <a:ext cx="5510389" cy="3526971"/>
          </a:xfrm>
          <a:prstGeom prst="rect">
            <a:avLst/>
          </a:prstGeom>
        </p:spPr>
        <p:txBody>
          <a:bodyPr lIns="0" tIns="0" rIns="0" anchor="t" anchorCtr="0">
            <a:noAutofit/>
          </a:bodyPr>
          <a:lstStyle>
            <a:lvl1pPr marL="0" indent="0">
              <a:lnSpc>
                <a:spcPts val="2100"/>
              </a:lnSpc>
              <a:spcAft>
                <a:spcPts val="1600"/>
              </a:spcAft>
              <a:buClr>
                <a:schemeClr val="bg1"/>
              </a:buClr>
              <a:buFontTx/>
              <a:buNone/>
              <a:defRPr sz="1800" b="0">
                <a:solidFill>
                  <a:schemeClr val="bg1"/>
                </a:solidFill>
              </a:defRPr>
            </a:lvl1pPr>
            <a:lvl2pPr marL="0" indent="0">
              <a:lnSpc>
                <a:spcPts val="2100"/>
              </a:lnSpc>
              <a:spcAft>
                <a:spcPts val="1600"/>
              </a:spcAft>
              <a:buClr>
                <a:schemeClr val="bg1"/>
              </a:buClr>
              <a:buFontTx/>
              <a:buNone/>
              <a:defRPr sz="1800" b="0">
                <a:solidFill>
                  <a:schemeClr val="bg1"/>
                </a:solidFill>
              </a:defRPr>
            </a:lvl2pPr>
            <a:lvl3pPr marL="0" indent="0">
              <a:lnSpc>
                <a:spcPts val="2100"/>
              </a:lnSpc>
              <a:spcAft>
                <a:spcPts val="1600"/>
              </a:spcAft>
              <a:buClr>
                <a:schemeClr val="bg1"/>
              </a:buClr>
              <a:buFontTx/>
              <a:buNone/>
              <a:defRPr sz="1800" b="0">
                <a:solidFill>
                  <a:schemeClr val="bg1"/>
                </a:solidFill>
              </a:defRPr>
            </a:lvl3pPr>
            <a:lvl4pPr marL="0" indent="0">
              <a:lnSpc>
                <a:spcPts val="2100"/>
              </a:lnSpc>
              <a:spcAft>
                <a:spcPts val="1600"/>
              </a:spcAft>
              <a:buClr>
                <a:schemeClr val="bg1"/>
              </a:buClr>
              <a:buFontTx/>
              <a:buNone/>
              <a:defRPr sz="1800" b="0">
                <a:solidFill>
                  <a:schemeClr val="bg1"/>
                </a:solidFill>
              </a:defRPr>
            </a:lvl4pPr>
            <a:lvl5pPr marL="0" indent="0">
              <a:lnSpc>
                <a:spcPts val="2100"/>
              </a:lnSpc>
              <a:spcAft>
                <a:spcPts val="1600"/>
              </a:spcAft>
              <a:buClr>
                <a:schemeClr val="bg1"/>
              </a:buClr>
              <a:buFontTx/>
              <a:buNone/>
              <a:defRPr sz="1800" b="0">
                <a:solidFill>
                  <a:schemeClr val="bg1"/>
                </a:solidFill>
              </a:defRPr>
            </a:lvl5pPr>
            <a:lvl6pPr marL="0" indent="0">
              <a:lnSpc>
                <a:spcPts val="2100"/>
              </a:lnSpc>
              <a:spcAft>
                <a:spcPts val="1600"/>
              </a:spcAft>
              <a:buClr>
                <a:schemeClr val="bg1"/>
              </a:buClr>
              <a:buFontTx/>
              <a:buNone/>
              <a:defRPr sz="1800" b="0">
                <a:solidFill>
                  <a:schemeClr val="bg1"/>
                </a:solidFill>
              </a:defRPr>
            </a:lvl6pPr>
            <a:lvl7pPr marL="0" indent="0">
              <a:lnSpc>
                <a:spcPts val="2100"/>
              </a:lnSpc>
              <a:spcAft>
                <a:spcPts val="1600"/>
              </a:spcAft>
              <a:buClr>
                <a:schemeClr val="bg1"/>
              </a:buClr>
              <a:buFontTx/>
              <a:buNone/>
              <a:defRPr sz="1800" b="0">
                <a:solidFill>
                  <a:schemeClr val="bg1"/>
                </a:solidFill>
              </a:defRPr>
            </a:lvl7pPr>
            <a:lvl8pPr marL="0" indent="0">
              <a:lnSpc>
                <a:spcPts val="2100"/>
              </a:lnSpc>
              <a:spcAft>
                <a:spcPts val="1600"/>
              </a:spcAft>
              <a:buClr>
                <a:schemeClr val="bg1"/>
              </a:buClr>
              <a:buFontTx/>
              <a:buNone/>
              <a:defRPr sz="1800" b="0">
                <a:solidFill>
                  <a:schemeClr val="bg1"/>
                </a:solidFill>
              </a:defRPr>
            </a:lvl8pPr>
            <a:lvl9pPr marL="0" indent="0">
              <a:lnSpc>
                <a:spcPts val="2100"/>
              </a:lnSpc>
              <a:spcAft>
                <a:spcPts val="1600"/>
              </a:spcAft>
              <a:buClr>
                <a:schemeClr val="bg1"/>
              </a:buClr>
              <a:buFontTx/>
              <a:buNone/>
              <a:defRPr sz="1800" b="0">
                <a:solidFill>
                  <a:schemeClr val="bg1"/>
                </a:solidFill>
              </a:defRPr>
            </a:lvl9pPr>
          </a:lstStyle>
          <a:p>
            <a:pPr lvl="0"/>
            <a:r>
              <a:rPr lang="en-US"/>
              <a:t>Click to edit Master text styles</a:t>
            </a:r>
          </a:p>
          <a:p>
            <a:pPr lvl="1"/>
            <a:r>
              <a:rPr lang="en-US"/>
              <a:t>Second level</a:t>
            </a:r>
          </a:p>
        </p:txBody>
      </p:sp>
      <p:sp>
        <p:nvSpPr>
          <p:cNvPr id="11" name="TextBox 10">
            <a:extLst>
              <a:ext uri="{FF2B5EF4-FFF2-40B4-BE49-F238E27FC236}">
                <a16:creationId xmlns:a16="http://schemas.microsoft.com/office/drawing/2014/main" id="{F2E50D81-674E-4040-9072-21F6A9509BA9}"/>
              </a:ext>
            </a:extLst>
          </p:cNvPr>
          <p:cNvSpPr txBox="1"/>
          <p:nvPr userDrawn="1"/>
        </p:nvSpPr>
        <p:spPr>
          <a:xfrm>
            <a:off x="463671" y="460375"/>
            <a:ext cx="7512825" cy="1104900"/>
          </a:xfrm>
          <a:prstGeom prst="rect">
            <a:avLst/>
          </a:prstGeom>
          <a:noFill/>
        </p:spPr>
        <p:txBody>
          <a:bodyPr wrap="square" lIns="0" tIns="0" rIns="0" bIns="137160" rtlCol="0" anchor="b" anchorCtr="0">
            <a:noAutofit/>
          </a:bodyPr>
          <a:lstStyle/>
          <a:p>
            <a:pPr marL="0" lvl="0" indent="-3657235" algn="l">
              <a:lnSpc>
                <a:spcPts val="3400"/>
              </a:lnSpc>
              <a:spcAft>
                <a:spcPts val="0"/>
              </a:spcAft>
            </a:pPr>
            <a:r>
              <a:rPr lang="en-US" sz="3600" b="0">
                <a:solidFill>
                  <a:schemeClr val="bg1"/>
                </a:solidFill>
                <a:latin typeface="Lora" pitchFamily="2" charset="77"/>
              </a:rPr>
              <a:t>Table of Contents</a:t>
            </a:r>
          </a:p>
        </p:txBody>
      </p:sp>
      <p:sp>
        <p:nvSpPr>
          <p:cNvPr id="12" name="Text Placeholder 6">
            <a:extLst>
              <a:ext uri="{FF2B5EF4-FFF2-40B4-BE49-F238E27FC236}">
                <a16:creationId xmlns:a16="http://schemas.microsoft.com/office/drawing/2014/main" id="{ADE15E06-9D52-994F-A080-6FA9BEED598D}"/>
              </a:ext>
            </a:extLst>
          </p:cNvPr>
          <p:cNvSpPr>
            <a:spLocks noGrp="1"/>
          </p:cNvSpPr>
          <p:nvPr>
            <p:ph type="body" sz="quarter" idx="17" hasCustomPrompt="1"/>
          </p:nvPr>
        </p:nvSpPr>
        <p:spPr>
          <a:xfrm>
            <a:off x="6205567" y="2336801"/>
            <a:ext cx="1694304" cy="3526971"/>
          </a:xfrm>
          <a:prstGeom prst="rect">
            <a:avLst/>
          </a:prstGeom>
        </p:spPr>
        <p:txBody>
          <a:bodyPr lIns="0" tIns="0" rIns="0" anchor="t" anchorCtr="0">
            <a:noAutofit/>
          </a:bodyPr>
          <a:lstStyle>
            <a:lvl1pPr marL="0" indent="0">
              <a:lnSpc>
                <a:spcPts val="2100"/>
              </a:lnSpc>
              <a:spcAft>
                <a:spcPts val="1600"/>
              </a:spcAft>
              <a:buClr>
                <a:schemeClr val="bg1"/>
              </a:buClr>
              <a:buFontTx/>
              <a:buNone/>
              <a:defRPr sz="1800" b="0">
                <a:solidFill>
                  <a:schemeClr val="bg1"/>
                </a:solidFill>
              </a:defRPr>
            </a:lvl1pPr>
            <a:lvl2pPr marL="0" indent="0">
              <a:lnSpc>
                <a:spcPts val="2100"/>
              </a:lnSpc>
              <a:spcAft>
                <a:spcPts val="1600"/>
              </a:spcAft>
              <a:buClr>
                <a:schemeClr val="bg1"/>
              </a:buClr>
              <a:buFontTx/>
              <a:buNone/>
              <a:defRPr sz="1800" b="0">
                <a:solidFill>
                  <a:schemeClr val="bg1"/>
                </a:solidFill>
              </a:defRPr>
            </a:lvl2pPr>
            <a:lvl3pPr marL="0" indent="0">
              <a:lnSpc>
                <a:spcPts val="2100"/>
              </a:lnSpc>
              <a:spcAft>
                <a:spcPts val="1600"/>
              </a:spcAft>
              <a:buClr>
                <a:schemeClr val="bg1"/>
              </a:buClr>
              <a:buFontTx/>
              <a:buNone/>
              <a:defRPr sz="1800" b="0">
                <a:solidFill>
                  <a:schemeClr val="bg1"/>
                </a:solidFill>
              </a:defRPr>
            </a:lvl3pPr>
            <a:lvl4pPr marL="0" indent="0">
              <a:lnSpc>
                <a:spcPts val="2100"/>
              </a:lnSpc>
              <a:spcAft>
                <a:spcPts val="1600"/>
              </a:spcAft>
              <a:buClr>
                <a:schemeClr val="bg1"/>
              </a:buClr>
              <a:buFontTx/>
              <a:buNone/>
              <a:defRPr sz="1800" b="0">
                <a:solidFill>
                  <a:schemeClr val="bg1"/>
                </a:solidFill>
              </a:defRPr>
            </a:lvl4pPr>
            <a:lvl5pPr marL="0" indent="0">
              <a:lnSpc>
                <a:spcPts val="2100"/>
              </a:lnSpc>
              <a:spcAft>
                <a:spcPts val="1600"/>
              </a:spcAft>
              <a:buClr>
                <a:schemeClr val="bg1"/>
              </a:buClr>
              <a:buFontTx/>
              <a:buNone/>
              <a:defRPr sz="1800" b="0">
                <a:solidFill>
                  <a:schemeClr val="bg1"/>
                </a:solidFill>
              </a:defRPr>
            </a:lvl5pPr>
            <a:lvl6pPr marL="0" indent="0">
              <a:lnSpc>
                <a:spcPts val="2100"/>
              </a:lnSpc>
              <a:spcAft>
                <a:spcPts val="1600"/>
              </a:spcAft>
              <a:buClr>
                <a:schemeClr val="bg1"/>
              </a:buClr>
              <a:buFontTx/>
              <a:buNone/>
              <a:defRPr sz="1800" b="0">
                <a:solidFill>
                  <a:schemeClr val="bg1"/>
                </a:solidFill>
              </a:defRPr>
            </a:lvl6pPr>
            <a:lvl7pPr marL="0" indent="0">
              <a:lnSpc>
                <a:spcPts val="2100"/>
              </a:lnSpc>
              <a:spcAft>
                <a:spcPts val="1600"/>
              </a:spcAft>
              <a:buClr>
                <a:schemeClr val="bg1"/>
              </a:buClr>
              <a:buFontTx/>
              <a:buNone/>
              <a:defRPr sz="1800" b="0">
                <a:solidFill>
                  <a:schemeClr val="bg1"/>
                </a:solidFill>
              </a:defRPr>
            </a:lvl7pPr>
            <a:lvl8pPr marL="0" indent="0">
              <a:lnSpc>
                <a:spcPts val="2100"/>
              </a:lnSpc>
              <a:spcAft>
                <a:spcPts val="1600"/>
              </a:spcAft>
              <a:buClr>
                <a:schemeClr val="bg1"/>
              </a:buClr>
              <a:buFontTx/>
              <a:buNone/>
              <a:defRPr sz="1800" b="0">
                <a:solidFill>
                  <a:schemeClr val="bg1"/>
                </a:solidFill>
              </a:defRPr>
            </a:lvl8pPr>
            <a:lvl9pPr marL="0" indent="0">
              <a:lnSpc>
                <a:spcPts val="2100"/>
              </a:lnSpc>
              <a:spcAft>
                <a:spcPts val="1600"/>
              </a:spcAft>
              <a:buClr>
                <a:schemeClr val="bg1"/>
              </a:buClr>
              <a:buFontTx/>
              <a:buNone/>
              <a:defRPr sz="1800" b="0">
                <a:solidFill>
                  <a:schemeClr val="bg1"/>
                </a:solidFill>
              </a:defRPr>
            </a:lvl9pPr>
          </a:lstStyle>
          <a:p>
            <a:pPr lvl="0"/>
            <a:r>
              <a:rPr lang="en-US" dirty="0"/>
              <a:t>#</a:t>
            </a:r>
          </a:p>
          <a:p>
            <a:pPr lvl="0"/>
            <a:r>
              <a:rPr lang="en-US" dirty="0"/>
              <a:t>#</a:t>
            </a:r>
          </a:p>
          <a:p>
            <a:pPr lvl="0"/>
            <a:r>
              <a:rPr lang="en-US" dirty="0"/>
              <a:t>#</a:t>
            </a:r>
          </a:p>
          <a:p>
            <a:pPr lvl="0"/>
            <a:r>
              <a:rPr lang="en-US" dirty="0"/>
              <a:t>#</a:t>
            </a:r>
          </a:p>
        </p:txBody>
      </p:sp>
      <p:pic>
        <p:nvPicPr>
          <p:cNvPr id="13" name="Picture 12">
            <a:extLst>
              <a:ext uri="{FF2B5EF4-FFF2-40B4-BE49-F238E27FC236}">
                <a16:creationId xmlns:a16="http://schemas.microsoft.com/office/drawing/2014/main" id="{3B3F9B7F-101D-4042-9754-4089F14D0D7B}"/>
              </a:ext>
            </a:extLst>
          </p:cNvPr>
          <p:cNvPicPr>
            <a:picLocks noChangeAspect="1"/>
          </p:cNvPicPr>
          <p:nvPr userDrawn="1"/>
        </p:nvPicPr>
        <p:blipFill>
          <a:blip r:embed="rId3"/>
          <a:srcRect/>
          <a:stretch/>
        </p:blipFill>
        <p:spPr>
          <a:xfrm>
            <a:off x="472868" y="6412434"/>
            <a:ext cx="1497466" cy="285488"/>
          </a:xfrm>
          <a:prstGeom prst="rect">
            <a:avLst/>
          </a:prstGeom>
        </p:spPr>
      </p:pic>
    </p:spTree>
    <p:extLst>
      <p:ext uri="{BB962C8B-B14F-4D97-AF65-F5344CB8AC3E}">
        <p14:creationId xmlns:p14="http://schemas.microsoft.com/office/powerpoint/2010/main" val="134449322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ivider_green">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0388F1F-89A3-6047-AB03-4B98F573986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49" y="0"/>
            <a:ext cx="12179300" cy="6856214"/>
          </a:xfrm>
          <a:prstGeom prst="rect">
            <a:avLst/>
          </a:prstGeom>
        </p:spPr>
      </p:pic>
      <p:sp>
        <p:nvSpPr>
          <p:cNvPr id="2" name="Title 1">
            <a:extLst>
              <a:ext uri="{FF2B5EF4-FFF2-40B4-BE49-F238E27FC236}">
                <a16:creationId xmlns:a16="http://schemas.microsoft.com/office/drawing/2014/main" id="{BCFE9681-4657-7A44-8303-6BC8A656563F}"/>
              </a:ext>
            </a:extLst>
          </p:cNvPr>
          <p:cNvSpPr>
            <a:spLocks noGrp="1"/>
          </p:cNvSpPr>
          <p:nvPr>
            <p:ph type="title"/>
          </p:nvPr>
        </p:nvSpPr>
        <p:spPr>
          <a:xfrm>
            <a:off x="462084" y="1565275"/>
            <a:ext cx="7437787" cy="4625975"/>
          </a:xfrm>
        </p:spPr>
        <p:txBody>
          <a:bodyPr lIns="0" tIns="1920240" rIns="457200" bIns="457200" anchor="ctr" anchorCtr="0">
            <a:noAutofit/>
          </a:bodyPr>
          <a:lstStyle>
            <a:lvl1pPr>
              <a:lnSpc>
                <a:spcPts val="4000"/>
              </a:lnSpc>
              <a:defRPr sz="3600" b="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62CAEFEC-CCEF-C446-BDD9-1EE123D918BC}"/>
              </a:ext>
            </a:extLst>
          </p:cNvPr>
          <p:cNvSpPr>
            <a:spLocks noGrp="1"/>
          </p:cNvSpPr>
          <p:nvPr>
            <p:ph type="ftr" sz="quarter" idx="10"/>
          </p:nvPr>
        </p:nvSpPr>
        <p:spPr/>
        <p:txBody>
          <a:bodyPr/>
          <a:lstStyle/>
          <a:p>
            <a:r>
              <a:rPr lang="en-US"/>
              <a:t>Presentation Title Here &gt; Insert &gt; Header &amp; Footer</a:t>
            </a:r>
          </a:p>
        </p:txBody>
      </p:sp>
      <p:sp>
        <p:nvSpPr>
          <p:cNvPr id="6" name="Slide Number Placeholder 5">
            <a:extLst>
              <a:ext uri="{FF2B5EF4-FFF2-40B4-BE49-F238E27FC236}">
                <a16:creationId xmlns:a16="http://schemas.microsoft.com/office/drawing/2014/main" id="{5CD875A0-E175-554A-97C1-BFE158BA51CD}"/>
              </a:ext>
            </a:extLst>
          </p:cNvPr>
          <p:cNvSpPr>
            <a:spLocks noGrp="1"/>
          </p:cNvSpPr>
          <p:nvPr>
            <p:ph type="sldNum" sz="quarter" idx="11"/>
          </p:nvPr>
        </p:nvSpPr>
        <p:spPr/>
        <p:txBody>
          <a:bodyPr/>
          <a:lstStyle/>
          <a:p>
            <a:pPr lvl="8"/>
            <a:fld id="{1E3D5677-3D20-0C46-8497-54D73E689044}" type="slidenum">
              <a:rPr lang="en-US"/>
              <a:pPr lvl="8"/>
              <a:t>‹#›</a:t>
            </a:fld>
            <a:endParaRPr lang="en-US"/>
          </a:p>
        </p:txBody>
      </p:sp>
      <p:pic>
        <p:nvPicPr>
          <p:cNvPr id="7" name="Picture 6">
            <a:extLst>
              <a:ext uri="{FF2B5EF4-FFF2-40B4-BE49-F238E27FC236}">
                <a16:creationId xmlns:a16="http://schemas.microsoft.com/office/drawing/2014/main" id="{80F0D7B2-01C7-D843-BF02-4F657ED99951}"/>
              </a:ext>
            </a:extLst>
          </p:cNvPr>
          <p:cNvPicPr>
            <a:picLocks noChangeAspect="1"/>
          </p:cNvPicPr>
          <p:nvPr userDrawn="1"/>
        </p:nvPicPr>
        <p:blipFill>
          <a:blip r:embed="rId3"/>
          <a:srcRect/>
          <a:stretch/>
        </p:blipFill>
        <p:spPr>
          <a:xfrm>
            <a:off x="472868" y="6412434"/>
            <a:ext cx="1497466" cy="285488"/>
          </a:xfrm>
          <a:prstGeom prst="rect">
            <a:avLst/>
          </a:prstGeom>
        </p:spPr>
      </p:pic>
    </p:spTree>
    <p:extLst>
      <p:ext uri="{BB962C8B-B14F-4D97-AF65-F5344CB8AC3E}">
        <p14:creationId xmlns:p14="http://schemas.microsoft.com/office/powerpoint/2010/main" val="23822716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419282457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ivider_blue">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0388F1F-89A3-6047-AB03-4B98F573986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4466"/>
            <a:ext cx="12179298" cy="6856213"/>
          </a:xfrm>
          <a:prstGeom prst="rect">
            <a:avLst/>
          </a:prstGeom>
        </p:spPr>
      </p:pic>
      <p:sp>
        <p:nvSpPr>
          <p:cNvPr id="2" name="Title 1">
            <a:extLst>
              <a:ext uri="{FF2B5EF4-FFF2-40B4-BE49-F238E27FC236}">
                <a16:creationId xmlns:a16="http://schemas.microsoft.com/office/drawing/2014/main" id="{BCFE9681-4657-7A44-8303-6BC8A656563F}"/>
              </a:ext>
            </a:extLst>
          </p:cNvPr>
          <p:cNvSpPr>
            <a:spLocks noGrp="1"/>
          </p:cNvSpPr>
          <p:nvPr>
            <p:ph type="title"/>
          </p:nvPr>
        </p:nvSpPr>
        <p:spPr>
          <a:xfrm>
            <a:off x="462084" y="1565275"/>
            <a:ext cx="7437787" cy="4625975"/>
          </a:xfrm>
        </p:spPr>
        <p:txBody>
          <a:bodyPr lIns="0" tIns="1920240" rIns="457200" bIns="457200" anchor="ctr" anchorCtr="0">
            <a:noAutofit/>
          </a:bodyPr>
          <a:lstStyle>
            <a:lvl1pPr>
              <a:lnSpc>
                <a:spcPts val="4000"/>
              </a:lnSpc>
              <a:defRPr sz="3600" b="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62CAEFEC-CCEF-C446-BDD9-1EE123D918BC}"/>
              </a:ext>
            </a:extLst>
          </p:cNvPr>
          <p:cNvSpPr>
            <a:spLocks noGrp="1"/>
          </p:cNvSpPr>
          <p:nvPr>
            <p:ph type="ftr" sz="quarter" idx="10"/>
          </p:nvPr>
        </p:nvSpPr>
        <p:spPr/>
        <p:txBody>
          <a:bodyPr/>
          <a:lstStyle/>
          <a:p>
            <a:r>
              <a:rPr lang="en-US"/>
              <a:t>Presentation Title Here &gt; Insert &gt; Header &amp; Footer</a:t>
            </a:r>
          </a:p>
        </p:txBody>
      </p:sp>
      <p:sp>
        <p:nvSpPr>
          <p:cNvPr id="6" name="Slide Number Placeholder 5">
            <a:extLst>
              <a:ext uri="{FF2B5EF4-FFF2-40B4-BE49-F238E27FC236}">
                <a16:creationId xmlns:a16="http://schemas.microsoft.com/office/drawing/2014/main" id="{5CD875A0-E175-554A-97C1-BFE158BA51CD}"/>
              </a:ext>
            </a:extLst>
          </p:cNvPr>
          <p:cNvSpPr>
            <a:spLocks noGrp="1"/>
          </p:cNvSpPr>
          <p:nvPr>
            <p:ph type="sldNum" sz="quarter" idx="11"/>
          </p:nvPr>
        </p:nvSpPr>
        <p:spPr/>
        <p:txBody>
          <a:bodyPr/>
          <a:lstStyle/>
          <a:p>
            <a:pPr lvl="8"/>
            <a:fld id="{1E3D5677-3D20-0C46-8497-54D73E689044}" type="slidenum">
              <a:rPr lang="en-US"/>
              <a:pPr lvl="8"/>
              <a:t>‹#›</a:t>
            </a:fld>
            <a:endParaRPr lang="en-US"/>
          </a:p>
        </p:txBody>
      </p:sp>
      <p:pic>
        <p:nvPicPr>
          <p:cNvPr id="7" name="Picture 6">
            <a:extLst>
              <a:ext uri="{FF2B5EF4-FFF2-40B4-BE49-F238E27FC236}">
                <a16:creationId xmlns:a16="http://schemas.microsoft.com/office/drawing/2014/main" id="{08EB2922-F983-7243-A523-435E555F2DE4}"/>
              </a:ext>
            </a:extLst>
          </p:cNvPr>
          <p:cNvPicPr>
            <a:picLocks noChangeAspect="1"/>
          </p:cNvPicPr>
          <p:nvPr userDrawn="1"/>
        </p:nvPicPr>
        <p:blipFill>
          <a:blip r:embed="rId3"/>
          <a:srcRect/>
          <a:stretch/>
        </p:blipFill>
        <p:spPr>
          <a:xfrm>
            <a:off x="472868" y="6412434"/>
            <a:ext cx="1497466" cy="285488"/>
          </a:xfrm>
          <a:prstGeom prst="rect">
            <a:avLst/>
          </a:prstGeom>
        </p:spPr>
      </p:pic>
    </p:spTree>
    <p:extLst>
      <p:ext uri="{BB962C8B-B14F-4D97-AF65-F5344CB8AC3E}">
        <p14:creationId xmlns:p14="http://schemas.microsoft.com/office/powerpoint/2010/main" val="215149977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tatement_green">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725D62E-358E-F644-9F7A-8E4D8564B5A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
            <a:ext cx="12191999" cy="6856213"/>
          </a:xfrm>
          <a:prstGeom prst="rect">
            <a:avLst/>
          </a:prstGeom>
        </p:spPr>
      </p:pic>
      <p:sp>
        <p:nvSpPr>
          <p:cNvPr id="9" name="Text Placeholder 6">
            <a:extLst>
              <a:ext uri="{FF2B5EF4-FFF2-40B4-BE49-F238E27FC236}">
                <a16:creationId xmlns:a16="http://schemas.microsoft.com/office/drawing/2014/main" id="{489AE93C-FA65-F14F-B25D-B2CD0F91B287}"/>
              </a:ext>
            </a:extLst>
          </p:cNvPr>
          <p:cNvSpPr>
            <a:spLocks noGrp="1"/>
          </p:cNvSpPr>
          <p:nvPr>
            <p:ph type="body" sz="quarter" idx="13"/>
          </p:nvPr>
        </p:nvSpPr>
        <p:spPr>
          <a:xfrm>
            <a:off x="460496" y="460376"/>
            <a:ext cx="11267834" cy="5730875"/>
          </a:xfrm>
          <a:prstGeom prst="rect">
            <a:avLst/>
          </a:prstGeom>
        </p:spPr>
        <p:txBody>
          <a:bodyPr lIns="0" tIns="0" rIns="457200" bIns="640080" anchor="ctr" anchorCtr="0">
            <a:noAutofit/>
          </a:bodyPr>
          <a:lstStyle>
            <a:lvl1pPr marL="0" indent="0">
              <a:lnSpc>
                <a:spcPts val="3600"/>
              </a:lnSpc>
              <a:spcAft>
                <a:spcPts val="800"/>
              </a:spcAft>
              <a:buFontTx/>
              <a:buNone/>
              <a:defRPr sz="2800" b="0">
                <a:solidFill>
                  <a:schemeClr val="bg1"/>
                </a:solidFill>
              </a:defRPr>
            </a:lvl1pPr>
            <a:lvl2pPr marL="0" indent="0">
              <a:lnSpc>
                <a:spcPts val="2100"/>
              </a:lnSpc>
              <a:spcAft>
                <a:spcPts val="0"/>
              </a:spcAft>
              <a:buFontTx/>
              <a:buNone/>
              <a:defRPr sz="1200" b="1">
                <a:solidFill>
                  <a:schemeClr val="bg1"/>
                </a:solidFill>
              </a:defRPr>
            </a:lvl2pPr>
            <a:lvl3pPr marL="0" indent="0">
              <a:lnSpc>
                <a:spcPts val="2100"/>
              </a:lnSpc>
              <a:spcAft>
                <a:spcPts val="0"/>
              </a:spcAft>
              <a:buFontTx/>
              <a:buNone/>
              <a:defRPr sz="1200" b="1">
                <a:solidFill>
                  <a:schemeClr val="bg1"/>
                </a:solidFill>
              </a:defRPr>
            </a:lvl3pPr>
            <a:lvl4pPr marL="0" indent="0">
              <a:lnSpc>
                <a:spcPts val="2100"/>
              </a:lnSpc>
              <a:spcAft>
                <a:spcPts val="0"/>
              </a:spcAft>
              <a:buFontTx/>
              <a:buNone/>
              <a:defRPr sz="1200" b="1">
                <a:solidFill>
                  <a:schemeClr val="bg1"/>
                </a:solidFill>
              </a:defRPr>
            </a:lvl4pPr>
            <a:lvl5pPr marL="0" indent="0">
              <a:lnSpc>
                <a:spcPts val="2100"/>
              </a:lnSpc>
              <a:spcAft>
                <a:spcPts val="0"/>
              </a:spcAft>
              <a:buFontTx/>
              <a:buNone/>
              <a:defRPr sz="1200" b="1">
                <a:solidFill>
                  <a:schemeClr val="bg1"/>
                </a:solidFill>
              </a:defRPr>
            </a:lvl5pPr>
            <a:lvl6pPr marL="0" indent="0">
              <a:lnSpc>
                <a:spcPts val="2100"/>
              </a:lnSpc>
              <a:spcAft>
                <a:spcPts val="0"/>
              </a:spcAft>
              <a:buFontTx/>
              <a:buNone/>
              <a:defRPr sz="1200" b="1">
                <a:solidFill>
                  <a:schemeClr val="bg1"/>
                </a:solidFill>
              </a:defRPr>
            </a:lvl6pPr>
            <a:lvl7pPr marL="0" indent="0">
              <a:lnSpc>
                <a:spcPts val="2100"/>
              </a:lnSpc>
              <a:spcAft>
                <a:spcPts val="0"/>
              </a:spcAft>
              <a:buFontTx/>
              <a:buNone/>
              <a:defRPr sz="1200" b="1">
                <a:solidFill>
                  <a:schemeClr val="bg1"/>
                </a:solidFill>
              </a:defRPr>
            </a:lvl7pPr>
            <a:lvl8pPr marL="0" indent="0">
              <a:lnSpc>
                <a:spcPts val="2100"/>
              </a:lnSpc>
              <a:spcAft>
                <a:spcPts val="0"/>
              </a:spcAft>
              <a:buFontTx/>
              <a:buNone/>
              <a:defRPr sz="1200" b="1">
                <a:solidFill>
                  <a:schemeClr val="bg1"/>
                </a:solidFill>
              </a:defRPr>
            </a:lvl8pPr>
            <a:lvl9pPr marL="0" indent="0">
              <a:lnSpc>
                <a:spcPts val="2100"/>
              </a:lnSpc>
              <a:spcAft>
                <a:spcPts val="0"/>
              </a:spcAft>
              <a:buFontTx/>
              <a:buNone/>
              <a:defRPr sz="1200" b="1">
                <a:solidFill>
                  <a:schemeClr val="bg1"/>
                </a:solidFill>
              </a:defRPr>
            </a:lvl9pPr>
          </a:lstStyle>
          <a:p>
            <a:pPr lvl="0"/>
            <a:r>
              <a:rPr lang="en-US"/>
              <a:t>Click to edit Master text styles</a:t>
            </a:r>
          </a:p>
          <a:p>
            <a:pPr lvl="1"/>
            <a:r>
              <a:rPr lang="en-US"/>
              <a:t>Second level</a:t>
            </a:r>
          </a:p>
        </p:txBody>
      </p:sp>
      <p:sp>
        <p:nvSpPr>
          <p:cNvPr id="16" name="Footer Placeholder 15">
            <a:extLst>
              <a:ext uri="{FF2B5EF4-FFF2-40B4-BE49-F238E27FC236}">
                <a16:creationId xmlns:a16="http://schemas.microsoft.com/office/drawing/2014/main" id="{6BD32850-7970-AB4E-92E1-DD43E6EAB69D}"/>
              </a:ext>
            </a:extLst>
          </p:cNvPr>
          <p:cNvSpPr>
            <a:spLocks noGrp="1"/>
          </p:cNvSpPr>
          <p:nvPr>
            <p:ph type="ftr" sz="quarter" idx="15"/>
          </p:nvPr>
        </p:nvSpPr>
        <p:spPr>
          <a:xfrm>
            <a:off x="4298483" y="6432562"/>
            <a:ext cx="6937594" cy="234939"/>
          </a:xfrm>
        </p:spPr>
        <p:txBody>
          <a:bodyPr/>
          <a:lstStyle/>
          <a:p>
            <a:pPr lvl="8"/>
            <a:r>
              <a:rPr lang="en-US"/>
              <a:t>Presentation Title Here &gt; Insert &gt; Header &amp; Footer</a:t>
            </a:r>
          </a:p>
        </p:txBody>
      </p:sp>
      <p:sp>
        <p:nvSpPr>
          <p:cNvPr id="17" name="Slide Number Placeholder 16">
            <a:extLst>
              <a:ext uri="{FF2B5EF4-FFF2-40B4-BE49-F238E27FC236}">
                <a16:creationId xmlns:a16="http://schemas.microsoft.com/office/drawing/2014/main" id="{64793BD6-EC93-CA47-B8B3-1B1860223FD7}"/>
              </a:ext>
            </a:extLst>
          </p:cNvPr>
          <p:cNvSpPr>
            <a:spLocks noGrp="1"/>
          </p:cNvSpPr>
          <p:nvPr>
            <p:ph type="sldNum" sz="quarter" idx="16"/>
          </p:nvPr>
        </p:nvSpPr>
        <p:spPr/>
        <p:txBody>
          <a:bodyPr/>
          <a:lstStyle/>
          <a:p>
            <a:fld id="{1E3D5677-3D20-0C46-8497-54D73E689044}" type="slidenum">
              <a:rPr lang="en-US"/>
              <a:pPr/>
              <a:t>‹#›</a:t>
            </a:fld>
            <a:endParaRPr lang="en-US"/>
          </a:p>
        </p:txBody>
      </p:sp>
      <p:pic>
        <p:nvPicPr>
          <p:cNvPr id="7" name="Picture 6">
            <a:extLst>
              <a:ext uri="{FF2B5EF4-FFF2-40B4-BE49-F238E27FC236}">
                <a16:creationId xmlns:a16="http://schemas.microsoft.com/office/drawing/2014/main" id="{1113D6E2-55E1-354D-9B33-5A200D7130E8}"/>
              </a:ext>
            </a:extLst>
          </p:cNvPr>
          <p:cNvPicPr>
            <a:picLocks noChangeAspect="1"/>
          </p:cNvPicPr>
          <p:nvPr userDrawn="1"/>
        </p:nvPicPr>
        <p:blipFill>
          <a:blip r:embed="rId3"/>
          <a:srcRect/>
          <a:stretch/>
        </p:blipFill>
        <p:spPr>
          <a:xfrm>
            <a:off x="472868" y="6412434"/>
            <a:ext cx="1497466" cy="285488"/>
          </a:xfrm>
          <a:prstGeom prst="rect">
            <a:avLst/>
          </a:prstGeom>
        </p:spPr>
      </p:pic>
    </p:spTree>
    <p:extLst>
      <p:ext uri="{BB962C8B-B14F-4D97-AF65-F5344CB8AC3E}">
        <p14:creationId xmlns:p14="http://schemas.microsoft.com/office/powerpoint/2010/main" val="149716186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tatement_blue">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AF911EC-0F07-C443-9215-7922DA1927F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
            <a:ext cx="12191999" cy="6856213"/>
          </a:xfrm>
          <a:prstGeom prst="rect">
            <a:avLst/>
          </a:prstGeom>
        </p:spPr>
      </p:pic>
      <p:sp>
        <p:nvSpPr>
          <p:cNvPr id="9" name="Text Placeholder 6">
            <a:extLst>
              <a:ext uri="{FF2B5EF4-FFF2-40B4-BE49-F238E27FC236}">
                <a16:creationId xmlns:a16="http://schemas.microsoft.com/office/drawing/2014/main" id="{489AE93C-FA65-F14F-B25D-B2CD0F91B287}"/>
              </a:ext>
            </a:extLst>
          </p:cNvPr>
          <p:cNvSpPr>
            <a:spLocks noGrp="1"/>
          </p:cNvSpPr>
          <p:nvPr>
            <p:ph type="body" sz="quarter" idx="13"/>
          </p:nvPr>
        </p:nvSpPr>
        <p:spPr>
          <a:xfrm>
            <a:off x="460496" y="460376"/>
            <a:ext cx="11267834" cy="5730875"/>
          </a:xfrm>
          <a:prstGeom prst="rect">
            <a:avLst/>
          </a:prstGeom>
        </p:spPr>
        <p:txBody>
          <a:bodyPr lIns="0" tIns="0" rIns="457200" bIns="640080" anchor="ctr" anchorCtr="0">
            <a:noAutofit/>
          </a:bodyPr>
          <a:lstStyle>
            <a:lvl1pPr marL="0" indent="0">
              <a:lnSpc>
                <a:spcPts val="3600"/>
              </a:lnSpc>
              <a:spcAft>
                <a:spcPts val="800"/>
              </a:spcAft>
              <a:buFontTx/>
              <a:buNone/>
              <a:defRPr sz="2800" b="0">
                <a:solidFill>
                  <a:schemeClr val="bg1"/>
                </a:solidFill>
              </a:defRPr>
            </a:lvl1pPr>
            <a:lvl2pPr marL="0" indent="0">
              <a:lnSpc>
                <a:spcPts val="2100"/>
              </a:lnSpc>
              <a:spcAft>
                <a:spcPts val="0"/>
              </a:spcAft>
              <a:buFontTx/>
              <a:buNone/>
              <a:defRPr sz="1200" b="1">
                <a:solidFill>
                  <a:schemeClr val="bg1"/>
                </a:solidFill>
              </a:defRPr>
            </a:lvl2pPr>
            <a:lvl3pPr marL="0" indent="0">
              <a:lnSpc>
                <a:spcPts val="2100"/>
              </a:lnSpc>
              <a:spcAft>
                <a:spcPts val="0"/>
              </a:spcAft>
              <a:buFontTx/>
              <a:buNone/>
              <a:defRPr sz="1200" b="1">
                <a:solidFill>
                  <a:schemeClr val="bg1"/>
                </a:solidFill>
              </a:defRPr>
            </a:lvl3pPr>
            <a:lvl4pPr marL="0" indent="0">
              <a:lnSpc>
                <a:spcPts val="2100"/>
              </a:lnSpc>
              <a:spcAft>
                <a:spcPts val="0"/>
              </a:spcAft>
              <a:buFontTx/>
              <a:buNone/>
              <a:defRPr sz="1200" b="1">
                <a:solidFill>
                  <a:schemeClr val="bg1"/>
                </a:solidFill>
              </a:defRPr>
            </a:lvl4pPr>
            <a:lvl5pPr marL="0" indent="0">
              <a:lnSpc>
                <a:spcPts val="2100"/>
              </a:lnSpc>
              <a:spcAft>
                <a:spcPts val="0"/>
              </a:spcAft>
              <a:buFontTx/>
              <a:buNone/>
              <a:defRPr sz="1200" b="1">
                <a:solidFill>
                  <a:schemeClr val="bg1"/>
                </a:solidFill>
              </a:defRPr>
            </a:lvl5pPr>
            <a:lvl6pPr marL="0" indent="0">
              <a:lnSpc>
                <a:spcPts val="2100"/>
              </a:lnSpc>
              <a:spcAft>
                <a:spcPts val="0"/>
              </a:spcAft>
              <a:buFontTx/>
              <a:buNone/>
              <a:defRPr sz="1200" b="1">
                <a:solidFill>
                  <a:schemeClr val="bg1"/>
                </a:solidFill>
              </a:defRPr>
            </a:lvl6pPr>
            <a:lvl7pPr marL="0" indent="0">
              <a:lnSpc>
                <a:spcPts val="2100"/>
              </a:lnSpc>
              <a:spcAft>
                <a:spcPts val="0"/>
              </a:spcAft>
              <a:buFontTx/>
              <a:buNone/>
              <a:defRPr sz="1200" b="1">
                <a:solidFill>
                  <a:schemeClr val="bg1"/>
                </a:solidFill>
              </a:defRPr>
            </a:lvl7pPr>
            <a:lvl8pPr marL="0" indent="0">
              <a:lnSpc>
                <a:spcPts val="2100"/>
              </a:lnSpc>
              <a:spcAft>
                <a:spcPts val="0"/>
              </a:spcAft>
              <a:buFontTx/>
              <a:buNone/>
              <a:defRPr sz="1200" b="1">
                <a:solidFill>
                  <a:schemeClr val="bg1"/>
                </a:solidFill>
              </a:defRPr>
            </a:lvl8pPr>
            <a:lvl9pPr marL="0" indent="0">
              <a:lnSpc>
                <a:spcPts val="2100"/>
              </a:lnSpc>
              <a:spcAft>
                <a:spcPts val="0"/>
              </a:spcAft>
              <a:buFontTx/>
              <a:buNone/>
              <a:defRPr sz="1200" b="1">
                <a:solidFill>
                  <a:schemeClr val="bg1"/>
                </a:solidFill>
              </a:defRPr>
            </a:lvl9pPr>
          </a:lstStyle>
          <a:p>
            <a:pPr lvl="0"/>
            <a:r>
              <a:rPr lang="en-US"/>
              <a:t>Click to edit Master text styles</a:t>
            </a:r>
          </a:p>
          <a:p>
            <a:pPr lvl="1"/>
            <a:r>
              <a:rPr lang="en-US"/>
              <a:t>Second level</a:t>
            </a:r>
          </a:p>
        </p:txBody>
      </p:sp>
      <p:sp>
        <p:nvSpPr>
          <p:cNvPr id="16" name="Footer Placeholder 15">
            <a:extLst>
              <a:ext uri="{FF2B5EF4-FFF2-40B4-BE49-F238E27FC236}">
                <a16:creationId xmlns:a16="http://schemas.microsoft.com/office/drawing/2014/main" id="{6BD32850-7970-AB4E-92E1-DD43E6EAB69D}"/>
              </a:ext>
            </a:extLst>
          </p:cNvPr>
          <p:cNvSpPr>
            <a:spLocks noGrp="1"/>
          </p:cNvSpPr>
          <p:nvPr>
            <p:ph type="ftr" sz="quarter" idx="15"/>
          </p:nvPr>
        </p:nvSpPr>
        <p:spPr>
          <a:xfrm>
            <a:off x="4298483" y="6432562"/>
            <a:ext cx="6937594" cy="234939"/>
          </a:xfrm>
        </p:spPr>
        <p:txBody>
          <a:bodyPr/>
          <a:lstStyle/>
          <a:p>
            <a:pPr lvl="8"/>
            <a:r>
              <a:rPr lang="en-US"/>
              <a:t>Presentation Title Here &gt; Insert &gt; Header &amp; Footer</a:t>
            </a:r>
          </a:p>
        </p:txBody>
      </p:sp>
      <p:sp>
        <p:nvSpPr>
          <p:cNvPr id="17" name="Slide Number Placeholder 16">
            <a:extLst>
              <a:ext uri="{FF2B5EF4-FFF2-40B4-BE49-F238E27FC236}">
                <a16:creationId xmlns:a16="http://schemas.microsoft.com/office/drawing/2014/main" id="{64793BD6-EC93-CA47-B8B3-1B1860223FD7}"/>
              </a:ext>
            </a:extLst>
          </p:cNvPr>
          <p:cNvSpPr>
            <a:spLocks noGrp="1"/>
          </p:cNvSpPr>
          <p:nvPr>
            <p:ph type="sldNum" sz="quarter" idx="16"/>
          </p:nvPr>
        </p:nvSpPr>
        <p:spPr/>
        <p:txBody>
          <a:bodyPr/>
          <a:lstStyle/>
          <a:p>
            <a:fld id="{1E3D5677-3D20-0C46-8497-54D73E689044}" type="slidenum">
              <a:rPr lang="en-US"/>
              <a:pPr/>
              <a:t>‹#›</a:t>
            </a:fld>
            <a:endParaRPr lang="en-US"/>
          </a:p>
        </p:txBody>
      </p:sp>
      <p:pic>
        <p:nvPicPr>
          <p:cNvPr id="8" name="Picture 7">
            <a:extLst>
              <a:ext uri="{FF2B5EF4-FFF2-40B4-BE49-F238E27FC236}">
                <a16:creationId xmlns:a16="http://schemas.microsoft.com/office/drawing/2014/main" id="{4004B519-F17C-FE49-9B1A-C9EEE429DE9B}"/>
              </a:ext>
            </a:extLst>
          </p:cNvPr>
          <p:cNvPicPr>
            <a:picLocks noChangeAspect="1"/>
          </p:cNvPicPr>
          <p:nvPr userDrawn="1"/>
        </p:nvPicPr>
        <p:blipFill>
          <a:blip r:embed="rId3"/>
          <a:srcRect/>
          <a:stretch/>
        </p:blipFill>
        <p:spPr>
          <a:xfrm>
            <a:off x="472868" y="6412434"/>
            <a:ext cx="1497466" cy="285488"/>
          </a:xfrm>
          <a:prstGeom prst="rect">
            <a:avLst/>
          </a:prstGeom>
        </p:spPr>
      </p:pic>
    </p:spTree>
    <p:extLst>
      <p:ext uri="{BB962C8B-B14F-4D97-AF65-F5344CB8AC3E}">
        <p14:creationId xmlns:p14="http://schemas.microsoft.com/office/powerpoint/2010/main" val="167244518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_1_column">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462083" y="1565274"/>
            <a:ext cx="11266246" cy="4670426"/>
          </a:xfrm>
          <a:prstGeom prst="rect">
            <a:avLst/>
          </a:prstGeom>
        </p:spPr>
        <p:txBody>
          <a:bodyPr tIns="0" rIns="2560320">
            <a:noAutofit/>
          </a:bodyPr>
          <a:lstStyle>
            <a:lvl1pPr>
              <a:spcAft>
                <a:spcPts val="900"/>
              </a:spcAft>
              <a:defRPr/>
            </a:lvl1pPr>
            <a:lvl2pPr>
              <a:spcAft>
                <a:spcPts val="900"/>
              </a:spcAft>
              <a:defRPr/>
            </a:lvl2pPr>
            <a:lvl3pPr>
              <a:spcAft>
                <a:spcPts val="900"/>
              </a:spcAft>
              <a:defRPr/>
            </a:lvl3pPr>
            <a:lvl4pPr>
              <a:spcAft>
                <a:spcPts val="900"/>
              </a:spcAft>
              <a:defRPr/>
            </a:lvl4pPr>
            <a:lvl5pPr>
              <a:spcAft>
                <a:spcPts val="900"/>
              </a:spcAft>
              <a:defRPr/>
            </a:lvl5pPr>
            <a:lvl6pPr>
              <a:spcAft>
                <a:spcPts val="900"/>
              </a:spcAft>
              <a:defRPr/>
            </a:lvl6pPr>
            <a:lvl7pPr>
              <a:spcAft>
                <a:spcPts val="900"/>
              </a:spcAft>
              <a:defRPr/>
            </a:lvl7pPr>
            <a:lvl8pPr>
              <a:spcAft>
                <a:spcPts val="900"/>
              </a:spcAft>
              <a:defRPr/>
            </a:lvl8pPr>
            <a:lvl9pPr>
              <a:spcAft>
                <a:spcPts val="9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9">
            <a:extLst>
              <a:ext uri="{FF2B5EF4-FFF2-40B4-BE49-F238E27FC236}">
                <a16:creationId xmlns:a16="http://schemas.microsoft.com/office/drawing/2014/main" id="{CC47485A-0FFB-6E43-9C4B-661F7544E552}"/>
              </a:ext>
            </a:extLst>
          </p:cNvPr>
          <p:cNvSpPr>
            <a:spLocks noGrp="1"/>
          </p:cNvSpPr>
          <p:nvPr>
            <p:ph type="ftr" sz="quarter" idx="15"/>
          </p:nvPr>
        </p:nvSpPr>
        <p:spPr/>
        <p:txBody>
          <a:bodyPr/>
          <a:lstStyle/>
          <a:p>
            <a:pPr lvl="8"/>
            <a:r>
              <a:rPr lang="en-US"/>
              <a:t>Presentation Title Here &gt; Insert &gt; Header &amp; Footer</a:t>
            </a:r>
          </a:p>
        </p:txBody>
      </p:sp>
      <p:sp>
        <p:nvSpPr>
          <p:cNvPr id="11" name="Slide Number Placeholder 10">
            <a:extLst>
              <a:ext uri="{FF2B5EF4-FFF2-40B4-BE49-F238E27FC236}">
                <a16:creationId xmlns:a16="http://schemas.microsoft.com/office/drawing/2014/main" id="{CA080C6C-DD3D-FE49-ACFE-18F1ACCE577B}"/>
              </a:ext>
            </a:extLst>
          </p:cNvPr>
          <p:cNvSpPr>
            <a:spLocks noGrp="1"/>
          </p:cNvSpPr>
          <p:nvPr>
            <p:ph type="sldNum" sz="quarter" idx="16"/>
          </p:nvPr>
        </p:nvSpPr>
        <p:spPr/>
        <p:txBody>
          <a:bodyPr/>
          <a:lstStyle/>
          <a:p>
            <a:fld id="{1E3D5677-3D20-0C46-8497-54D73E689044}" type="slidenum">
              <a:rPr lang="en-US"/>
              <a:pPr/>
              <a:t>‹#›</a:t>
            </a:fld>
            <a:endParaRPr lang="en-US"/>
          </a:p>
        </p:txBody>
      </p:sp>
      <p:sp>
        <p:nvSpPr>
          <p:cNvPr id="3" name="Title 2">
            <a:extLst>
              <a:ext uri="{FF2B5EF4-FFF2-40B4-BE49-F238E27FC236}">
                <a16:creationId xmlns:a16="http://schemas.microsoft.com/office/drawing/2014/main" id="{A14A1257-D244-A74E-A109-73B6780C82AA}"/>
              </a:ext>
            </a:extLst>
          </p:cNvPr>
          <p:cNvSpPr>
            <a:spLocks noGrp="1"/>
          </p:cNvSpPr>
          <p:nvPr>
            <p:ph type="title"/>
          </p:nvPr>
        </p:nvSpPr>
        <p:spPr/>
        <p:txBody>
          <a:bodyPr/>
          <a:lstStyle/>
          <a:p>
            <a:r>
              <a:rPr lang="en-US"/>
              <a:t>Click to edit Master title style</a:t>
            </a:r>
          </a:p>
        </p:txBody>
      </p:sp>
      <p:pic>
        <p:nvPicPr>
          <p:cNvPr id="9" name="Picture 8">
            <a:extLst>
              <a:ext uri="{FF2B5EF4-FFF2-40B4-BE49-F238E27FC236}">
                <a16:creationId xmlns:a16="http://schemas.microsoft.com/office/drawing/2014/main" id="{793053BA-ED70-EB48-98AE-BC5E471EA085}"/>
              </a:ext>
            </a:extLst>
          </p:cNvPr>
          <p:cNvPicPr>
            <a:picLocks noChangeAspect="1"/>
          </p:cNvPicPr>
          <p:nvPr userDrawn="1"/>
        </p:nvPicPr>
        <p:blipFill>
          <a:blip r:embed="rId2"/>
          <a:srcRect/>
          <a:stretch/>
        </p:blipFill>
        <p:spPr>
          <a:xfrm>
            <a:off x="472868" y="6412434"/>
            <a:ext cx="1497466" cy="285488"/>
          </a:xfrm>
          <a:prstGeom prst="rect">
            <a:avLst/>
          </a:prstGeom>
        </p:spPr>
      </p:pic>
      <p:sp>
        <p:nvSpPr>
          <p:cNvPr id="12" name="Text Placeholder 6">
            <a:extLst>
              <a:ext uri="{FF2B5EF4-FFF2-40B4-BE49-F238E27FC236}">
                <a16:creationId xmlns:a16="http://schemas.microsoft.com/office/drawing/2014/main" id="{F47C43D2-9302-4340-936F-671BAD9988C3}"/>
              </a:ext>
            </a:extLst>
          </p:cNvPr>
          <p:cNvSpPr>
            <a:spLocks noGrp="1"/>
          </p:cNvSpPr>
          <p:nvPr>
            <p:ph type="body" sz="quarter" idx="17" hasCustomPrompt="1"/>
          </p:nvPr>
        </p:nvSpPr>
        <p:spPr>
          <a:xfrm>
            <a:off x="460495" y="6026150"/>
            <a:ext cx="11266246" cy="209550"/>
          </a:xfrm>
          <a:prstGeom prst="rect">
            <a:avLst/>
          </a:prstGeom>
        </p:spPr>
        <p:txBody>
          <a:bodyPr tIns="0" rIns="2560320">
            <a:noAutofit/>
          </a:bodyPr>
          <a:lstStyle>
            <a:lvl1pPr>
              <a:spcAft>
                <a:spcPts val="900"/>
              </a:spcAft>
              <a:defRPr sz="1000">
                <a:solidFill>
                  <a:schemeClr val="tx2"/>
                </a:solidFill>
              </a:defRPr>
            </a:lvl1pPr>
            <a:lvl2pPr>
              <a:spcAft>
                <a:spcPts val="900"/>
              </a:spcAft>
              <a:defRPr sz="1000" b="0">
                <a:solidFill>
                  <a:schemeClr val="tx2"/>
                </a:solidFill>
              </a:defRPr>
            </a:lvl2pPr>
            <a:lvl3pPr marL="0" indent="0">
              <a:spcAft>
                <a:spcPts val="900"/>
              </a:spcAft>
              <a:buFontTx/>
              <a:buNone/>
              <a:defRPr sz="1000">
                <a:solidFill>
                  <a:schemeClr val="tx2"/>
                </a:solidFill>
              </a:defRPr>
            </a:lvl3pPr>
            <a:lvl4pPr marL="0" indent="0">
              <a:spcAft>
                <a:spcPts val="900"/>
              </a:spcAft>
              <a:buFontTx/>
              <a:buNone/>
              <a:defRPr sz="1000">
                <a:solidFill>
                  <a:schemeClr val="tx2"/>
                </a:solidFill>
              </a:defRPr>
            </a:lvl4pPr>
            <a:lvl5pPr marL="22" indent="0">
              <a:spcAft>
                <a:spcPts val="900"/>
              </a:spcAft>
              <a:buFontTx/>
              <a:buNone/>
              <a:defRPr sz="1000">
                <a:solidFill>
                  <a:schemeClr val="tx2"/>
                </a:solidFill>
              </a:defRPr>
            </a:lvl5pPr>
            <a:lvl6pPr marL="0" indent="0">
              <a:spcAft>
                <a:spcPts val="900"/>
              </a:spcAft>
              <a:buFontTx/>
              <a:buNone/>
              <a:defRPr sz="1000">
                <a:solidFill>
                  <a:schemeClr val="tx2"/>
                </a:solidFill>
              </a:defRPr>
            </a:lvl6pPr>
            <a:lvl7pPr marL="0" indent="0">
              <a:spcAft>
                <a:spcPts val="900"/>
              </a:spcAft>
              <a:buFontTx/>
              <a:buNone/>
              <a:defRPr sz="1000">
                <a:solidFill>
                  <a:schemeClr val="tx2"/>
                </a:solidFill>
              </a:defRPr>
            </a:lvl7pPr>
            <a:lvl8pPr marL="0" indent="0">
              <a:spcAft>
                <a:spcPts val="900"/>
              </a:spcAft>
              <a:buFontTx/>
              <a:buNone/>
              <a:defRPr sz="1000">
                <a:solidFill>
                  <a:schemeClr val="tx2"/>
                </a:solidFill>
              </a:defRPr>
            </a:lvl8pPr>
            <a:lvl9pPr marL="0" indent="0">
              <a:spcAft>
                <a:spcPts val="900"/>
              </a:spcAft>
              <a:buFontTx/>
              <a:buNone/>
              <a:defRPr sz="100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193717681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_1/3_image_R">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460495" y="1565274"/>
            <a:ext cx="7439375" cy="4460876"/>
          </a:xfrm>
          <a:prstGeom prst="rect">
            <a:avLst/>
          </a:prstGeom>
        </p:spPr>
        <p:txBody>
          <a:bodyPr t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62BEC4C-31C0-5C45-8EBF-3D715F38A17B}"/>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CC83CF7C-AEED-9442-BF77-97C8CDF2A7B3}"/>
              </a:ext>
            </a:extLst>
          </p:cNvPr>
          <p:cNvSpPr>
            <a:spLocks noGrp="1"/>
          </p:cNvSpPr>
          <p:nvPr>
            <p:ph type="ftr" sz="quarter" idx="19"/>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748D69AC-1AD2-4B4F-889E-14CA97CA3163}"/>
              </a:ext>
            </a:extLst>
          </p:cNvPr>
          <p:cNvSpPr>
            <a:spLocks noGrp="1"/>
          </p:cNvSpPr>
          <p:nvPr>
            <p:ph type="sldNum" sz="quarter" idx="20"/>
          </p:nvPr>
        </p:nvSpPr>
        <p:spPr/>
        <p:txBody>
          <a:bodyPr/>
          <a:lstStyle/>
          <a:p>
            <a:pPr lvl="8"/>
            <a:fld id="{1E3D5677-3D20-0C46-8497-54D73E689044}" type="slidenum">
              <a:rPr lang="en-US"/>
              <a:pPr lvl="8"/>
              <a:t>‹#›</a:t>
            </a:fld>
            <a:endParaRPr lang="en-US"/>
          </a:p>
        </p:txBody>
      </p:sp>
      <p:sp>
        <p:nvSpPr>
          <p:cNvPr id="6" name="Picture Placeholder 5">
            <a:extLst>
              <a:ext uri="{FF2B5EF4-FFF2-40B4-BE49-F238E27FC236}">
                <a16:creationId xmlns:a16="http://schemas.microsoft.com/office/drawing/2014/main" id="{7617A45A-2B90-3C40-A814-D8341AF927C1}"/>
              </a:ext>
            </a:extLst>
          </p:cNvPr>
          <p:cNvSpPr>
            <a:spLocks noGrp="1"/>
          </p:cNvSpPr>
          <p:nvPr>
            <p:ph type="pic" sz="quarter" idx="21"/>
          </p:nvPr>
        </p:nvSpPr>
        <p:spPr>
          <a:xfrm>
            <a:off x="8125354" y="1565276"/>
            <a:ext cx="3601388" cy="4670425"/>
          </a:xfrm>
          <a:solidFill>
            <a:schemeClr val="bg2"/>
          </a:solidFill>
        </p:spPr>
        <p:txBody>
          <a:bodyPr tIns="1737360"/>
          <a:lstStyle>
            <a:lvl1pPr algn="ctr">
              <a:defRPr/>
            </a:lvl1pPr>
          </a:lstStyle>
          <a:p>
            <a:r>
              <a:rPr lang="en-US"/>
              <a:t>Click icon to add picture</a:t>
            </a:r>
          </a:p>
        </p:txBody>
      </p:sp>
      <p:pic>
        <p:nvPicPr>
          <p:cNvPr id="8" name="Picture 7">
            <a:extLst>
              <a:ext uri="{FF2B5EF4-FFF2-40B4-BE49-F238E27FC236}">
                <a16:creationId xmlns:a16="http://schemas.microsoft.com/office/drawing/2014/main" id="{FA85E63D-A9C5-214C-9EE8-8EF5B0657C54}"/>
              </a:ext>
            </a:extLst>
          </p:cNvPr>
          <p:cNvPicPr>
            <a:picLocks noChangeAspect="1"/>
          </p:cNvPicPr>
          <p:nvPr userDrawn="1"/>
        </p:nvPicPr>
        <p:blipFill>
          <a:blip r:embed="rId2"/>
          <a:srcRect/>
          <a:stretch/>
        </p:blipFill>
        <p:spPr>
          <a:xfrm>
            <a:off x="472868" y="6412434"/>
            <a:ext cx="1497466" cy="285488"/>
          </a:xfrm>
          <a:prstGeom prst="rect">
            <a:avLst/>
          </a:prstGeom>
        </p:spPr>
      </p:pic>
      <p:sp>
        <p:nvSpPr>
          <p:cNvPr id="9" name="Text Placeholder 6">
            <a:extLst>
              <a:ext uri="{FF2B5EF4-FFF2-40B4-BE49-F238E27FC236}">
                <a16:creationId xmlns:a16="http://schemas.microsoft.com/office/drawing/2014/main" id="{E2C92AF3-CE56-204D-ADAA-C210A8935A17}"/>
              </a:ext>
            </a:extLst>
          </p:cNvPr>
          <p:cNvSpPr>
            <a:spLocks noGrp="1"/>
          </p:cNvSpPr>
          <p:nvPr>
            <p:ph type="body" sz="quarter" idx="17" hasCustomPrompt="1"/>
          </p:nvPr>
        </p:nvSpPr>
        <p:spPr>
          <a:xfrm>
            <a:off x="460495" y="6026150"/>
            <a:ext cx="7439375" cy="209550"/>
          </a:xfrm>
          <a:prstGeom prst="rect">
            <a:avLst/>
          </a:prstGeom>
        </p:spPr>
        <p:txBody>
          <a:bodyPr tIns="0" rIns="2560320">
            <a:noAutofit/>
          </a:bodyPr>
          <a:lstStyle>
            <a:lvl1pPr>
              <a:spcAft>
                <a:spcPts val="900"/>
              </a:spcAft>
              <a:defRPr sz="1000">
                <a:solidFill>
                  <a:schemeClr val="tx2"/>
                </a:solidFill>
              </a:defRPr>
            </a:lvl1pPr>
            <a:lvl2pPr>
              <a:spcAft>
                <a:spcPts val="900"/>
              </a:spcAft>
              <a:defRPr sz="1000" b="0">
                <a:solidFill>
                  <a:schemeClr val="tx2"/>
                </a:solidFill>
              </a:defRPr>
            </a:lvl2pPr>
            <a:lvl3pPr marL="0" indent="0">
              <a:spcAft>
                <a:spcPts val="900"/>
              </a:spcAft>
              <a:buFontTx/>
              <a:buNone/>
              <a:defRPr sz="1000">
                <a:solidFill>
                  <a:schemeClr val="tx2"/>
                </a:solidFill>
              </a:defRPr>
            </a:lvl3pPr>
            <a:lvl4pPr marL="0" indent="0">
              <a:spcAft>
                <a:spcPts val="900"/>
              </a:spcAft>
              <a:buFontTx/>
              <a:buNone/>
              <a:defRPr sz="1000">
                <a:solidFill>
                  <a:schemeClr val="tx2"/>
                </a:solidFill>
              </a:defRPr>
            </a:lvl4pPr>
            <a:lvl5pPr marL="22" indent="0">
              <a:spcAft>
                <a:spcPts val="900"/>
              </a:spcAft>
              <a:buFontTx/>
              <a:buNone/>
              <a:defRPr sz="1000">
                <a:solidFill>
                  <a:schemeClr val="tx2"/>
                </a:solidFill>
              </a:defRPr>
            </a:lvl5pPr>
            <a:lvl6pPr marL="0" indent="0">
              <a:spcAft>
                <a:spcPts val="900"/>
              </a:spcAft>
              <a:buFontTx/>
              <a:buNone/>
              <a:defRPr sz="1000">
                <a:solidFill>
                  <a:schemeClr val="tx2"/>
                </a:solidFill>
              </a:defRPr>
            </a:lvl6pPr>
            <a:lvl7pPr marL="0" indent="0">
              <a:spcAft>
                <a:spcPts val="900"/>
              </a:spcAft>
              <a:buFontTx/>
              <a:buNone/>
              <a:defRPr sz="1000">
                <a:solidFill>
                  <a:schemeClr val="tx2"/>
                </a:solidFill>
              </a:defRPr>
            </a:lvl7pPr>
            <a:lvl8pPr marL="0" indent="0">
              <a:spcAft>
                <a:spcPts val="900"/>
              </a:spcAft>
              <a:buFontTx/>
              <a:buNone/>
              <a:defRPr sz="1000">
                <a:solidFill>
                  <a:schemeClr val="tx2"/>
                </a:solidFill>
              </a:defRPr>
            </a:lvl8pPr>
            <a:lvl9pPr marL="0" indent="0">
              <a:spcAft>
                <a:spcPts val="900"/>
              </a:spcAft>
              <a:buFontTx/>
              <a:buNone/>
              <a:defRPr sz="100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4555316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_1/3_chart">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460496" y="1565274"/>
            <a:ext cx="7439374" cy="4460876"/>
          </a:xfrm>
          <a:prstGeom prst="rect">
            <a:avLst/>
          </a:prstGeom>
        </p:spPr>
        <p:txBody>
          <a:bodyPr t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hart Placeholder 7">
            <a:extLst>
              <a:ext uri="{FF2B5EF4-FFF2-40B4-BE49-F238E27FC236}">
                <a16:creationId xmlns:a16="http://schemas.microsoft.com/office/drawing/2014/main" id="{64EEA21B-C8A4-CC4F-BBD2-4F30B712F0E4}"/>
              </a:ext>
            </a:extLst>
          </p:cNvPr>
          <p:cNvSpPr>
            <a:spLocks noGrp="1"/>
          </p:cNvSpPr>
          <p:nvPr>
            <p:ph type="chart" sz="quarter" idx="14"/>
          </p:nvPr>
        </p:nvSpPr>
        <p:spPr>
          <a:xfrm>
            <a:off x="8125354" y="1565276"/>
            <a:ext cx="3601388" cy="4670425"/>
          </a:xfrm>
          <a:noFill/>
        </p:spPr>
        <p:txBody>
          <a:bodyPr tIns="1645920"/>
          <a:lstStyle>
            <a:lvl1pPr algn="ctr">
              <a:defRPr/>
            </a:lvl1pPr>
          </a:lstStyle>
          <a:p>
            <a:r>
              <a:rPr lang="en-US"/>
              <a:t>Click icon to add chart</a:t>
            </a:r>
          </a:p>
        </p:txBody>
      </p:sp>
      <p:sp>
        <p:nvSpPr>
          <p:cNvPr id="3" name="Title 2">
            <a:extLst>
              <a:ext uri="{FF2B5EF4-FFF2-40B4-BE49-F238E27FC236}">
                <a16:creationId xmlns:a16="http://schemas.microsoft.com/office/drawing/2014/main" id="{9B99F403-8A76-3041-9EBD-D42DD6A0960E}"/>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6C63619C-DDCB-D447-AB2E-B38F2AF52D4C}"/>
              </a:ext>
            </a:extLst>
          </p:cNvPr>
          <p:cNvSpPr>
            <a:spLocks noGrp="1"/>
          </p:cNvSpPr>
          <p:nvPr>
            <p:ph type="ftr" sz="quarter" idx="15"/>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6C4953C7-9993-2D49-B25D-1D99D8229DD8}"/>
              </a:ext>
            </a:extLst>
          </p:cNvPr>
          <p:cNvSpPr>
            <a:spLocks noGrp="1"/>
          </p:cNvSpPr>
          <p:nvPr>
            <p:ph type="sldNum" sz="quarter" idx="16"/>
          </p:nvPr>
        </p:nvSpPr>
        <p:spPr/>
        <p:txBody>
          <a:bodyPr/>
          <a:lstStyle/>
          <a:p>
            <a:pPr lvl="8"/>
            <a:fld id="{1E3D5677-3D20-0C46-8497-54D73E689044}" type="slidenum">
              <a:rPr lang="en-US"/>
              <a:pPr lvl="8"/>
              <a:t>‹#›</a:t>
            </a:fld>
            <a:endParaRPr lang="en-US"/>
          </a:p>
        </p:txBody>
      </p:sp>
      <p:pic>
        <p:nvPicPr>
          <p:cNvPr id="9" name="Picture 8">
            <a:extLst>
              <a:ext uri="{FF2B5EF4-FFF2-40B4-BE49-F238E27FC236}">
                <a16:creationId xmlns:a16="http://schemas.microsoft.com/office/drawing/2014/main" id="{EBCF6235-B9A1-4C40-AE65-F2BBE0CAB705}"/>
              </a:ext>
            </a:extLst>
          </p:cNvPr>
          <p:cNvPicPr>
            <a:picLocks noChangeAspect="1"/>
          </p:cNvPicPr>
          <p:nvPr userDrawn="1"/>
        </p:nvPicPr>
        <p:blipFill>
          <a:blip r:embed="rId2"/>
          <a:srcRect/>
          <a:stretch/>
        </p:blipFill>
        <p:spPr>
          <a:xfrm>
            <a:off x="472868" y="6412434"/>
            <a:ext cx="1497466" cy="285488"/>
          </a:xfrm>
          <a:prstGeom prst="rect">
            <a:avLst/>
          </a:prstGeom>
        </p:spPr>
      </p:pic>
      <p:sp>
        <p:nvSpPr>
          <p:cNvPr id="11" name="Text Placeholder 6">
            <a:extLst>
              <a:ext uri="{FF2B5EF4-FFF2-40B4-BE49-F238E27FC236}">
                <a16:creationId xmlns:a16="http://schemas.microsoft.com/office/drawing/2014/main" id="{8C9D6D5D-A833-9049-810F-6E3112E2BC6B}"/>
              </a:ext>
            </a:extLst>
          </p:cNvPr>
          <p:cNvSpPr>
            <a:spLocks noGrp="1"/>
          </p:cNvSpPr>
          <p:nvPr>
            <p:ph type="body" sz="quarter" idx="17" hasCustomPrompt="1"/>
          </p:nvPr>
        </p:nvSpPr>
        <p:spPr>
          <a:xfrm>
            <a:off x="460496" y="6026150"/>
            <a:ext cx="7439374" cy="209550"/>
          </a:xfrm>
          <a:prstGeom prst="rect">
            <a:avLst/>
          </a:prstGeom>
        </p:spPr>
        <p:txBody>
          <a:bodyPr tIns="0" rIns="2560320">
            <a:noAutofit/>
          </a:bodyPr>
          <a:lstStyle>
            <a:lvl1pPr>
              <a:spcAft>
                <a:spcPts val="900"/>
              </a:spcAft>
              <a:defRPr sz="1000">
                <a:solidFill>
                  <a:schemeClr val="tx2"/>
                </a:solidFill>
              </a:defRPr>
            </a:lvl1pPr>
            <a:lvl2pPr>
              <a:spcAft>
                <a:spcPts val="900"/>
              </a:spcAft>
              <a:defRPr sz="1000" b="0">
                <a:solidFill>
                  <a:schemeClr val="tx2"/>
                </a:solidFill>
              </a:defRPr>
            </a:lvl2pPr>
            <a:lvl3pPr marL="0" indent="0">
              <a:spcAft>
                <a:spcPts val="900"/>
              </a:spcAft>
              <a:buFontTx/>
              <a:buNone/>
              <a:defRPr sz="1000">
                <a:solidFill>
                  <a:schemeClr val="tx2"/>
                </a:solidFill>
              </a:defRPr>
            </a:lvl3pPr>
            <a:lvl4pPr marL="0" indent="0">
              <a:spcAft>
                <a:spcPts val="900"/>
              </a:spcAft>
              <a:buFontTx/>
              <a:buNone/>
              <a:defRPr sz="1000">
                <a:solidFill>
                  <a:schemeClr val="tx2"/>
                </a:solidFill>
              </a:defRPr>
            </a:lvl4pPr>
            <a:lvl5pPr marL="22" indent="0">
              <a:spcAft>
                <a:spcPts val="900"/>
              </a:spcAft>
              <a:buFontTx/>
              <a:buNone/>
              <a:defRPr sz="1000">
                <a:solidFill>
                  <a:schemeClr val="tx2"/>
                </a:solidFill>
              </a:defRPr>
            </a:lvl5pPr>
            <a:lvl6pPr marL="0" indent="0">
              <a:spcAft>
                <a:spcPts val="900"/>
              </a:spcAft>
              <a:buFontTx/>
              <a:buNone/>
              <a:defRPr sz="1000">
                <a:solidFill>
                  <a:schemeClr val="tx2"/>
                </a:solidFill>
              </a:defRPr>
            </a:lvl6pPr>
            <a:lvl7pPr marL="0" indent="0">
              <a:spcAft>
                <a:spcPts val="900"/>
              </a:spcAft>
              <a:buFontTx/>
              <a:buNone/>
              <a:defRPr sz="1000">
                <a:solidFill>
                  <a:schemeClr val="tx2"/>
                </a:solidFill>
              </a:defRPr>
            </a:lvl7pPr>
            <a:lvl8pPr marL="0" indent="0">
              <a:spcAft>
                <a:spcPts val="900"/>
              </a:spcAft>
              <a:buFontTx/>
              <a:buNone/>
              <a:defRPr sz="1000">
                <a:solidFill>
                  <a:schemeClr val="tx2"/>
                </a:solidFill>
              </a:defRPr>
            </a:lvl8pPr>
            <a:lvl9pPr marL="0" indent="0">
              <a:spcAft>
                <a:spcPts val="900"/>
              </a:spcAft>
              <a:buFontTx/>
              <a:buNone/>
              <a:defRPr sz="100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200219503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_1/3_tab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462084" y="1565274"/>
            <a:ext cx="7437786" cy="4460876"/>
          </a:xfrm>
          <a:prstGeom prst="rect">
            <a:avLst/>
          </a:prstGeom>
        </p:spPr>
        <p:txBody>
          <a:bodyPr t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able Placeholder 11">
            <a:extLst>
              <a:ext uri="{FF2B5EF4-FFF2-40B4-BE49-F238E27FC236}">
                <a16:creationId xmlns:a16="http://schemas.microsoft.com/office/drawing/2014/main" id="{D3F4E4CF-00FB-2840-B337-631C2E32848C}"/>
              </a:ext>
            </a:extLst>
          </p:cNvPr>
          <p:cNvSpPr>
            <a:spLocks noGrp="1"/>
          </p:cNvSpPr>
          <p:nvPr>
            <p:ph type="tbl" sz="quarter" idx="14"/>
          </p:nvPr>
        </p:nvSpPr>
        <p:spPr>
          <a:xfrm>
            <a:off x="8125354" y="1565276"/>
            <a:ext cx="3601388" cy="4670425"/>
          </a:xfrm>
          <a:noFill/>
        </p:spPr>
        <p:txBody>
          <a:bodyPr tIns="1645920"/>
          <a:lstStyle>
            <a:lvl1pPr algn="ctr">
              <a:defRPr/>
            </a:lvl1pPr>
          </a:lstStyle>
          <a:p>
            <a:r>
              <a:rPr lang="en-US"/>
              <a:t>Click icon to add table</a:t>
            </a:r>
          </a:p>
        </p:txBody>
      </p:sp>
      <p:sp>
        <p:nvSpPr>
          <p:cNvPr id="3" name="Title 2">
            <a:extLst>
              <a:ext uri="{FF2B5EF4-FFF2-40B4-BE49-F238E27FC236}">
                <a16:creationId xmlns:a16="http://schemas.microsoft.com/office/drawing/2014/main" id="{1B00B7BE-3463-484E-9D3C-74D6D678D66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37182A4F-356C-BF46-9CDC-9F4C22050507}"/>
              </a:ext>
            </a:extLst>
          </p:cNvPr>
          <p:cNvSpPr>
            <a:spLocks noGrp="1"/>
          </p:cNvSpPr>
          <p:nvPr>
            <p:ph type="ftr" sz="quarter" idx="15"/>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1A1492D2-C982-9D40-9EE7-012C8B2D0FDB}"/>
              </a:ext>
            </a:extLst>
          </p:cNvPr>
          <p:cNvSpPr>
            <a:spLocks noGrp="1"/>
          </p:cNvSpPr>
          <p:nvPr>
            <p:ph type="sldNum" sz="quarter" idx="16"/>
          </p:nvPr>
        </p:nvSpPr>
        <p:spPr/>
        <p:txBody>
          <a:bodyPr/>
          <a:lstStyle/>
          <a:p>
            <a:pPr lvl="8"/>
            <a:fld id="{1E3D5677-3D20-0C46-8497-54D73E689044}" type="slidenum">
              <a:rPr lang="en-US"/>
              <a:pPr lvl="8"/>
              <a:t>‹#›</a:t>
            </a:fld>
            <a:endParaRPr lang="en-US"/>
          </a:p>
        </p:txBody>
      </p:sp>
      <p:pic>
        <p:nvPicPr>
          <p:cNvPr id="8" name="Picture 7">
            <a:extLst>
              <a:ext uri="{FF2B5EF4-FFF2-40B4-BE49-F238E27FC236}">
                <a16:creationId xmlns:a16="http://schemas.microsoft.com/office/drawing/2014/main" id="{C2FEEB6F-76C3-7B4A-A8FD-CBB82236CCBA}"/>
              </a:ext>
            </a:extLst>
          </p:cNvPr>
          <p:cNvPicPr>
            <a:picLocks noChangeAspect="1"/>
          </p:cNvPicPr>
          <p:nvPr userDrawn="1"/>
        </p:nvPicPr>
        <p:blipFill>
          <a:blip r:embed="rId2"/>
          <a:srcRect/>
          <a:stretch/>
        </p:blipFill>
        <p:spPr>
          <a:xfrm>
            <a:off x="472868" y="6412434"/>
            <a:ext cx="1497466" cy="285488"/>
          </a:xfrm>
          <a:prstGeom prst="rect">
            <a:avLst/>
          </a:prstGeom>
        </p:spPr>
      </p:pic>
      <p:sp>
        <p:nvSpPr>
          <p:cNvPr id="9" name="Text Placeholder 6">
            <a:extLst>
              <a:ext uri="{FF2B5EF4-FFF2-40B4-BE49-F238E27FC236}">
                <a16:creationId xmlns:a16="http://schemas.microsoft.com/office/drawing/2014/main" id="{FBCD185C-29F9-B046-A597-075B3319BE18}"/>
              </a:ext>
            </a:extLst>
          </p:cNvPr>
          <p:cNvSpPr>
            <a:spLocks noGrp="1"/>
          </p:cNvSpPr>
          <p:nvPr>
            <p:ph type="body" sz="quarter" idx="17" hasCustomPrompt="1"/>
          </p:nvPr>
        </p:nvSpPr>
        <p:spPr>
          <a:xfrm>
            <a:off x="460496" y="6026150"/>
            <a:ext cx="7439374" cy="209550"/>
          </a:xfrm>
          <a:prstGeom prst="rect">
            <a:avLst/>
          </a:prstGeom>
        </p:spPr>
        <p:txBody>
          <a:bodyPr tIns="0" rIns="2560320">
            <a:noAutofit/>
          </a:bodyPr>
          <a:lstStyle>
            <a:lvl1pPr>
              <a:spcAft>
                <a:spcPts val="900"/>
              </a:spcAft>
              <a:defRPr sz="1000">
                <a:solidFill>
                  <a:schemeClr val="tx2"/>
                </a:solidFill>
              </a:defRPr>
            </a:lvl1pPr>
            <a:lvl2pPr>
              <a:spcAft>
                <a:spcPts val="900"/>
              </a:spcAft>
              <a:defRPr sz="1000" b="0">
                <a:solidFill>
                  <a:schemeClr val="tx2"/>
                </a:solidFill>
              </a:defRPr>
            </a:lvl2pPr>
            <a:lvl3pPr marL="0" indent="0">
              <a:spcAft>
                <a:spcPts val="900"/>
              </a:spcAft>
              <a:buFontTx/>
              <a:buNone/>
              <a:defRPr sz="1000">
                <a:solidFill>
                  <a:schemeClr val="tx2"/>
                </a:solidFill>
              </a:defRPr>
            </a:lvl3pPr>
            <a:lvl4pPr marL="0" indent="0">
              <a:spcAft>
                <a:spcPts val="900"/>
              </a:spcAft>
              <a:buFontTx/>
              <a:buNone/>
              <a:defRPr sz="1000">
                <a:solidFill>
                  <a:schemeClr val="tx2"/>
                </a:solidFill>
              </a:defRPr>
            </a:lvl4pPr>
            <a:lvl5pPr marL="22" indent="0">
              <a:spcAft>
                <a:spcPts val="900"/>
              </a:spcAft>
              <a:buFontTx/>
              <a:buNone/>
              <a:defRPr sz="1000">
                <a:solidFill>
                  <a:schemeClr val="tx2"/>
                </a:solidFill>
              </a:defRPr>
            </a:lvl5pPr>
            <a:lvl6pPr marL="0" indent="0">
              <a:spcAft>
                <a:spcPts val="900"/>
              </a:spcAft>
              <a:buFontTx/>
              <a:buNone/>
              <a:defRPr sz="1000">
                <a:solidFill>
                  <a:schemeClr val="tx2"/>
                </a:solidFill>
              </a:defRPr>
            </a:lvl6pPr>
            <a:lvl7pPr marL="0" indent="0">
              <a:spcAft>
                <a:spcPts val="900"/>
              </a:spcAft>
              <a:buFontTx/>
              <a:buNone/>
              <a:defRPr sz="1000">
                <a:solidFill>
                  <a:schemeClr val="tx2"/>
                </a:solidFill>
              </a:defRPr>
            </a:lvl7pPr>
            <a:lvl8pPr marL="0" indent="0">
              <a:spcAft>
                <a:spcPts val="900"/>
              </a:spcAft>
              <a:buFontTx/>
              <a:buNone/>
              <a:defRPr sz="1000">
                <a:solidFill>
                  <a:schemeClr val="tx2"/>
                </a:solidFill>
              </a:defRPr>
            </a:lvl8pPr>
            <a:lvl9pPr marL="0" indent="0">
              <a:spcAft>
                <a:spcPts val="900"/>
              </a:spcAft>
              <a:buFontTx/>
              <a:buNone/>
              <a:defRPr sz="100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73239461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ntent_2_colum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ADFC3-0EA2-484B-91B3-4624904B3EA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E8D17CCE-4148-054E-BC25-74B1DEEB2364}"/>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6" name="Content Placeholder 5">
            <a:extLst>
              <a:ext uri="{FF2B5EF4-FFF2-40B4-BE49-F238E27FC236}">
                <a16:creationId xmlns:a16="http://schemas.microsoft.com/office/drawing/2014/main" id="{43F8D8A9-EA01-D644-896A-9C8B48D82E4B}"/>
              </a:ext>
            </a:extLst>
          </p:cNvPr>
          <p:cNvSpPr>
            <a:spLocks noGrp="1"/>
          </p:cNvSpPr>
          <p:nvPr>
            <p:ph sz="quarter" idx="17"/>
          </p:nvPr>
        </p:nvSpPr>
        <p:spPr>
          <a:xfrm>
            <a:off x="473199" y="1565276"/>
            <a:ext cx="5510060" cy="4460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28F11314-FE33-0741-BC75-8FADD2AA01BA}"/>
              </a:ext>
            </a:extLst>
          </p:cNvPr>
          <p:cNvSpPr>
            <a:spLocks noGrp="1"/>
          </p:cNvSpPr>
          <p:nvPr>
            <p:ph sz="quarter" idx="18"/>
          </p:nvPr>
        </p:nvSpPr>
        <p:spPr>
          <a:xfrm>
            <a:off x="6205566" y="1565276"/>
            <a:ext cx="5521176" cy="4460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9821D7EA-52AC-124E-B1BF-496BEE76E9AF}"/>
              </a:ext>
            </a:extLst>
          </p:cNvPr>
          <p:cNvPicPr>
            <a:picLocks noChangeAspect="1"/>
          </p:cNvPicPr>
          <p:nvPr userDrawn="1"/>
        </p:nvPicPr>
        <p:blipFill>
          <a:blip r:embed="rId2"/>
          <a:srcRect/>
          <a:stretch/>
        </p:blipFill>
        <p:spPr>
          <a:xfrm>
            <a:off x="472868" y="6412434"/>
            <a:ext cx="1497466" cy="285488"/>
          </a:xfrm>
          <a:prstGeom prst="rect">
            <a:avLst/>
          </a:prstGeom>
        </p:spPr>
      </p:pic>
      <p:sp>
        <p:nvSpPr>
          <p:cNvPr id="9" name="Text Placeholder 6">
            <a:extLst>
              <a:ext uri="{FF2B5EF4-FFF2-40B4-BE49-F238E27FC236}">
                <a16:creationId xmlns:a16="http://schemas.microsoft.com/office/drawing/2014/main" id="{04482540-A651-6644-821A-C86BE0111821}"/>
              </a:ext>
            </a:extLst>
          </p:cNvPr>
          <p:cNvSpPr>
            <a:spLocks noGrp="1"/>
          </p:cNvSpPr>
          <p:nvPr>
            <p:ph type="body" sz="quarter" idx="19" hasCustomPrompt="1"/>
          </p:nvPr>
        </p:nvSpPr>
        <p:spPr>
          <a:xfrm>
            <a:off x="460495" y="6026150"/>
            <a:ext cx="11258307" cy="209551"/>
          </a:xfrm>
          <a:prstGeom prst="rect">
            <a:avLst/>
          </a:prstGeom>
        </p:spPr>
        <p:txBody>
          <a:bodyPr tIns="0" rIns="2560320">
            <a:noAutofit/>
          </a:bodyPr>
          <a:lstStyle>
            <a:lvl1pPr>
              <a:spcAft>
                <a:spcPts val="900"/>
              </a:spcAft>
              <a:defRPr sz="1000">
                <a:solidFill>
                  <a:schemeClr val="tx2"/>
                </a:solidFill>
              </a:defRPr>
            </a:lvl1pPr>
            <a:lvl2pPr>
              <a:spcAft>
                <a:spcPts val="900"/>
              </a:spcAft>
              <a:defRPr sz="1000" b="0">
                <a:solidFill>
                  <a:schemeClr val="tx2"/>
                </a:solidFill>
              </a:defRPr>
            </a:lvl2pPr>
            <a:lvl3pPr marL="0" indent="0">
              <a:spcAft>
                <a:spcPts val="900"/>
              </a:spcAft>
              <a:buFontTx/>
              <a:buNone/>
              <a:defRPr sz="1000">
                <a:solidFill>
                  <a:schemeClr val="tx2"/>
                </a:solidFill>
              </a:defRPr>
            </a:lvl3pPr>
            <a:lvl4pPr marL="0" indent="0">
              <a:spcAft>
                <a:spcPts val="900"/>
              </a:spcAft>
              <a:buFontTx/>
              <a:buNone/>
              <a:defRPr sz="1000">
                <a:solidFill>
                  <a:schemeClr val="tx2"/>
                </a:solidFill>
              </a:defRPr>
            </a:lvl4pPr>
            <a:lvl5pPr marL="22" indent="0">
              <a:spcAft>
                <a:spcPts val="900"/>
              </a:spcAft>
              <a:buFontTx/>
              <a:buNone/>
              <a:defRPr sz="1000">
                <a:solidFill>
                  <a:schemeClr val="tx2"/>
                </a:solidFill>
              </a:defRPr>
            </a:lvl5pPr>
            <a:lvl6pPr marL="0" indent="0">
              <a:spcAft>
                <a:spcPts val="900"/>
              </a:spcAft>
              <a:buFontTx/>
              <a:buNone/>
              <a:defRPr sz="1000">
                <a:solidFill>
                  <a:schemeClr val="tx2"/>
                </a:solidFill>
              </a:defRPr>
            </a:lvl6pPr>
            <a:lvl7pPr marL="0" indent="0">
              <a:spcAft>
                <a:spcPts val="900"/>
              </a:spcAft>
              <a:buFontTx/>
              <a:buNone/>
              <a:defRPr sz="1000">
                <a:solidFill>
                  <a:schemeClr val="tx2"/>
                </a:solidFill>
              </a:defRPr>
            </a:lvl7pPr>
            <a:lvl8pPr marL="0" indent="0">
              <a:spcAft>
                <a:spcPts val="900"/>
              </a:spcAft>
              <a:buFontTx/>
              <a:buNone/>
              <a:defRPr sz="1000">
                <a:solidFill>
                  <a:schemeClr val="tx2"/>
                </a:solidFill>
              </a:defRPr>
            </a:lvl8pPr>
            <a:lvl9pPr marL="0" indent="0">
              <a:spcAft>
                <a:spcPts val="900"/>
              </a:spcAft>
              <a:buFontTx/>
              <a:buNone/>
              <a:defRPr sz="100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408764894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_compar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ADFC3-0EA2-484B-91B3-4624904B3EA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E8D17CCE-4148-054E-BC25-74B1DEEB2364}"/>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6" name="Content Placeholder 5">
            <a:extLst>
              <a:ext uri="{FF2B5EF4-FFF2-40B4-BE49-F238E27FC236}">
                <a16:creationId xmlns:a16="http://schemas.microsoft.com/office/drawing/2014/main" id="{43F8D8A9-EA01-D644-896A-9C8B48D82E4B}"/>
              </a:ext>
            </a:extLst>
          </p:cNvPr>
          <p:cNvSpPr>
            <a:spLocks noGrp="1"/>
          </p:cNvSpPr>
          <p:nvPr>
            <p:ph sz="quarter" idx="17"/>
          </p:nvPr>
        </p:nvSpPr>
        <p:spPr>
          <a:xfrm>
            <a:off x="473199" y="1565276"/>
            <a:ext cx="5249570" cy="4460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28F11314-FE33-0741-BC75-8FADD2AA01BA}"/>
              </a:ext>
            </a:extLst>
          </p:cNvPr>
          <p:cNvSpPr>
            <a:spLocks noGrp="1"/>
          </p:cNvSpPr>
          <p:nvPr>
            <p:ph sz="quarter" idx="18"/>
          </p:nvPr>
        </p:nvSpPr>
        <p:spPr>
          <a:xfrm>
            <a:off x="6464722" y="1565276"/>
            <a:ext cx="5262020" cy="4460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9821D7EA-52AC-124E-B1BF-496BEE76E9AF}"/>
              </a:ext>
            </a:extLst>
          </p:cNvPr>
          <p:cNvPicPr>
            <a:picLocks noChangeAspect="1"/>
          </p:cNvPicPr>
          <p:nvPr userDrawn="1"/>
        </p:nvPicPr>
        <p:blipFill>
          <a:blip r:embed="rId2"/>
          <a:srcRect/>
          <a:stretch/>
        </p:blipFill>
        <p:spPr>
          <a:xfrm>
            <a:off x="472868" y="6412434"/>
            <a:ext cx="1497466" cy="285488"/>
          </a:xfrm>
          <a:prstGeom prst="rect">
            <a:avLst/>
          </a:prstGeom>
        </p:spPr>
      </p:pic>
      <p:grpSp>
        <p:nvGrpSpPr>
          <p:cNvPr id="9" name="Group 8">
            <a:extLst>
              <a:ext uri="{FF2B5EF4-FFF2-40B4-BE49-F238E27FC236}">
                <a16:creationId xmlns:a16="http://schemas.microsoft.com/office/drawing/2014/main" id="{C32C2CE8-EFEE-CD4D-9F7A-8F814C65D488}"/>
              </a:ext>
            </a:extLst>
          </p:cNvPr>
          <p:cNvGrpSpPr/>
          <p:nvPr userDrawn="1"/>
        </p:nvGrpSpPr>
        <p:grpSpPr>
          <a:xfrm>
            <a:off x="5983258" y="2300287"/>
            <a:ext cx="220974" cy="3200400"/>
            <a:chOff x="3313099" y="1275353"/>
            <a:chExt cx="220916" cy="3200400"/>
          </a:xfrm>
        </p:grpSpPr>
        <p:cxnSp>
          <p:nvCxnSpPr>
            <p:cNvPr id="10" name="Straight Connector 9">
              <a:extLst>
                <a:ext uri="{FF2B5EF4-FFF2-40B4-BE49-F238E27FC236}">
                  <a16:creationId xmlns:a16="http://schemas.microsoft.com/office/drawing/2014/main" id="{FEE21523-0773-8448-BBE7-842B0EB85CCC}"/>
                </a:ext>
              </a:extLst>
            </p:cNvPr>
            <p:cNvCxnSpPr/>
            <p:nvPr/>
          </p:nvCxnSpPr>
          <p:spPr>
            <a:xfrm>
              <a:off x="3423557" y="1275353"/>
              <a:ext cx="0" cy="3200400"/>
            </a:xfrm>
            <a:prstGeom prst="line">
              <a:avLst/>
            </a:prstGeom>
            <a:ln w="19050" cap="rnd" cmpd="sng" algn="ctr">
              <a:solidFill>
                <a:srgbClr val="1F497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81B7E47A-97E3-E24D-B81A-E76313621332}"/>
                </a:ext>
              </a:extLst>
            </p:cNvPr>
            <p:cNvGrpSpPr/>
            <p:nvPr/>
          </p:nvGrpSpPr>
          <p:grpSpPr>
            <a:xfrm>
              <a:off x="3313099" y="2761253"/>
              <a:ext cx="220916" cy="228601"/>
              <a:chOff x="4378684" y="648989"/>
              <a:chExt cx="244638" cy="246222"/>
            </a:xfrm>
          </p:grpSpPr>
          <p:sp>
            <p:nvSpPr>
              <p:cNvPr id="13" name="Chevron 12">
                <a:extLst>
                  <a:ext uri="{FF2B5EF4-FFF2-40B4-BE49-F238E27FC236}">
                    <a16:creationId xmlns:a16="http://schemas.microsoft.com/office/drawing/2014/main" id="{A2947867-90B1-0349-8276-C0CDD1000071}"/>
                  </a:ext>
                </a:extLst>
              </p:cNvPr>
              <p:cNvSpPr/>
              <p:nvPr/>
            </p:nvSpPr>
            <p:spPr>
              <a:xfrm>
                <a:off x="4378684" y="648990"/>
                <a:ext cx="164592" cy="246221"/>
              </a:xfrm>
              <a:prstGeom prst="chevron">
                <a:avLst/>
              </a:prstGeom>
              <a:solidFill>
                <a:srgbClr val="00539B"/>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chemeClr val="tx1"/>
                  </a:solidFill>
                </a:endParaRPr>
              </a:p>
            </p:txBody>
          </p:sp>
          <p:sp>
            <p:nvSpPr>
              <p:cNvPr id="14" name="Chevron 13">
                <a:extLst>
                  <a:ext uri="{FF2B5EF4-FFF2-40B4-BE49-F238E27FC236}">
                    <a16:creationId xmlns:a16="http://schemas.microsoft.com/office/drawing/2014/main" id="{06F0CFD7-88FE-EF4A-8A44-46A3EA942967}"/>
                  </a:ext>
                </a:extLst>
              </p:cNvPr>
              <p:cNvSpPr/>
              <p:nvPr/>
            </p:nvSpPr>
            <p:spPr>
              <a:xfrm>
                <a:off x="4458730" y="648989"/>
                <a:ext cx="164592" cy="246221"/>
              </a:xfrm>
              <a:prstGeom prst="chevron">
                <a:avLst/>
              </a:prstGeom>
              <a:solidFill>
                <a:srgbClr val="42964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chemeClr val="tx1"/>
                  </a:solidFill>
                </a:endParaRPr>
              </a:p>
            </p:txBody>
          </p:sp>
        </p:grpSp>
      </p:grpSp>
      <p:sp>
        <p:nvSpPr>
          <p:cNvPr id="15" name="Text Placeholder 6">
            <a:extLst>
              <a:ext uri="{FF2B5EF4-FFF2-40B4-BE49-F238E27FC236}">
                <a16:creationId xmlns:a16="http://schemas.microsoft.com/office/drawing/2014/main" id="{A4CB2129-0503-DB47-90B1-AFA35A72C6C4}"/>
              </a:ext>
            </a:extLst>
          </p:cNvPr>
          <p:cNvSpPr>
            <a:spLocks noGrp="1"/>
          </p:cNvSpPr>
          <p:nvPr>
            <p:ph type="body" sz="quarter" idx="19" hasCustomPrompt="1"/>
          </p:nvPr>
        </p:nvSpPr>
        <p:spPr>
          <a:xfrm>
            <a:off x="460495" y="6026150"/>
            <a:ext cx="11258298" cy="209550"/>
          </a:xfrm>
          <a:prstGeom prst="rect">
            <a:avLst/>
          </a:prstGeom>
        </p:spPr>
        <p:txBody>
          <a:bodyPr tIns="0" rIns="2560320">
            <a:noAutofit/>
          </a:bodyPr>
          <a:lstStyle>
            <a:lvl1pPr>
              <a:spcAft>
                <a:spcPts val="900"/>
              </a:spcAft>
              <a:defRPr sz="1000">
                <a:solidFill>
                  <a:schemeClr val="tx2"/>
                </a:solidFill>
              </a:defRPr>
            </a:lvl1pPr>
            <a:lvl2pPr>
              <a:spcAft>
                <a:spcPts val="900"/>
              </a:spcAft>
              <a:defRPr sz="1000" b="0">
                <a:solidFill>
                  <a:schemeClr val="tx2"/>
                </a:solidFill>
              </a:defRPr>
            </a:lvl2pPr>
            <a:lvl3pPr marL="0" indent="0">
              <a:spcAft>
                <a:spcPts val="900"/>
              </a:spcAft>
              <a:buFontTx/>
              <a:buNone/>
              <a:defRPr sz="1000">
                <a:solidFill>
                  <a:schemeClr val="tx2"/>
                </a:solidFill>
              </a:defRPr>
            </a:lvl3pPr>
            <a:lvl4pPr marL="0" indent="0">
              <a:spcAft>
                <a:spcPts val="900"/>
              </a:spcAft>
              <a:buFontTx/>
              <a:buNone/>
              <a:defRPr sz="1000">
                <a:solidFill>
                  <a:schemeClr val="tx2"/>
                </a:solidFill>
              </a:defRPr>
            </a:lvl4pPr>
            <a:lvl5pPr marL="22" indent="0">
              <a:spcAft>
                <a:spcPts val="900"/>
              </a:spcAft>
              <a:buFontTx/>
              <a:buNone/>
              <a:defRPr sz="1000">
                <a:solidFill>
                  <a:schemeClr val="tx2"/>
                </a:solidFill>
              </a:defRPr>
            </a:lvl5pPr>
            <a:lvl6pPr marL="0" indent="0">
              <a:spcAft>
                <a:spcPts val="900"/>
              </a:spcAft>
              <a:buFontTx/>
              <a:buNone/>
              <a:defRPr sz="1000">
                <a:solidFill>
                  <a:schemeClr val="tx2"/>
                </a:solidFill>
              </a:defRPr>
            </a:lvl6pPr>
            <a:lvl7pPr marL="0" indent="0">
              <a:spcAft>
                <a:spcPts val="900"/>
              </a:spcAft>
              <a:buFontTx/>
              <a:buNone/>
              <a:defRPr sz="1000">
                <a:solidFill>
                  <a:schemeClr val="tx2"/>
                </a:solidFill>
              </a:defRPr>
            </a:lvl7pPr>
            <a:lvl8pPr marL="0" indent="0">
              <a:spcAft>
                <a:spcPts val="900"/>
              </a:spcAft>
              <a:buFontTx/>
              <a:buNone/>
              <a:defRPr sz="1000">
                <a:solidFill>
                  <a:schemeClr val="tx2"/>
                </a:solidFill>
              </a:defRPr>
            </a:lvl8pPr>
            <a:lvl9pPr marL="0" indent="0">
              <a:spcAft>
                <a:spcPts val="900"/>
              </a:spcAft>
              <a:buFontTx/>
              <a:buNone/>
              <a:defRPr sz="100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139140235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ntent_2_column_im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ADFC3-0EA2-484B-91B3-4624904B3EA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E8D17CCE-4148-054E-BC25-74B1DEEB2364}"/>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6" name="Content Placeholder 5">
            <a:extLst>
              <a:ext uri="{FF2B5EF4-FFF2-40B4-BE49-F238E27FC236}">
                <a16:creationId xmlns:a16="http://schemas.microsoft.com/office/drawing/2014/main" id="{43F8D8A9-EA01-D644-896A-9C8B48D82E4B}"/>
              </a:ext>
            </a:extLst>
          </p:cNvPr>
          <p:cNvSpPr>
            <a:spLocks noGrp="1"/>
          </p:cNvSpPr>
          <p:nvPr>
            <p:ph sz="quarter" idx="17"/>
          </p:nvPr>
        </p:nvSpPr>
        <p:spPr>
          <a:xfrm>
            <a:off x="473199" y="1565276"/>
            <a:ext cx="5510060" cy="4460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19E3EAC2-B124-7241-A76C-C15FC8C2B5D4}"/>
              </a:ext>
            </a:extLst>
          </p:cNvPr>
          <p:cNvSpPr>
            <a:spLocks noGrp="1"/>
          </p:cNvSpPr>
          <p:nvPr>
            <p:ph type="pic" sz="quarter" idx="18"/>
          </p:nvPr>
        </p:nvSpPr>
        <p:spPr>
          <a:xfrm>
            <a:off x="6205567" y="1565276"/>
            <a:ext cx="5522763" cy="4670425"/>
          </a:xfrm>
          <a:solidFill>
            <a:schemeClr val="bg2"/>
          </a:solidFill>
        </p:spPr>
        <p:txBody>
          <a:bodyPr tIns="1645920"/>
          <a:lstStyle>
            <a:lvl1pPr algn="ctr">
              <a:defRPr/>
            </a:lvl1pPr>
          </a:lstStyle>
          <a:p>
            <a:r>
              <a:rPr lang="en-US"/>
              <a:t>Click icon to add picture</a:t>
            </a:r>
          </a:p>
        </p:txBody>
      </p:sp>
      <p:pic>
        <p:nvPicPr>
          <p:cNvPr id="8" name="Picture 7">
            <a:extLst>
              <a:ext uri="{FF2B5EF4-FFF2-40B4-BE49-F238E27FC236}">
                <a16:creationId xmlns:a16="http://schemas.microsoft.com/office/drawing/2014/main" id="{DE7D5E30-60D9-FC42-8B8A-694A574E5EAF}"/>
              </a:ext>
            </a:extLst>
          </p:cNvPr>
          <p:cNvPicPr>
            <a:picLocks noChangeAspect="1"/>
          </p:cNvPicPr>
          <p:nvPr userDrawn="1"/>
        </p:nvPicPr>
        <p:blipFill>
          <a:blip r:embed="rId2"/>
          <a:srcRect/>
          <a:stretch/>
        </p:blipFill>
        <p:spPr>
          <a:xfrm>
            <a:off x="472868" y="6412434"/>
            <a:ext cx="1497466" cy="285488"/>
          </a:xfrm>
          <a:prstGeom prst="rect">
            <a:avLst/>
          </a:prstGeom>
        </p:spPr>
      </p:pic>
      <p:sp>
        <p:nvSpPr>
          <p:cNvPr id="9" name="Text Placeholder 6">
            <a:extLst>
              <a:ext uri="{FF2B5EF4-FFF2-40B4-BE49-F238E27FC236}">
                <a16:creationId xmlns:a16="http://schemas.microsoft.com/office/drawing/2014/main" id="{426A4FEB-16FA-5B47-8307-522D5CCBE214}"/>
              </a:ext>
            </a:extLst>
          </p:cNvPr>
          <p:cNvSpPr>
            <a:spLocks noGrp="1"/>
          </p:cNvSpPr>
          <p:nvPr>
            <p:ph type="body" sz="quarter" idx="19" hasCustomPrompt="1"/>
          </p:nvPr>
        </p:nvSpPr>
        <p:spPr>
          <a:xfrm>
            <a:off x="460496" y="6026150"/>
            <a:ext cx="5522763" cy="209550"/>
          </a:xfrm>
          <a:prstGeom prst="rect">
            <a:avLst/>
          </a:prstGeom>
        </p:spPr>
        <p:txBody>
          <a:bodyPr tIns="0" rIns="2560320">
            <a:noAutofit/>
          </a:bodyPr>
          <a:lstStyle>
            <a:lvl1pPr>
              <a:spcAft>
                <a:spcPts val="900"/>
              </a:spcAft>
              <a:defRPr sz="1000">
                <a:solidFill>
                  <a:schemeClr val="tx2"/>
                </a:solidFill>
              </a:defRPr>
            </a:lvl1pPr>
            <a:lvl2pPr>
              <a:spcAft>
                <a:spcPts val="900"/>
              </a:spcAft>
              <a:defRPr sz="1000" b="0">
                <a:solidFill>
                  <a:schemeClr val="tx2"/>
                </a:solidFill>
              </a:defRPr>
            </a:lvl2pPr>
            <a:lvl3pPr marL="0" indent="0">
              <a:spcAft>
                <a:spcPts val="900"/>
              </a:spcAft>
              <a:buFontTx/>
              <a:buNone/>
              <a:defRPr sz="1000">
                <a:solidFill>
                  <a:schemeClr val="tx2"/>
                </a:solidFill>
              </a:defRPr>
            </a:lvl3pPr>
            <a:lvl4pPr marL="0" indent="0">
              <a:spcAft>
                <a:spcPts val="900"/>
              </a:spcAft>
              <a:buFontTx/>
              <a:buNone/>
              <a:defRPr sz="1000">
                <a:solidFill>
                  <a:schemeClr val="tx2"/>
                </a:solidFill>
              </a:defRPr>
            </a:lvl4pPr>
            <a:lvl5pPr marL="22" indent="0">
              <a:spcAft>
                <a:spcPts val="900"/>
              </a:spcAft>
              <a:buFontTx/>
              <a:buNone/>
              <a:defRPr sz="1000">
                <a:solidFill>
                  <a:schemeClr val="tx2"/>
                </a:solidFill>
              </a:defRPr>
            </a:lvl5pPr>
            <a:lvl6pPr marL="0" indent="0">
              <a:spcAft>
                <a:spcPts val="900"/>
              </a:spcAft>
              <a:buFontTx/>
              <a:buNone/>
              <a:defRPr sz="1000">
                <a:solidFill>
                  <a:schemeClr val="tx2"/>
                </a:solidFill>
              </a:defRPr>
            </a:lvl6pPr>
            <a:lvl7pPr marL="0" indent="0">
              <a:spcAft>
                <a:spcPts val="900"/>
              </a:spcAft>
              <a:buFontTx/>
              <a:buNone/>
              <a:defRPr sz="1000">
                <a:solidFill>
                  <a:schemeClr val="tx2"/>
                </a:solidFill>
              </a:defRPr>
            </a:lvl7pPr>
            <a:lvl8pPr marL="0" indent="0">
              <a:spcAft>
                <a:spcPts val="900"/>
              </a:spcAft>
              <a:buFontTx/>
              <a:buNone/>
              <a:defRPr sz="1000">
                <a:solidFill>
                  <a:schemeClr val="tx2"/>
                </a:solidFill>
              </a:defRPr>
            </a:lvl8pPr>
            <a:lvl9pPr marL="0" indent="0">
              <a:spcAft>
                <a:spcPts val="900"/>
              </a:spcAft>
              <a:buFontTx/>
              <a:buNone/>
              <a:defRPr sz="100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2711092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878160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_blue_emphasis_imag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D6B805C-4289-4A4F-A5CB-6D24B23192E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7" y="4466"/>
            <a:ext cx="12179296" cy="6856212"/>
          </a:xfrm>
          <a:prstGeom prst="rect">
            <a:avLst/>
          </a:prstGeom>
        </p:spPr>
      </p:pic>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460496" y="1565274"/>
            <a:ext cx="5522763" cy="4625975"/>
          </a:xfrm>
          <a:prstGeom prst="rect">
            <a:avLst/>
          </a:prstGeom>
        </p:spPr>
        <p:txBody>
          <a:bodyPr tIns="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7EADFC3-0EA2-484B-91B3-4624904B3EA0}"/>
              </a:ext>
            </a:extLst>
          </p:cNvPr>
          <p:cNvSpPr>
            <a:spLocks noGrp="1"/>
          </p:cNvSpPr>
          <p:nvPr>
            <p:ph type="title"/>
          </p:nvPr>
        </p:nvSpPr>
        <p:spPr>
          <a:xfrm>
            <a:off x="462083" y="460378"/>
            <a:ext cx="5521176" cy="876299"/>
          </a:xfrm>
        </p:spPr>
        <p:txBody>
          <a:bodyPr rIns="182880"/>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E8D17CCE-4148-054E-BC25-74B1DEEB2364}"/>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6" name="Picture Placeholder 5">
            <a:extLst>
              <a:ext uri="{FF2B5EF4-FFF2-40B4-BE49-F238E27FC236}">
                <a16:creationId xmlns:a16="http://schemas.microsoft.com/office/drawing/2014/main" id="{564D15A8-0DC5-1D44-871A-8715FE9075DA}"/>
              </a:ext>
            </a:extLst>
          </p:cNvPr>
          <p:cNvSpPr>
            <a:spLocks noGrp="1"/>
          </p:cNvSpPr>
          <p:nvPr>
            <p:ph type="pic" sz="quarter" idx="17"/>
          </p:nvPr>
        </p:nvSpPr>
        <p:spPr>
          <a:xfrm>
            <a:off x="6208742" y="0"/>
            <a:ext cx="5983258" cy="6235700"/>
          </a:xfrm>
          <a:solidFill>
            <a:schemeClr val="bg2"/>
          </a:solidFill>
        </p:spPr>
        <p:txBody>
          <a:bodyPr tIns="2468880"/>
          <a:lstStyle>
            <a:lvl1pPr algn="ctr">
              <a:defRPr/>
            </a:lvl1pPr>
          </a:lstStyle>
          <a:p>
            <a:r>
              <a:rPr lang="en-US"/>
              <a:t>Click icon to add picture</a:t>
            </a:r>
          </a:p>
        </p:txBody>
      </p:sp>
      <p:pic>
        <p:nvPicPr>
          <p:cNvPr id="9" name="Picture 8">
            <a:extLst>
              <a:ext uri="{FF2B5EF4-FFF2-40B4-BE49-F238E27FC236}">
                <a16:creationId xmlns:a16="http://schemas.microsoft.com/office/drawing/2014/main" id="{76967A81-D517-014E-978A-8C749887E581}"/>
              </a:ext>
            </a:extLst>
          </p:cNvPr>
          <p:cNvPicPr>
            <a:picLocks noChangeAspect="1"/>
          </p:cNvPicPr>
          <p:nvPr userDrawn="1"/>
        </p:nvPicPr>
        <p:blipFill>
          <a:blip r:embed="rId3"/>
          <a:srcRect/>
          <a:stretch/>
        </p:blipFill>
        <p:spPr>
          <a:xfrm>
            <a:off x="472868" y="6412434"/>
            <a:ext cx="1497466" cy="285488"/>
          </a:xfrm>
          <a:prstGeom prst="rect">
            <a:avLst/>
          </a:prstGeom>
        </p:spPr>
      </p:pic>
    </p:spTree>
    <p:extLst>
      <p:ext uri="{BB962C8B-B14F-4D97-AF65-F5344CB8AC3E}">
        <p14:creationId xmlns:p14="http://schemas.microsoft.com/office/powerpoint/2010/main" val="58827933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_green_emphasis_imag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B217E96-41B0-6043-94A0-7958ABA0E39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7" y="4467"/>
            <a:ext cx="12179296" cy="6856211"/>
          </a:xfrm>
          <a:prstGeom prst="rect">
            <a:avLst/>
          </a:prstGeom>
        </p:spPr>
      </p:pic>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460496" y="1565274"/>
            <a:ext cx="5522763" cy="4625975"/>
          </a:xfrm>
          <a:prstGeom prst="rect">
            <a:avLst/>
          </a:prstGeom>
        </p:spPr>
        <p:txBody>
          <a:bodyPr tIns="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7EADFC3-0EA2-484B-91B3-4624904B3EA0}"/>
              </a:ext>
            </a:extLst>
          </p:cNvPr>
          <p:cNvSpPr>
            <a:spLocks noGrp="1"/>
          </p:cNvSpPr>
          <p:nvPr>
            <p:ph type="title"/>
          </p:nvPr>
        </p:nvSpPr>
        <p:spPr>
          <a:xfrm>
            <a:off x="462083" y="460378"/>
            <a:ext cx="5521176" cy="876299"/>
          </a:xfrm>
        </p:spPr>
        <p:txBody>
          <a:bodyPr rIns="182880"/>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E8D17CCE-4148-054E-BC25-74B1DEEB2364}"/>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6" name="Picture Placeholder 5">
            <a:extLst>
              <a:ext uri="{FF2B5EF4-FFF2-40B4-BE49-F238E27FC236}">
                <a16:creationId xmlns:a16="http://schemas.microsoft.com/office/drawing/2014/main" id="{564D15A8-0DC5-1D44-871A-8715FE9075DA}"/>
              </a:ext>
            </a:extLst>
          </p:cNvPr>
          <p:cNvSpPr>
            <a:spLocks noGrp="1"/>
          </p:cNvSpPr>
          <p:nvPr>
            <p:ph type="pic" sz="quarter" idx="17"/>
          </p:nvPr>
        </p:nvSpPr>
        <p:spPr>
          <a:xfrm>
            <a:off x="6208742" y="0"/>
            <a:ext cx="5983258" cy="6235700"/>
          </a:xfrm>
          <a:solidFill>
            <a:schemeClr val="bg2"/>
          </a:solidFill>
        </p:spPr>
        <p:txBody>
          <a:bodyPr tIns="2468880"/>
          <a:lstStyle>
            <a:lvl1pPr algn="ctr">
              <a:defRPr/>
            </a:lvl1pPr>
          </a:lstStyle>
          <a:p>
            <a:r>
              <a:rPr lang="en-US"/>
              <a:t>Click icon to add picture</a:t>
            </a:r>
          </a:p>
        </p:txBody>
      </p:sp>
      <p:pic>
        <p:nvPicPr>
          <p:cNvPr id="9" name="Picture 8">
            <a:extLst>
              <a:ext uri="{FF2B5EF4-FFF2-40B4-BE49-F238E27FC236}">
                <a16:creationId xmlns:a16="http://schemas.microsoft.com/office/drawing/2014/main" id="{A6DCCD5D-2EBA-0247-95CF-0D7D7C946A5D}"/>
              </a:ext>
            </a:extLst>
          </p:cNvPr>
          <p:cNvPicPr>
            <a:picLocks noChangeAspect="1"/>
          </p:cNvPicPr>
          <p:nvPr userDrawn="1"/>
        </p:nvPicPr>
        <p:blipFill>
          <a:blip r:embed="rId3"/>
          <a:srcRect/>
          <a:stretch/>
        </p:blipFill>
        <p:spPr>
          <a:xfrm>
            <a:off x="472868" y="6412434"/>
            <a:ext cx="1497466" cy="285488"/>
          </a:xfrm>
          <a:prstGeom prst="rect">
            <a:avLst/>
          </a:prstGeom>
        </p:spPr>
      </p:pic>
    </p:spTree>
    <p:extLst>
      <p:ext uri="{BB962C8B-B14F-4D97-AF65-F5344CB8AC3E}">
        <p14:creationId xmlns:p14="http://schemas.microsoft.com/office/powerpoint/2010/main" val="422034657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_2_col_chart">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460496" y="1565274"/>
            <a:ext cx="5522763" cy="4460876"/>
          </a:xfrm>
          <a:prstGeom prst="rect">
            <a:avLst/>
          </a:prstGeo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hart Placeholder 8">
            <a:extLst>
              <a:ext uri="{FF2B5EF4-FFF2-40B4-BE49-F238E27FC236}">
                <a16:creationId xmlns:a16="http://schemas.microsoft.com/office/drawing/2014/main" id="{1585AACF-AC15-EB44-8BF3-EECB215C745A}"/>
              </a:ext>
            </a:extLst>
          </p:cNvPr>
          <p:cNvSpPr>
            <a:spLocks noGrp="1"/>
          </p:cNvSpPr>
          <p:nvPr>
            <p:ph type="chart" sz="quarter" idx="14"/>
          </p:nvPr>
        </p:nvSpPr>
        <p:spPr>
          <a:xfrm>
            <a:off x="6208742" y="1565276"/>
            <a:ext cx="5518000" cy="4670425"/>
          </a:xfrm>
          <a:noFill/>
        </p:spPr>
        <p:txBody>
          <a:bodyPr tIns="1645920"/>
          <a:lstStyle>
            <a:lvl1pPr algn="ctr">
              <a:defRPr/>
            </a:lvl1pPr>
          </a:lstStyle>
          <a:p>
            <a:r>
              <a:rPr lang="en-US"/>
              <a:t>Click icon to add chart</a:t>
            </a:r>
          </a:p>
        </p:txBody>
      </p:sp>
      <p:sp>
        <p:nvSpPr>
          <p:cNvPr id="2" name="Title 1">
            <a:extLst>
              <a:ext uri="{FF2B5EF4-FFF2-40B4-BE49-F238E27FC236}">
                <a16:creationId xmlns:a16="http://schemas.microsoft.com/office/drawing/2014/main" id="{36B9485F-2504-DB4F-8986-733F6BB66059}"/>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2C4FED05-9541-9E43-A9E9-F7AF3202050C}"/>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BA07E0CD-95EC-D64B-A5B4-7E6A4305F38C}"/>
              </a:ext>
            </a:extLst>
          </p:cNvPr>
          <p:cNvSpPr>
            <a:spLocks noGrp="1"/>
          </p:cNvSpPr>
          <p:nvPr>
            <p:ph type="sldNum" sz="quarter" idx="16"/>
          </p:nvPr>
        </p:nvSpPr>
        <p:spPr/>
        <p:txBody>
          <a:bodyPr/>
          <a:lstStyle/>
          <a:p>
            <a:pPr lvl="8"/>
            <a:fld id="{1E3D5677-3D20-0C46-8497-54D73E689044}" type="slidenum">
              <a:rPr lang="en-US"/>
              <a:pPr lvl="8"/>
              <a:t>‹#›</a:t>
            </a:fld>
            <a:endParaRPr lang="en-US"/>
          </a:p>
        </p:txBody>
      </p:sp>
      <p:pic>
        <p:nvPicPr>
          <p:cNvPr id="8" name="Picture 7">
            <a:extLst>
              <a:ext uri="{FF2B5EF4-FFF2-40B4-BE49-F238E27FC236}">
                <a16:creationId xmlns:a16="http://schemas.microsoft.com/office/drawing/2014/main" id="{01ADDD1B-B2E0-484A-BC70-D63ABDE0D7F1}"/>
              </a:ext>
            </a:extLst>
          </p:cNvPr>
          <p:cNvPicPr>
            <a:picLocks noChangeAspect="1"/>
          </p:cNvPicPr>
          <p:nvPr userDrawn="1"/>
        </p:nvPicPr>
        <p:blipFill>
          <a:blip r:embed="rId2"/>
          <a:srcRect/>
          <a:stretch/>
        </p:blipFill>
        <p:spPr>
          <a:xfrm>
            <a:off x="472868" y="6412434"/>
            <a:ext cx="1497466" cy="285488"/>
          </a:xfrm>
          <a:prstGeom prst="rect">
            <a:avLst/>
          </a:prstGeom>
        </p:spPr>
      </p:pic>
      <p:sp>
        <p:nvSpPr>
          <p:cNvPr id="11" name="Text Placeholder 6">
            <a:extLst>
              <a:ext uri="{FF2B5EF4-FFF2-40B4-BE49-F238E27FC236}">
                <a16:creationId xmlns:a16="http://schemas.microsoft.com/office/drawing/2014/main" id="{7AFEAAA4-A6C0-524F-B014-1359A37D24B6}"/>
              </a:ext>
            </a:extLst>
          </p:cNvPr>
          <p:cNvSpPr>
            <a:spLocks noGrp="1"/>
          </p:cNvSpPr>
          <p:nvPr>
            <p:ph type="body" sz="quarter" idx="19" hasCustomPrompt="1"/>
          </p:nvPr>
        </p:nvSpPr>
        <p:spPr>
          <a:xfrm>
            <a:off x="460496" y="6026150"/>
            <a:ext cx="5522763" cy="209550"/>
          </a:xfrm>
          <a:prstGeom prst="rect">
            <a:avLst/>
          </a:prstGeom>
        </p:spPr>
        <p:txBody>
          <a:bodyPr tIns="0" rIns="2560320">
            <a:noAutofit/>
          </a:bodyPr>
          <a:lstStyle>
            <a:lvl1pPr>
              <a:spcAft>
                <a:spcPts val="900"/>
              </a:spcAft>
              <a:defRPr sz="1000">
                <a:solidFill>
                  <a:schemeClr val="tx2"/>
                </a:solidFill>
              </a:defRPr>
            </a:lvl1pPr>
            <a:lvl2pPr>
              <a:spcAft>
                <a:spcPts val="900"/>
              </a:spcAft>
              <a:defRPr sz="1000" b="0">
                <a:solidFill>
                  <a:schemeClr val="tx2"/>
                </a:solidFill>
              </a:defRPr>
            </a:lvl2pPr>
            <a:lvl3pPr marL="0" indent="0">
              <a:spcAft>
                <a:spcPts val="900"/>
              </a:spcAft>
              <a:buFontTx/>
              <a:buNone/>
              <a:defRPr sz="1000">
                <a:solidFill>
                  <a:schemeClr val="tx2"/>
                </a:solidFill>
              </a:defRPr>
            </a:lvl3pPr>
            <a:lvl4pPr marL="0" indent="0">
              <a:spcAft>
                <a:spcPts val="900"/>
              </a:spcAft>
              <a:buFontTx/>
              <a:buNone/>
              <a:defRPr sz="1000">
                <a:solidFill>
                  <a:schemeClr val="tx2"/>
                </a:solidFill>
              </a:defRPr>
            </a:lvl4pPr>
            <a:lvl5pPr marL="22" indent="0">
              <a:spcAft>
                <a:spcPts val="900"/>
              </a:spcAft>
              <a:buFontTx/>
              <a:buNone/>
              <a:defRPr sz="1000">
                <a:solidFill>
                  <a:schemeClr val="tx2"/>
                </a:solidFill>
              </a:defRPr>
            </a:lvl5pPr>
            <a:lvl6pPr marL="0" indent="0">
              <a:spcAft>
                <a:spcPts val="900"/>
              </a:spcAft>
              <a:buFontTx/>
              <a:buNone/>
              <a:defRPr sz="1000">
                <a:solidFill>
                  <a:schemeClr val="tx2"/>
                </a:solidFill>
              </a:defRPr>
            </a:lvl6pPr>
            <a:lvl7pPr marL="0" indent="0">
              <a:spcAft>
                <a:spcPts val="900"/>
              </a:spcAft>
              <a:buFontTx/>
              <a:buNone/>
              <a:defRPr sz="1000">
                <a:solidFill>
                  <a:schemeClr val="tx2"/>
                </a:solidFill>
              </a:defRPr>
            </a:lvl7pPr>
            <a:lvl8pPr marL="0" indent="0">
              <a:spcAft>
                <a:spcPts val="900"/>
              </a:spcAft>
              <a:buFontTx/>
              <a:buNone/>
              <a:defRPr sz="1000">
                <a:solidFill>
                  <a:schemeClr val="tx2"/>
                </a:solidFill>
              </a:defRPr>
            </a:lvl8pPr>
            <a:lvl9pPr marL="0" indent="0">
              <a:spcAft>
                <a:spcPts val="900"/>
              </a:spcAft>
              <a:buFontTx/>
              <a:buNone/>
              <a:defRPr sz="100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24289429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_2_col_tab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460496" y="1565274"/>
            <a:ext cx="5522763" cy="4460876"/>
          </a:xfrm>
          <a:prstGeom prst="rect">
            <a:avLst/>
          </a:prstGeo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able Placeholder 8">
            <a:extLst>
              <a:ext uri="{FF2B5EF4-FFF2-40B4-BE49-F238E27FC236}">
                <a16:creationId xmlns:a16="http://schemas.microsoft.com/office/drawing/2014/main" id="{A405BF37-0F3C-A14F-A431-C0CF9B469A56}"/>
              </a:ext>
            </a:extLst>
          </p:cNvPr>
          <p:cNvSpPr>
            <a:spLocks noGrp="1"/>
          </p:cNvSpPr>
          <p:nvPr>
            <p:ph type="tbl" sz="quarter" idx="14"/>
          </p:nvPr>
        </p:nvSpPr>
        <p:spPr>
          <a:xfrm>
            <a:off x="6205566" y="1565276"/>
            <a:ext cx="5521175" cy="4670425"/>
          </a:xfrm>
          <a:noFill/>
        </p:spPr>
        <p:txBody>
          <a:bodyPr tIns="1645920"/>
          <a:lstStyle>
            <a:lvl1pPr algn="ctr">
              <a:defRPr/>
            </a:lvl1pPr>
          </a:lstStyle>
          <a:p>
            <a:r>
              <a:rPr lang="en-US"/>
              <a:t>Click icon to add table</a:t>
            </a:r>
          </a:p>
        </p:txBody>
      </p:sp>
      <p:sp>
        <p:nvSpPr>
          <p:cNvPr id="3" name="Title 2">
            <a:extLst>
              <a:ext uri="{FF2B5EF4-FFF2-40B4-BE49-F238E27FC236}">
                <a16:creationId xmlns:a16="http://schemas.microsoft.com/office/drawing/2014/main" id="{1E9980FA-94D4-B744-940F-1762A1F81745}"/>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E0894DC5-8B7A-D745-80AC-D8096EFBBC6B}"/>
              </a:ext>
            </a:extLst>
          </p:cNvPr>
          <p:cNvSpPr>
            <a:spLocks noGrp="1"/>
          </p:cNvSpPr>
          <p:nvPr>
            <p:ph type="ftr" sz="quarter" idx="15"/>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568CDEB6-DE13-5C42-9BA8-E0881A57A46E}"/>
              </a:ext>
            </a:extLst>
          </p:cNvPr>
          <p:cNvSpPr>
            <a:spLocks noGrp="1"/>
          </p:cNvSpPr>
          <p:nvPr>
            <p:ph type="sldNum" sz="quarter" idx="16"/>
          </p:nvPr>
        </p:nvSpPr>
        <p:spPr/>
        <p:txBody>
          <a:bodyPr/>
          <a:lstStyle/>
          <a:p>
            <a:pPr lvl="8"/>
            <a:fld id="{1E3D5677-3D20-0C46-8497-54D73E689044}" type="slidenum">
              <a:rPr lang="en-US"/>
              <a:pPr lvl="8"/>
              <a:t>‹#›</a:t>
            </a:fld>
            <a:endParaRPr lang="en-US"/>
          </a:p>
        </p:txBody>
      </p:sp>
      <p:pic>
        <p:nvPicPr>
          <p:cNvPr id="8" name="Picture 7">
            <a:extLst>
              <a:ext uri="{FF2B5EF4-FFF2-40B4-BE49-F238E27FC236}">
                <a16:creationId xmlns:a16="http://schemas.microsoft.com/office/drawing/2014/main" id="{0F2219F4-1FA5-1F4B-BD74-14CB3B45A46E}"/>
              </a:ext>
            </a:extLst>
          </p:cNvPr>
          <p:cNvPicPr>
            <a:picLocks noChangeAspect="1"/>
          </p:cNvPicPr>
          <p:nvPr userDrawn="1"/>
        </p:nvPicPr>
        <p:blipFill>
          <a:blip r:embed="rId2"/>
          <a:srcRect/>
          <a:stretch/>
        </p:blipFill>
        <p:spPr>
          <a:xfrm>
            <a:off x="472868" y="6412434"/>
            <a:ext cx="1497466" cy="285488"/>
          </a:xfrm>
          <a:prstGeom prst="rect">
            <a:avLst/>
          </a:prstGeom>
        </p:spPr>
      </p:pic>
      <p:sp>
        <p:nvSpPr>
          <p:cNvPr id="10" name="Text Placeholder 6">
            <a:extLst>
              <a:ext uri="{FF2B5EF4-FFF2-40B4-BE49-F238E27FC236}">
                <a16:creationId xmlns:a16="http://schemas.microsoft.com/office/drawing/2014/main" id="{88FD6382-9987-AD42-A0B6-F99B6DBA11E4}"/>
              </a:ext>
            </a:extLst>
          </p:cNvPr>
          <p:cNvSpPr>
            <a:spLocks noGrp="1"/>
          </p:cNvSpPr>
          <p:nvPr>
            <p:ph type="body" sz="quarter" idx="19" hasCustomPrompt="1"/>
          </p:nvPr>
        </p:nvSpPr>
        <p:spPr>
          <a:xfrm>
            <a:off x="460496" y="6026150"/>
            <a:ext cx="5522763" cy="209550"/>
          </a:xfrm>
          <a:prstGeom prst="rect">
            <a:avLst/>
          </a:prstGeom>
        </p:spPr>
        <p:txBody>
          <a:bodyPr tIns="0" rIns="2560320">
            <a:noAutofit/>
          </a:bodyPr>
          <a:lstStyle>
            <a:lvl1pPr>
              <a:spcAft>
                <a:spcPts val="900"/>
              </a:spcAft>
              <a:defRPr sz="1000">
                <a:solidFill>
                  <a:schemeClr val="tx2"/>
                </a:solidFill>
              </a:defRPr>
            </a:lvl1pPr>
            <a:lvl2pPr>
              <a:spcAft>
                <a:spcPts val="900"/>
              </a:spcAft>
              <a:defRPr sz="1000" b="0">
                <a:solidFill>
                  <a:schemeClr val="tx2"/>
                </a:solidFill>
              </a:defRPr>
            </a:lvl2pPr>
            <a:lvl3pPr marL="0" indent="0">
              <a:spcAft>
                <a:spcPts val="900"/>
              </a:spcAft>
              <a:buFontTx/>
              <a:buNone/>
              <a:defRPr sz="1000">
                <a:solidFill>
                  <a:schemeClr val="tx2"/>
                </a:solidFill>
              </a:defRPr>
            </a:lvl3pPr>
            <a:lvl4pPr marL="0" indent="0">
              <a:spcAft>
                <a:spcPts val="900"/>
              </a:spcAft>
              <a:buFontTx/>
              <a:buNone/>
              <a:defRPr sz="1000">
                <a:solidFill>
                  <a:schemeClr val="tx2"/>
                </a:solidFill>
              </a:defRPr>
            </a:lvl4pPr>
            <a:lvl5pPr marL="22" indent="0">
              <a:spcAft>
                <a:spcPts val="900"/>
              </a:spcAft>
              <a:buFontTx/>
              <a:buNone/>
              <a:defRPr sz="1000">
                <a:solidFill>
                  <a:schemeClr val="tx2"/>
                </a:solidFill>
              </a:defRPr>
            </a:lvl5pPr>
            <a:lvl6pPr marL="0" indent="0">
              <a:spcAft>
                <a:spcPts val="900"/>
              </a:spcAft>
              <a:buFontTx/>
              <a:buNone/>
              <a:defRPr sz="1000">
                <a:solidFill>
                  <a:schemeClr val="tx2"/>
                </a:solidFill>
              </a:defRPr>
            </a:lvl6pPr>
            <a:lvl7pPr marL="0" indent="0">
              <a:spcAft>
                <a:spcPts val="900"/>
              </a:spcAft>
              <a:buFontTx/>
              <a:buNone/>
              <a:defRPr sz="1000">
                <a:solidFill>
                  <a:schemeClr val="tx2"/>
                </a:solidFill>
              </a:defRPr>
            </a:lvl7pPr>
            <a:lvl8pPr marL="0" indent="0">
              <a:spcAft>
                <a:spcPts val="900"/>
              </a:spcAft>
              <a:buFontTx/>
              <a:buNone/>
              <a:defRPr sz="1000">
                <a:solidFill>
                  <a:schemeClr val="tx2"/>
                </a:solidFill>
              </a:defRPr>
            </a:lvl8pPr>
            <a:lvl9pPr marL="0" indent="0">
              <a:spcAft>
                <a:spcPts val="900"/>
              </a:spcAft>
              <a:buFontTx/>
              <a:buNone/>
              <a:defRPr sz="100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262078131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_3_column">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460495" y="1565274"/>
            <a:ext cx="3607740" cy="4460876"/>
          </a:xfrm>
          <a:prstGeom prst="rect">
            <a:avLst/>
          </a:prstGeo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0B58796C-0900-9A45-8B99-F3286607B6A5}"/>
              </a:ext>
            </a:extLst>
          </p:cNvPr>
          <p:cNvSpPr>
            <a:spLocks noGrp="1"/>
          </p:cNvSpPr>
          <p:nvPr>
            <p:ph type="body" sz="quarter" idx="14"/>
          </p:nvPr>
        </p:nvSpPr>
        <p:spPr>
          <a:xfrm>
            <a:off x="4298482" y="1565274"/>
            <a:ext cx="3601388" cy="4460876"/>
          </a:xfrm>
          <a:prstGeom prst="rect">
            <a:avLst/>
          </a:prstGeo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B10CEEE-44F4-A94D-887C-4BA6F4BD9C52}"/>
              </a:ext>
            </a:extLst>
          </p:cNvPr>
          <p:cNvSpPr>
            <a:spLocks noGrp="1"/>
          </p:cNvSpPr>
          <p:nvPr>
            <p:ph type="body" sz="quarter" idx="15"/>
          </p:nvPr>
        </p:nvSpPr>
        <p:spPr>
          <a:xfrm>
            <a:off x="8130118" y="1565274"/>
            <a:ext cx="3596624" cy="4460876"/>
          </a:xfrm>
          <a:prstGeom prst="rect">
            <a:avLst/>
          </a:prstGeo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39941B34-2ABC-8743-A1B0-F7820104DF6A}"/>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BCE3536D-2915-5449-B38E-6C7E34FF6BC4}"/>
              </a:ext>
            </a:extLst>
          </p:cNvPr>
          <p:cNvSpPr>
            <a:spLocks noGrp="1"/>
          </p:cNvSpPr>
          <p:nvPr>
            <p:ph type="ftr" sz="quarter" idx="16"/>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378C7ADC-D6FA-FF4F-B56A-83A137D17296}"/>
              </a:ext>
            </a:extLst>
          </p:cNvPr>
          <p:cNvSpPr>
            <a:spLocks noGrp="1"/>
          </p:cNvSpPr>
          <p:nvPr>
            <p:ph type="sldNum" sz="quarter" idx="17"/>
          </p:nvPr>
        </p:nvSpPr>
        <p:spPr/>
        <p:txBody>
          <a:bodyPr/>
          <a:lstStyle/>
          <a:p>
            <a:pPr lvl="8"/>
            <a:fld id="{1E3D5677-3D20-0C46-8497-54D73E689044}" type="slidenum">
              <a:rPr lang="en-US"/>
              <a:pPr lvl="8"/>
              <a:t>‹#›</a:t>
            </a:fld>
            <a:endParaRPr lang="en-US"/>
          </a:p>
        </p:txBody>
      </p:sp>
      <p:pic>
        <p:nvPicPr>
          <p:cNvPr id="12" name="Picture 11">
            <a:extLst>
              <a:ext uri="{FF2B5EF4-FFF2-40B4-BE49-F238E27FC236}">
                <a16:creationId xmlns:a16="http://schemas.microsoft.com/office/drawing/2014/main" id="{A3D9A816-8860-4448-B961-A8AB4320C38A}"/>
              </a:ext>
            </a:extLst>
          </p:cNvPr>
          <p:cNvPicPr>
            <a:picLocks noChangeAspect="1"/>
          </p:cNvPicPr>
          <p:nvPr userDrawn="1"/>
        </p:nvPicPr>
        <p:blipFill>
          <a:blip r:embed="rId2"/>
          <a:srcRect/>
          <a:stretch/>
        </p:blipFill>
        <p:spPr>
          <a:xfrm>
            <a:off x="472868" y="6412434"/>
            <a:ext cx="1497466" cy="285488"/>
          </a:xfrm>
          <a:prstGeom prst="rect">
            <a:avLst/>
          </a:prstGeom>
        </p:spPr>
      </p:pic>
      <p:sp>
        <p:nvSpPr>
          <p:cNvPr id="13" name="Text Placeholder 6">
            <a:extLst>
              <a:ext uri="{FF2B5EF4-FFF2-40B4-BE49-F238E27FC236}">
                <a16:creationId xmlns:a16="http://schemas.microsoft.com/office/drawing/2014/main" id="{08B7C91C-6D62-514E-9084-FFFBBCE36888}"/>
              </a:ext>
            </a:extLst>
          </p:cNvPr>
          <p:cNvSpPr>
            <a:spLocks noGrp="1"/>
          </p:cNvSpPr>
          <p:nvPr>
            <p:ph type="body" sz="quarter" idx="19" hasCustomPrompt="1"/>
          </p:nvPr>
        </p:nvSpPr>
        <p:spPr>
          <a:xfrm>
            <a:off x="460495" y="6026150"/>
            <a:ext cx="11266247" cy="209550"/>
          </a:xfrm>
          <a:prstGeom prst="rect">
            <a:avLst/>
          </a:prstGeom>
        </p:spPr>
        <p:txBody>
          <a:bodyPr tIns="0" rIns="2560320">
            <a:noAutofit/>
          </a:bodyPr>
          <a:lstStyle>
            <a:lvl1pPr>
              <a:spcAft>
                <a:spcPts val="900"/>
              </a:spcAft>
              <a:defRPr sz="1000">
                <a:solidFill>
                  <a:schemeClr val="tx2"/>
                </a:solidFill>
              </a:defRPr>
            </a:lvl1pPr>
            <a:lvl2pPr>
              <a:spcAft>
                <a:spcPts val="900"/>
              </a:spcAft>
              <a:defRPr sz="1000" b="0">
                <a:solidFill>
                  <a:schemeClr val="tx2"/>
                </a:solidFill>
              </a:defRPr>
            </a:lvl2pPr>
            <a:lvl3pPr marL="0" indent="0">
              <a:spcAft>
                <a:spcPts val="900"/>
              </a:spcAft>
              <a:buFontTx/>
              <a:buNone/>
              <a:defRPr sz="1000">
                <a:solidFill>
                  <a:schemeClr val="tx2"/>
                </a:solidFill>
              </a:defRPr>
            </a:lvl3pPr>
            <a:lvl4pPr marL="0" indent="0">
              <a:spcAft>
                <a:spcPts val="900"/>
              </a:spcAft>
              <a:buFontTx/>
              <a:buNone/>
              <a:defRPr sz="1000">
                <a:solidFill>
                  <a:schemeClr val="tx2"/>
                </a:solidFill>
              </a:defRPr>
            </a:lvl4pPr>
            <a:lvl5pPr marL="22" indent="0">
              <a:spcAft>
                <a:spcPts val="900"/>
              </a:spcAft>
              <a:buFontTx/>
              <a:buNone/>
              <a:defRPr sz="1000">
                <a:solidFill>
                  <a:schemeClr val="tx2"/>
                </a:solidFill>
              </a:defRPr>
            </a:lvl5pPr>
            <a:lvl6pPr marL="0" indent="0">
              <a:spcAft>
                <a:spcPts val="900"/>
              </a:spcAft>
              <a:buFontTx/>
              <a:buNone/>
              <a:defRPr sz="1000">
                <a:solidFill>
                  <a:schemeClr val="tx2"/>
                </a:solidFill>
              </a:defRPr>
            </a:lvl6pPr>
            <a:lvl7pPr marL="0" indent="0">
              <a:spcAft>
                <a:spcPts val="900"/>
              </a:spcAft>
              <a:buFontTx/>
              <a:buNone/>
              <a:defRPr sz="1000">
                <a:solidFill>
                  <a:schemeClr val="tx2"/>
                </a:solidFill>
              </a:defRPr>
            </a:lvl7pPr>
            <a:lvl8pPr marL="0" indent="0">
              <a:spcAft>
                <a:spcPts val="900"/>
              </a:spcAft>
              <a:buFontTx/>
              <a:buNone/>
              <a:defRPr sz="1000">
                <a:solidFill>
                  <a:schemeClr val="tx2"/>
                </a:solidFill>
              </a:defRPr>
            </a:lvl8pPr>
            <a:lvl9pPr marL="0" indent="0">
              <a:spcAft>
                <a:spcPts val="900"/>
              </a:spcAft>
              <a:buFontTx/>
              <a:buNone/>
              <a:defRPr sz="100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346218368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full_image_headline">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A613816-4C81-B643-BB57-8793025BDCD0}"/>
              </a:ext>
            </a:extLst>
          </p:cNvPr>
          <p:cNvSpPr>
            <a:spLocks noGrp="1"/>
          </p:cNvSpPr>
          <p:nvPr>
            <p:ph type="pic" sz="quarter" idx="14" hasCustomPrompt="1"/>
          </p:nvPr>
        </p:nvSpPr>
        <p:spPr>
          <a:xfrm>
            <a:off x="1" y="1565276"/>
            <a:ext cx="12192000" cy="4670425"/>
          </a:xfrm>
          <a:prstGeom prst="rect">
            <a:avLst/>
          </a:prstGeom>
          <a:solidFill>
            <a:schemeClr val="bg2"/>
          </a:solidFill>
        </p:spPr>
        <p:txBody>
          <a:bodyPr tIns="2560320"/>
          <a:lstStyle>
            <a:lvl1pPr algn="ctr">
              <a:defRPr/>
            </a:lvl1pPr>
          </a:lstStyle>
          <a:p>
            <a:r>
              <a:rPr lang="en-US"/>
              <a:t>click</a:t>
            </a:r>
          </a:p>
        </p:txBody>
      </p:sp>
      <p:sp>
        <p:nvSpPr>
          <p:cNvPr id="2" name="Title 1">
            <a:extLst>
              <a:ext uri="{FF2B5EF4-FFF2-40B4-BE49-F238E27FC236}">
                <a16:creationId xmlns:a16="http://schemas.microsoft.com/office/drawing/2014/main" id="{823588A2-6DC7-F544-BC62-67B9BBAF51B8}"/>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DF18FA52-93AF-3647-8BCD-E2708C28996C}"/>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6436DAE5-69C4-904C-8E82-99AB49AF26D5}"/>
              </a:ext>
            </a:extLst>
          </p:cNvPr>
          <p:cNvSpPr>
            <a:spLocks noGrp="1"/>
          </p:cNvSpPr>
          <p:nvPr>
            <p:ph type="sldNum" sz="quarter" idx="16"/>
          </p:nvPr>
        </p:nvSpPr>
        <p:spPr/>
        <p:txBody>
          <a:bodyPr/>
          <a:lstStyle/>
          <a:p>
            <a:pPr lvl="8"/>
            <a:fld id="{1E3D5677-3D20-0C46-8497-54D73E689044}" type="slidenum">
              <a:rPr lang="en-US"/>
              <a:pPr lvl="8"/>
              <a:t>‹#›</a:t>
            </a:fld>
            <a:endParaRPr lang="en-US"/>
          </a:p>
        </p:txBody>
      </p:sp>
      <p:pic>
        <p:nvPicPr>
          <p:cNvPr id="7" name="Picture 6">
            <a:extLst>
              <a:ext uri="{FF2B5EF4-FFF2-40B4-BE49-F238E27FC236}">
                <a16:creationId xmlns:a16="http://schemas.microsoft.com/office/drawing/2014/main" id="{287CDC3E-AEFF-D84C-B380-C06A705ED77D}"/>
              </a:ext>
            </a:extLst>
          </p:cNvPr>
          <p:cNvPicPr>
            <a:picLocks noChangeAspect="1"/>
          </p:cNvPicPr>
          <p:nvPr userDrawn="1"/>
        </p:nvPicPr>
        <p:blipFill>
          <a:blip r:embed="rId2"/>
          <a:srcRect/>
          <a:stretch/>
        </p:blipFill>
        <p:spPr>
          <a:xfrm>
            <a:off x="472868" y="6412434"/>
            <a:ext cx="1497466" cy="285488"/>
          </a:xfrm>
          <a:prstGeom prst="rect">
            <a:avLst/>
          </a:prstGeom>
        </p:spPr>
      </p:pic>
    </p:spTree>
    <p:extLst>
      <p:ext uri="{BB962C8B-B14F-4D97-AF65-F5344CB8AC3E}">
        <p14:creationId xmlns:p14="http://schemas.microsoft.com/office/powerpoint/2010/main" val="211082747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mages_2">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A613816-4C81-B643-BB57-8793025BDCD0}"/>
              </a:ext>
            </a:extLst>
          </p:cNvPr>
          <p:cNvSpPr>
            <a:spLocks noGrp="1"/>
          </p:cNvSpPr>
          <p:nvPr>
            <p:ph type="pic" sz="quarter" idx="14" hasCustomPrompt="1"/>
          </p:nvPr>
        </p:nvSpPr>
        <p:spPr>
          <a:xfrm>
            <a:off x="460495" y="1565276"/>
            <a:ext cx="5522764" cy="4670425"/>
          </a:xfrm>
          <a:prstGeom prst="rect">
            <a:avLst/>
          </a:prstGeom>
          <a:solidFill>
            <a:schemeClr val="bg2"/>
          </a:solidFill>
        </p:spPr>
        <p:txBody>
          <a:bodyPr tIns="2560320"/>
          <a:lstStyle>
            <a:lvl1pPr algn="ctr">
              <a:defRPr/>
            </a:lvl1pPr>
          </a:lstStyle>
          <a:p>
            <a:r>
              <a:rPr lang="en-US"/>
              <a:t>click</a:t>
            </a:r>
          </a:p>
        </p:txBody>
      </p:sp>
      <p:sp>
        <p:nvSpPr>
          <p:cNvPr id="2" name="Title 1">
            <a:extLst>
              <a:ext uri="{FF2B5EF4-FFF2-40B4-BE49-F238E27FC236}">
                <a16:creationId xmlns:a16="http://schemas.microsoft.com/office/drawing/2014/main" id="{823588A2-6DC7-F544-BC62-67B9BBAF51B8}"/>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DF18FA52-93AF-3647-8BCD-E2708C28996C}"/>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6436DAE5-69C4-904C-8E82-99AB49AF26D5}"/>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7" name="Picture Placeholder 9">
            <a:extLst>
              <a:ext uri="{FF2B5EF4-FFF2-40B4-BE49-F238E27FC236}">
                <a16:creationId xmlns:a16="http://schemas.microsoft.com/office/drawing/2014/main" id="{1A70471A-2483-834A-B4BF-95CCD4F1DDD8}"/>
              </a:ext>
            </a:extLst>
          </p:cNvPr>
          <p:cNvSpPr>
            <a:spLocks noGrp="1"/>
          </p:cNvSpPr>
          <p:nvPr>
            <p:ph type="pic" sz="quarter" idx="17" hasCustomPrompt="1"/>
          </p:nvPr>
        </p:nvSpPr>
        <p:spPr>
          <a:xfrm>
            <a:off x="6208742" y="1565276"/>
            <a:ext cx="5519585" cy="4670425"/>
          </a:xfrm>
          <a:prstGeom prst="rect">
            <a:avLst/>
          </a:prstGeom>
          <a:solidFill>
            <a:schemeClr val="bg2"/>
          </a:solidFill>
        </p:spPr>
        <p:txBody>
          <a:bodyPr tIns="2560320"/>
          <a:lstStyle>
            <a:lvl1pPr algn="ctr">
              <a:defRPr/>
            </a:lvl1pPr>
          </a:lstStyle>
          <a:p>
            <a:r>
              <a:rPr lang="en-US"/>
              <a:t>click</a:t>
            </a:r>
          </a:p>
        </p:txBody>
      </p:sp>
      <p:pic>
        <p:nvPicPr>
          <p:cNvPr id="8" name="Picture 7">
            <a:extLst>
              <a:ext uri="{FF2B5EF4-FFF2-40B4-BE49-F238E27FC236}">
                <a16:creationId xmlns:a16="http://schemas.microsoft.com/office/drawing/2014/main" id="{9C37716F-CBF0-6B4A-95C1-AFC870CA0585}"/>
              </a:ext>
            </a:extLst>
          </p:cNvPr>
          <p:cNvPicPr>
            <a:picLocks noChangeAspect="1"/>
          </p:cNvPicPr>
          <p:nvPr userDrawn="1"/>
        </p:nvPicPr>
        <p:blipFill>
          <a:blip r:embed="rId2"/>
          <a:srcRect/>
          <a:stretch/>
        </p:blipFill>
        <p:spPr>
          <a:xfrm>
            <a:off x="472868" y="6412434"/>
            <a:ext cx="1497466" cy="285488"/>
          </a:xfrm>
          <a:prstGeom prst="rect">
            <a:avLst/>
          </a:prstGeom>
        </p:spPr>
      </p:pic>
    </p:spTree>
    <p:extLst>
      <p:ext uri="{BB962C8B-B14F-4D97-AF65-F5344CB8AC3E}">
        <p14:creationId xmlns:p14="http://schemas.microsoft.com/office/powerpoint/2010/main" val="206011803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images_3">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A613816-4C81-B643-BB57-8793025BDCD0}"/>
              </a:ext>
            </a:extLst>
          </p:cNvPr>
          <p:cNvSpPr>
            <a:spLocks noGrp="1"/>
          </p:cNvSpPr>
          <p:nvPr>
            <p:ph type="pic" sz="quarter" idx="14" hasCustomPrompt="1"/>
          </p:nvPr>
        </p:nvSpPr>
        <p:spPr>
          <a:xfrm>
            <a:off x="472868" y="1565276"/>
            <a:ext cx="3595366" cy="4670425"/>
          </a:xfrm>
          <a:prstGeom prst="rect">
            <a:avLst/>
          </a:prstGeom>
          <a:solidFill>
            <a:schemeClr val="bg2"/>
          </a:solidFill>
        </p:spPr>
        <p:txBody>
          <a:bodyPr tIns="2560320"/>
          <a:lstStyle>
            <a:lvl1pPr algn="ctr">
              <a:defRPr/>
            </a:lvl1pPr>
          </a:lstStyle>
          <a:p>
            <a:r>
              <a:rPr lang="en-US"/>
              <a:t>click</a:t>
            </a:r>
          </a:p>
        </p:txBody>
      </p:sp>
      <p:sp>
        <p:nvSpPr>
          <p:cNvPr id="2" name="Title 1">
            <a:extLst>
              <a:ext uri="{FF2B5EF4-FFF2-40B4-BE49-F238E27FC236}">
                <a16:creationId xmlns:a16="http://schemas.microsoft.com/office/drawing/2014/main" id="{823588A2-6DC7-F544-BC62-67B9BBAF51B8}"/>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DF18FA52-93AF-3647-8BCD-E2708C28996C}"/>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6436DAE5-69C4-904C-8E82-99AB49AF26D5}"/>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7" name="Picture Placeholder 9">
            <a:extLst>
              <a:ext uri="{FF2B5EF4-FFF2-40B4-BE49-F238E27FC236}">
                <a16:creationId xmlns:a16="http://schemas.microsoft.com/office/drawing/2014/main" id="{385124E6-D0F8-E744-B48A-D494C141D162}"/>
              </a:ext>
            </a:extLst>
          </p:cNvPr>
          <p:cNvSpPr>
            <a:spLocks noGrp="1"/>
          </p:cNvSpPr>
          <p:nvPr>
            <p:ph type="pic" sz="quarter" idx="17" hasCustomPrompt="1"/>
          </p:nvPr>
        </p:nvSpPr>
        <p:spPr>
          <a:xfrm>
            <a:off x="4297521" y="1565276"/>
            <a:ext cx="3595366" cy="4670425"/>
          </a:xfrm>
          <a:prstGeom prst="rect">
            <a:avLst/>
          </a:prstGeom>
          <a:solidFill>
            <a:schemeClr val="bg2"/>
          </a:solidFill>
        </p:spPr>
        <p:txBody>
          <a:bodyPr tIns="2560320"/>
          <a:lstStyle>
            <a:lvl1pPr algn="ctr">
              <a:defRPr/>
            </a:lvl1pPr>
          </a:lstStyle>
          <a:p>
            <a:r>
              <a:rPr lang="en-US"/>
              <a:t>click</a:t>
            </a:r>
          </a:p>
        </p:txBody>
      </p:sp>
      <p:sp>
        <p:nvSpPr>
          <p:cNvPr id="8" name="Picture Placeholder 9">
            <a:extLst>
              <a:ext uri="{FF2B5EF4-FFF2-40B4-BE49-F238E27FC236}">
                <a16:creationId xmlns:a16="http://schemas.microsoft.com/office/drawing/2014/main" id="{6D8DB38B-B21C-F94B-A5B0-E4433CE38840}"/>
              </a:ext>
            </a:extLst>
          </p:cNvPr>
          <p:cNvSpPr>
            <a:spLocks noGrp="1"/>
          </p:cNvSpPr>
          <p:nvPr>
            <p:ph type="pic" sz="quarter" idx="18" hasCustomPrompt="1"/>
          </p:nvPr>
        </p:nvSpPr>
        <p:spPr>
          <a:xfrm>
            <a:off x="8132961" y="1565276"/>
            <a:ext cx="3595366" cy="4670425"/>
          </a:xfrm>
          <a:prstGeom prst="rect">
            <a:avLst/>
          </a:prstGeom>
          <a:solidFill>
            <a:schemeClr val="bg2"/>
          </a:solidFill>
        </p:spPr>
        <p:txBody>
          <a:bodyPr tIns="2560320"/>
          <a:lstStyle>
            <a:lvl1pPr algn="ctr">
              <a:defRPr/>
            </a:lvl1pPr>
          </a:lstStyle>
          <a:p>
            <a:r>
              <a:rPr lang="en-US"/>
              <a:t>click</a:t>
            </a:r>
          </a:p>
        </p:txBody>
      </p:sp>
      <p:pic>
        <p:nvPicPr>
          <p:cNvPr id="9" name="Picture 8">
            <a:extLst>
              <a:ext uri="{FF2B5EF4-FFF2-40B4-BE49-F238E27FC236}">
                <a16:creationId xmlns:a16="http://schemas.microsoft.com/office/drawing/2014/main" id="{6BA90363-822A-4646-9C56-179327AD3E7F}"/>
              </a:ext>
            </a:extLst>
          </p:cNvPr>
          <p:cNvPicPr>
            <a:picLocks noChangeAspect="1"/>
          </p:cNvPicPr>
          <p:nvPr userDrawn="1"/>
        </p:nvPicPr>
        <p:blipFill>
          <a:blip r:embed="rId2"/>
          <a:srcRect/>
          <a:stretch/>
        </p:blipFill>
        <p:spPr>
          <a:xfrm>
            <a:off x="472868" y="6412434"/>
            <a:ext cx="1497466" cy="285488"/>
          </a:xfrm>
          <a:prstGeom prst="rect">
            <a:avLst/>
          </a:prstGeom>
        </p:spPr>
      </p:pic>
    </p:spTree>
    <p:extLst>
      <p:ext uri="{BB962C8B-B14F-4D97-AF65-F5344CB8AC3E}">
        <p14:creationId xmlns:p14="http://schemas.microsoft.com/office/powerpoint/2010/main" val="3101478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images_6">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A613816-4C81-B643-BB57-8793025BDCD0}"/>
              </a:ext>
            </a:extLst>
          </p:cNvPr>
          <p:cNvSpPr>
            <a:spLocks noGrp="1"/>
          </p:cNvSpPr>
          <p:nvPr>
            <p:ph type="pic" sz="quarter" idx="14" hasCustomPrompt="1"/>
          </p:nvPr>
        </p:nvSpPr>
        <p:spPr>
          <a:xfrm>
            <a:off x="462083" y="1565277"/>
            <a:ext cx="3606152" cy="2222953"/>
          </a:xfrm>
          <a:prstGeom prst="rect">
            <a:avLst/>
          </a:prstGeom>
          <a:solidFill>
            <a:schemeClr val="bg2"/>
          </a:solidFill>
        </p:spPr>
        <p:txBody>
          <a:bodyPr tIns="1463040"/>
          <a:lstStyle>
            <a:lvl1pPr algn="ctr">
              <a:defRPr/>
            </a:lvl1pPr>
          </a:lstStyle>
          <a:p>
            <a:r>
              <a:rPr lang="en-US"/>
              <a:t>click</a:t>
            </a:r>
          </a:p>
        </p:txBody>
      </p:sp>
      <p:sp>
        <p:nvSpPr>
          <p:cNvPr id="2" name="Title 1">
            <a:extLst>
              <a:ext uri="{FF2B5EF4-FFF2-40B4-BE49-F238E27FC236}">
                <a16:creationId xmlns:a16="http://schemas.microsoft.com/office/drawing/2014/main" id="{823588A2-6DC7-F544-BC62-67B9BBAF51B8}"/>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DF18FA52-93AF-3647-8BCD-E2708C28996C}"/>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6436DAE5-69C4-904C-8E82-99AB49AF26D5}"/>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7" name="Picture Placeholder 9">
            <a:extLst>
              <a:ext uri="{FF2B5EF4-FFF2-40B4-BE49-F238E27FC236}">
                <a16:creationId xmlns:a16="http://schemas.microsoft.com/office/drawing/2014/main" id="{AE2D3C67-CB50-4444-AC96-54ECF13E9C8B}"/>
              </a:ext>
            </a:extLst>
          </p:cNvPr>
          <p:cNvSpPr>
            <a:spLocks noGrp="1"/>
          </p:cNvSpPr>
          <p:nvPr>
            <p:ph type="pic" sz="quarter" idx="17" hasCustomPrompt="1"/>
          </p:nvPr>
        </p:nvSpPr>
        <p:spPr>
          <a:xfrm>
            <a:off x="4292128" y="1565277"/>
            <a:ext cx="3606152" cy="2222953"/>
          </a:xfrm>
          <a:prstGeom prst="rect">
            <a:avLst/>
          </a:prstGeom>
          <a:solidFill>
            <a:schemeClr val="bg2"/>
          </a:solidFill>
        </p:spPr>
        <p:txBody>
          <a:bodyPr tIns="1463040"/>
          <a:lstStyle>
            <a:lvl1pPr algn="ctr">
              <a:defRPr/>
            </a:lvl1pPr>
          </a:lstStyle>
          <a:p>
            <a:r>
              <a:rPr lang="en-US"/>
              <a:t>click</a:t>
            </a:r>
          </a:p>
        </p:txBody>
      </p:sp>
      <p:sp>
        <p:nvSpPr>
          <p:cNvPr id="8" name="Picture Placeholder 9">
            <a:extLst>
              <a:ext uri="{FF2B5EF4-FFF2-40B4-BE49-F238E27FC236}">
                <a16:creationId xmlns:a16="http://schemas.microsoft.com/office/drawing/2014/main" id="{28E25CCF-07B7-A64E-83A7-2424DA426250}"/>
              </a:ext>
            </a:extLst>
          </p:cNvPr>
          <p:cNvSpPr>
            <a:spLocks noGrp="1"/>
          </p:cNvSpPr>
          <p:nvPr>
            <p:ph type="pic" sz="quarter" idx="18" hasCustomPrompt="1"/>
          </p:nvPr>
        </p:nvSpPr>
        <p:spPr>
          <a:xfrm>
            <a:off x="8125355" y="1565277"/>
            <a:ext cx="3606152" cy="2222953"/>
          </a:xfrm>
          <a:prstGeom prst="rect">
            <a:avLst/>
          </a:prstGeom>
          <a:solidFill>
            <a:schemeClr val="bg2"/>
          </a:solidFill>
        </p:spPr>
        <p:txBody>
          <a:bodyPr tIns="1463040"/>
          <a:lstStyle>
            <a:lvl1pPr algn="ctr">
              <a:defRPr/>
            </a:lvl1pPr>
          </a:lstStyle>
          <a:p>
            <a:r>
              <a:rPr lang="en-US"/>
              <a:t>click</a:t>
            </a:r>
          </a:p>
        </p:txBody>
      </p:sp>
      <p:sp>
        <p:nvSpPr>
          <p:cNvPr id="17" name="Picture Placeholder 9">
            <a:extLst>
              <a:ext uri="{FF2B5EF4-FFF2-40B4-BE49-F238E27FC236}">
                <a16:creationId xmlns:a16="http://schemas.microsoft.com/office/drawing/2014/main" id="{35C026E3-1BC8-C24D-A450-AC969ABE6473}"/>
              </a:ext>
            </a:extLst>
          </p:cNvPr>
          <p:cNvSpPr>
            <a:spLocks noGrp="1"/>
          </p:cNvSpPr>
          <p:nvPr>
            <p:ph type="pic" sz="quarter" idx="19" hasCustomPrompt="1"/>
          </p:nvPr>
        </p:nvSpPr>
        <p:spPr>
          <a:xfrm>
            <a:off x="462083" y="4018192"/>
            <a:ext cx="3606152" cy="2222953"/>
          </a:xfrm>
          <a:prstGeom prst="rect">
            <a:avLst/>
          </a:prstGeom>
          <a:solidFill>
            <a:schemeClr val="bg2"/>
          </a:solidFill>
        </p:spPr>
        <p:txBody>
          <a:bodyPr tIns="1463040"/>
          <a:lstStyle>
            <a:lvl1pPr algn="ctr">
              <a:defRPr/>
            </a:lvl1pPr>
          </a:lstStyle>
          <a:p>
            <a:r>
              <a:rPr lang="en-US"/>
              <a:t>click</a:t>
            </a:r>
          </a:p>
        </p:txBody>
      </p:sp>
      <p:sp>
        <p:nvSpPr>
          <p:cNvPr id="18" name="Picture Placeholder 9">
            <a:extLst>
              <a:ext uri="{FF2B5EF4-FFF2-40B4-BE49-F238E27FC236}">
                <a16:creationId xmlns:a16="http://schemas.microsoft.com/office/drawing/2014/main" id="{A785BD7F-3209-CB4A-92CB-453DC13D1433}"/>
              </a:ext>
            </a:extLst>
          </p:cNvPr>
          <p:cNvSpPr>
            <a:spLocks noGrp="1"/>
          </p:cNvSpPr>
          <p:nvPr>
            <p:ph type="pic" sz="quarter" idx="20" hasCustomPrompt="1"/>
          </p:nvPr>
        </p:nvSpPr>
        <p:spPr>
          <a:xfrm>
            <a:off x="4292128" y="4018192"/>
            <a:ext cx="3606152" cy="2222953"/>
          </a:xfrm>
          <a:prstGeom prst="rect">
            <a:avLst/>
          </a:prstGeom>
          <a:solidFill>
            <a:schemeClr val="bg2"/>
          </a:solidFill>
        </p:spPr>
        <p:txBody>
          <a:bodyPr tIns="1463040"/>
          <a:lstStyle>
            <a:lvl1pPr algn="ctr">
              <a:defRPr/>
            </a:lvl1pPr>
          </a:lstStyle>
          <a:p>
            <a:r>
              <a:rPr lang="en-US"/>
              <a:t>click</a:t>
            </a:r>
          </a:p>
        </p:txBody>
      </p:sp>
      <p:sp>
        <p:nvSpPr>
          <p:cNvPr id="19" name="Picture Placeholder 9">
            <a:extLst>
              <a:ext uri="{FF2B5EF4-FFF2-40B4-BE49-F238E27FC236}">
                <a16:creationId xmlns:a16="http://schemas.microsoft.com/office/drawing/2014/main" id="{67A901A0-E124-4641-8B3C-E8E4439FBACA}"/>
              </a:ext>
            </a:extLst>
          </p:cNvPr>
          <p:cNvSpPr>
            <a:spLocks noGrp="1"/>
          </p:cNvSpPr>
          <p:nvPr>
            <p:ph type="pic" sz="quarter" idx="21" hasCustomPrompt="1"/>
          </p:nvPr>
        </p:nvSpPr>
        <p:spPr>
          <a:xfrm>
            <a:off x="8125355" y="4018192"/>
            <a:ext cx="3606152" cy="2222953"/>
          </a:xfrm>
          <a:prstGeom prst="rect">
            <a:avLst/>
          </a:prstGeom>
          <a:solidFill>
            <a:schemeClr val="bg2"/>
          </a:solidFill>
        </p:spPr>
        <p:txBody>
          <a:bodyPr tIns="1463040"/>
          <a:lstStyle>
            <a:lvl1pPr algn="ctr">
              <a:defRPr/>
            </a:lvl1pPr>
          </a:lstStyle>
          <a:p>
            <a:r>
              <a:rPr lang="en-US"/>
              <a:t>click</a:t>
            </a:r>
          </a:p>
        </p:txBody>
      </p:sp>
      <p:pic>
        <p:nvPicPr>
          <p:cNvPr id="12" name="Picture 11">
            <a:extLst>
              <a:ext uri="{FF2B5EF4-FFF2-40B4-BE49-F238E27FC236}">
                <a16:creationId xmlns:a16="http://schemas.microsoft.com/office/drawing/2014/main" id="{2592BA57-38CF-8549-8F46-F016D52EFEE3}"/>
              </a:ext>
            </a:extLst>
          </p:cNvPr>
          <p:cNvPicPr>
            <a:picLocks noChangeAspect="1"/>
          </p:cNvPicPr>
          <p:nvPr userDrawn="1"/>
        </p:nvPicPr>
        <p:blipFill>
          <a:blip r:embed="rId2"/>
          <a:srcRect/>
          <a:stretch/>
        </p:blipFill>
        <p:spPr>
          <a:xfrm>
            <a:off x="472868" y="6412434"/>
            <a:ext cx="1497466" cy="285488"/>
          </a:xfrm>
          <a:prstGeom prst="rect">
            <a:avLst/>
          </a:prstGeom>
        </p:spPr>
      </p:pic>
    </p:spTree>
    <p:extLst>
      <p:ext uri="{BB962C8B-B14F-4D97-AF65-F5344CB8AC3E}">
        <p14:creationId xmlns:p14="http://schemas.microsoft.com/office/powerpoint/2010/main" val="124430349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_headline_only">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210939-2A1A-454B-A3D3-B5845856E4A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0EE17F03-CAA6-274E-B747-6A10AA01795F}"/>
              </a:ext>
            </a:extLst>
          </p:cNvPr>
          <p:cNvSpPr>
            <a:spLocks noGrp="1"/>
          </p:cNvSpPr>
          <p:nvPr>
            <p:ph type="ftr" sz="quarter" idx="10"/>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DFA6CD19-27E7-6640-8910-B592B689E475}"/>
              </a:ext>
            </a:extLst>
          </p:cNvPr>
          <p:cNvSpPr>
            <a:spLocks noGrp="1"/>
          </p:cNvSpPr>
          <p:nvPr>
            <p:ph type="sldNum" sz="quarter" idx="11"/>
          </p:nvPr>
        </p:nvSpPr>
        <p:spPr/>
        <p:txBody>
          <a:bodyPr/>
          <a:lstStyle/>
          <a:p>
            <a:pPr lvl="8"/>
            <a:fld id="{1E3D5677-3D20-0C46-8497-54D73E689044}" type="slidenum">
              <a:rPr lang="en-US"/>
              <a:pPr lvl="8"/>
              <a:t>‹#›</a:t>
            </a:fld>
            <a:endParaRPr lang="en-US"/>
          </a:p>
        </p:txBody>
      </p:sp>
      <p:pic>
        <p:nvPicPr>
          <p:cNvPr id="6" name="Picture 5">
            <a:extLst>
              <a:ext uri="{FF2B5EF4-FFF2-40B4-BE49-F238E27FC236}">
                <a16:creationId xmlns:a16="http://schemas.microsoft.com/office/drawing/2014/main" id="{0BA67DD1-C81D-E44B-ABB6-FCA1179278F7}"/>
              </a:ext>
            </a:extLst>
          </p:cNvPr>
          <p:cNvPicPr>
            <a:picLocks noChangeAspect="1"/>
          </p:cNvPicPr>
          <p:nvPr userDrawn="1"/>
        </p:nvPicPr>
        <p:blipFill>
          <a:blip r:embed="rId2"/>
          <a:srcRect/>
          <a:stretch/>
        </p:blipFill>
        <p:spPr>
          <a:xfrm>
            <a:off x="472868" y="6412434"/>
            <a:ext cx="1497466" cy="285488"/>
          </a:xfrm>
          <a:prstGeom prst="rect">
            <a:avLst/>
          </a:prstGeom>
        </p:spPr>
      </p:pic>
      <p:sp>
        <p:nvSpPr>
          <p:cNvPr id="7" name="Text Placeholder 6">
            <a:extLst>
              <a:ext uri="{FF2B5EF4-FFF2-40B4-BE49-F238E27FC236}">
                <a16:creationId xmlns:a16="http://schemas.microsoft.com/office/drawing/2014/main" id="{68C3A12C-4C53-C643-B254-4134FB831E23}"/>
              </a:ext>
            </a:extLst>
          </p:cNvPr>
          <p:cNvSpPr>
            <a:spLocks noGrp="1"/>
          </p:cNvSpPr>
          <p:nvPr>
            <p:ph type="body" sz="quarter" idx="19" hasCustomPrompt="1"/>
          </p:nvPr>
        </p:nvSpPr>
        <p:spPr>
          <a:xfrm>
            <a:off x="460495" y="6026150"/>
            <a:ext cx="11266247" cy="209550"/>
          </a:xfrm>
          <a:prstGeom prst="rect">
            <a:avLst/>
          </a:prstGeom>
        </p:spPr>
        <p:txBody>
          <a:bodyPr tIns="0" rIns="2560320">
            <a:noAutofit/>
          </a:bodyPr>
          <a:lstStyle>
            <a:lvl1pPr>
              <a:spcAft>
                <a:spcPts val="900"/>
              </a:spcAft>
              <a:defRPr sz="1000">
                <a:solidFill>
                  <a:schemeClr val="tx2"/>
                </a:solidFill>
              </a:defRPr>
            </a:lvl1pPr>
            <a:lvl2pPr>
              <a:spcAft>
                <a:spcPts val="900"/>
              </a:spcAft>
              <a:defRPr sz="1000" b="0">
                <a:solidFill>
                  <a:schemeClr val="tx2"/>
                </a:solidFill>
              </a:defRPr>
            </a:lvl2pPr>
            <a:lvl3pPr marL="0" indent="0">
              <a:spcAft>
                <a:spcPts val="900"/>
              </a:spcAft>
              <a:buFontTx/>
              <a:buNone/>
              <a:defRPr sz="1000">
                <a:solidFill>
                  <a:schemeClr val="tx2"/>
                </a:solidFill>
              </a:defRPr>
            </a:lvl3pPr>
            <a:lvl4pPr marL="0" indent="0">
              <a:spcAft>
                <a:spcPts val="900"/>
              </a:spcAft>
              <a:buFontTx/>
              <a:buNone/>
              <a:defRPr sz="1000">
                <a:solidFill>
                  <a:schemeClr val="tx2"/>
                </a:solidFill>
              </a:defRPr>
            </a:lvl4pPr>
            <a:lvl5pPr marL="22" indent="0">
              <a:spcAft>
                <a:spcPts val="900"/>
              </a:spcAft>
              <a:buFontTx/>
              <a:buNone/>
              <a:defRPr sz="1000">
                <a:solidFill>
                  <a:schemeClr val="tx2"/>
                </a:solidFill>
              </a:defRPr>
            </a:lvl5pPr>
            <a:lvl6pPr marL="0" indent="0">
              <a:spcAft>
                <a:spcPts val="900"/>
              </a:spcAft>
              <a:buFontTx/>
              <a:buNone/>
              <a:defRPr sz="1000">
                <a:solidFill>
                  <a:schemeClr val="tx2"/>
                </a:solidFill>
              </a:defRPr>
            </a:lvl6pPr>
            <a:lvl7pPr marL="0" indent="0">
              <a:spcAft>
                <a:spcPts val="900"/>
              </a:spcAft>
              <a:buFontTx/>
              <a:buNone/>
              <a:defRPr sz="1000">
                <a:solidFill>
                  <a:schemeClr val="tx2"/>
                </a:solidFill>
              </a:defRPr>
            </a:lvl7pPr>
            <a:lvl8pPr marL="0" indent="0">
              <a:spcAft>
                <a:spcPts val="900"/>
              </a:spcAft>
              <a:buFontTx/>
              <a:buNone/>
              <a:defRPr sz="1000">
                <a:solidFill>
                  <a:schemeClr val="tx2"/>
                </a:solidFill>
              </a:defRPr>
            </a:lvl8pPr>
            <a:lvl9pPr marL="0" indent="0">
              <a:spcAft>
                <a:spcPts val="900"/>
              </a:spcAft>
              <a:buFontTx/>
              <a:buNone/>
              <a:defRPr sz="100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34700684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29441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_blank">
    <p:bg>
      <p:bgPr>
        <a:solidFill>
          <a:schemeClr val="bg1"/>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6D2486B-E4E0-864C-AD6A-844984E8A92F}"/>
              </a:ext>
            </a:extLst>
          </p:cNvPr>
          <p:cNvSpPr>
            <a:spLocks noGrp="1"/>
          </p:cNvSpPr>
          <p:nvPr>
            <p:ph type="sldNum" sz="quarter" idx="11"/>
          </p:nvPr>
        </p:nvSpPr>
        <p:spPr/>
        <p:txBody>
          <a:bodyPr/>
          <a:lstStyle/>
          <a:p>
            <a:pPr lvl="8"/>
            <a:fld id="{1E3D5677-3D20-0C46-8497-54D73E689044}" type="slidenum">
              <a:rPr lang="en-US"/>
              <a:pPr lvl="8"/>
              <a:t>‹#›</a:t>
            </a:fld>
            <a:endParaRPr lang="en-US"/>
          </a:p>
        </p:txBody>
      </p:sp>
      <p:pic>
        <p:nvPicPr>
          <p:cNvPr id="6" name="Picture 5">
            <a:extLst>
              <a:ext uri="{FF2B5EF4-FFF2-40B4-BE49-F238E27FC236}">
                <a16:creationId xmlns:a16="http://schemas.microsoft.com/office/drawing/2014/main" id="{C24D84B2-13D9-5447-A260-C7C343880A08}"/>
              </a:ext>
            </a:extLst>
          </p:cNvPr>
          <p:cNvPicPr>
            <a:picLocks noChangeAspect="1"/>
          </p:cNvPicPr>
          <p:nvPr userDrawn="1"/>
        </p:nvPicPr>
        <p:blipFill>
          <a:blip r:embed="rId2"/>
          <a:srcRect/>
          <a:stretch/>
        </p:blipFill>
        <p:spPr>
          <a:xfrm>
            <a:off x="472868" y="6412434"/>
            <a:ext cx="1497466" cy="285488"/>
          </a:xfrm>
          <a:prstGeom prst="rect">
            <a:avLst/>
          </a:prstGeom>
        </p:spPr>
      </p:pic>
    </p:spTree>
    <p:extLst>
      <p:ext uri="{BB962C8B-B14F-4D97-AF65-F5344CB8AC3E}">
        <p14:creationId xmlns:p14="http://schemas.microsoft.com/office/powerpoint/2010/main" val="46314262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_video">
    <p:bg>
      <p:bgPr>
        <a:solidFill>
          <a:schemeClr val="tx1"/>
        </a:solidFill>
        <a:effectLst/>
      </p:bgPr>
    </p:bg>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5F3915E5-4626-8746-AF40-A01779F84E20}"/>
              </a:ext>
            </a:extLst>
          </p:cNvPr>
          <p:cNvSpPr>
            <a:spLocks noGrp="1"/>
          </p:cNvSpPr>
          <p:nvPr>
            <p:ph type="media" sz="quarter" idx="10"/>
          </p:nvPr>
        </p:nvSpPr>
        <p:spPr>
          <a:xfrm>
            <a:off x="7" y="0"/>
            <a:ext cx="12191999" cy="6858000"/>
          </a:xfrm>
          <a:prstGeom prst="rect">
            <a:avLst/>
          </a:prstGeom>
          <a:solidFill>
            <a:schemeClr val="tx1"/>
          </a:solidFill>
        </p:spPr>
        <p:txBody>
          <a:bodyPr tIns="2651760"/>
          <a:lstStyle>
            <a:lvl1pPr algn="ctr">
              <a:defRPr>
                <a:solidFill>
                  <a:schemeClr val="bg1"/>
                </a:solidFill>
              </a:defRPr>
            </a:lvl1pPr>
          </a:lstStyle>
          <a:p>
            <a:r>
              <a:rPr lang="en-US"/>
              <a:t>Click icon to add media</a:t>
            </a:r>
          </a:p>
        </p:txBody>
      </p:sp>
    </p:spTree>
    <p:extLst>
      <p:ext uri="{BB962C8B-B14F-4D97-AF65-F5344CB8AC3E}">
        <p14:creationId xmlns:p14="http://schemas.microsoft.com/office/powerpoint/2010/main" val="174037724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D59479C-23FD-2645-A8EC-4A5C82CC4FA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4466"/>
            <a:ext cx="12179298" cy="6849071"/>
          </a:xfrm>
          <a:prstGeom prst="rect">
            <a:avLst/>
          </a:prstGeom>
        </p:spPr>
      </p:pic>
      <p:sp>
        <p:nvSpPr>
          <p:cNvPr id="5" name="Title 1">
            <a:extLst>
              <a:ext uri="{FF2B5EF4-FFF2-40B4-BE49-F238E27FC236}">
                <a16:creationId xmlns:a16="http://schemas.microsoft.com/office/drawing/2014/main" id="{126519AA-886C-374C-9E64-EA02923CB615}"/>
              </a:ext>
            </a:extLst>
          </p:cNvPr>
          <p:cNvSpPr>
            <a:spLocks noGrp="1"/>
          </p:cNvSpPr>
          <p:nvPr>
            <p:ph type="title"/>
          </p:nvPr>
        </p:nvSpPr>
        <p:spPr>
          <a:xfrm>
            <a:off x="462084" y="1565275"/>
            <a:ext cx="7437787" cy="4625975"/>
          </a:xfrm>
        </p:spPr>
        <p:txBody>
          <a:bodyPr lIns="0" tIns="1920240" rIns="457200" bIns="457200" anchor="ctr" anchorCtr="0">
            <a:noAutofit/>
          </a:bodyPr>
          <a:lstStyle>
            <a:lvl1pPr>
              <a:lnSpc>
                <a:spcPts val="4000"/>
              </a:lnSpc>
              <a:defRPr sz="3600" b="0">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6B801889-E475-414D-B7B7-3802EF0FF728}"/>
              </a:ext>
            </a:extLst>
          </p:cNvPr>
          <p:cNvSpPr>
            <a:spLocks noGrp="1"/>
          </p:cNvSpPr>
          <p:nvPr>
            <p:ph type="ftr" sz="quarter" idx="10"/>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BD8AD9C9-4173-A847-A399-5D48DC63E04B}"/>
              </a:ext>
            </a:extLst>
          </p:cNvPr>
          <p:cNvSpPr>
            <a:spLocks noGrp="1"/>
          </p:cNvSpPr>
          <p:nvPr>
            <p:ph type="sldNum" sz="quarter" idx="11"/>
          </p:nvPr>
        </p:nvSpPr>
        <p:spPr/>
        <p:txBody>
          <a:bodyPr/>
          <a:lstStyle/>
          <a:p>
            <a:pPr lvl="8"/>
            <a:fld id="{1E3D5677-3D20-0C46-8497-54D73E689044}" type="slidenum">
              <a:rPr lang="en-US"/>
              <a:pPr lvl="8"/>
              <a:t>‹#›</a:t>
            </a:fld>
            <a:endParaRPr lang="en-US"/>
          </a:p>
        </p:txBody>
      </p:sp>
      <p:pic>
        <p:nvPicPr>
          <p:cNvPr id="8" name="Picture 7">
            <a:extLst>
              <a:ext uri="{FF2B5EF4-FFF2-40B4-BE49-F238E27FC236}">
                <a16:creationId xmlns:a16="http://schemas.microsoft.com/office/drawing/2014/main" id="{A617DF63-B4B0-374C-A4C8-2FE7BBD2D42F}"/>
              </a:ext>
            </a:extLst>
          </p:cNvPr>
          <p:cNvPicPr>
            <a:picLocks noChangeAspect="1"/>
          </p:cNvPicPr>
          <p:nvPr userDrawn="1"/>
        </p:nvPicPr>
        <p:blipFill>
          <a:blip r:embed="rId3"/>
          <a:srcRect/>
          <a:stretch/>
        </p:blipFill>
        <p:spPr>
          <a:xfrm>
            <a:off x="472868" y="6412434"/>
            <a:ext cx="1497466" cy="285488"/>
          </a:xfrm>
          <a:prstGeom prst="rect">
            <a:avLst/>
          </a:prstGeom>
        </p:spPr>
      </p:pic>
    </p:spTree>
    <p:extLst>
      <p:ext uri="{BB962C8B-B14F-4D97-AF65-F5344CB8AC3E}">
        <p14:creationId xmlns:p14="http://schemas.microsoft.com/office/powerpoint/2010/main" val="331155407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cSld name="Title Slide Option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1512" y="1453562"/>
            <a:ext cx="8838474" cy="1870729"/>
          </a:xfrm>
        </p:spPr>
        <p:txBody>
          <a:bodyPr anchor="b">
            <a:normAutofit/>
          </a:bodyPr>
          <a:lstStyle>
            <a:lvl1pPr>
              <a:defRPr sz="3732" b="1" baseline="0"/>
            </a:lvl1pPr>
          </a:lstStyle>
          <a:p>
            <a:r>
              <a:rPr lang="en-US"/>
              <a:t>Title slide style, 28pt bold Arial</a:t>
            </a:r>
          </a:p>
        </p:txBody>
      </p:sp>
      <p:sp>
        <p:nvSpPr>
          <p:cNvPr id="3" name="Subtitle 2"/>
          <p:cNvSpPr>
            <a:spLocks noGrp="1"/>
          </p:cNvSpPr>
          <p:nvPr>
            <p:ph type="subTitle" idx="1" hasCustomPrompt="1"/>
          </p:nvPr>
        </p:nvSpPr>
        <p:spPr>
          <a:xfrm>
            <a:off x="1168779" y="3324291"/>
            <a:ext cx="8831206" cy="1741327"/>
          </a:xfrm>
        </p:spPr>
        <p:txBody>
          <a:bodyPr anchor="t">
            <a:normAutofit/>
          </a:bodyPr>
          <a:lstStyle>
            <a:lvl1pPr marL="0" indent="0" algn="l">
              <a:buNone/>
              <a:defRPr sz="2666" baseline="0">
                <a:solidFill>
                  <a:srgbClr val="429644"/>
                </a:solidFill>
                <a:latin typeface="Georgia"/>
                <a:cs typeface="Georgia"/>
              </a:defRPr>
            </a:lvl1pPr>
            <a:lvl2pPr marL="609448" indent="0" algn="ctr">
              <a:buNone/>
              <a:defRPr>
                <a:solidFill>
                  <a:schemeClr val="tx1">
                    <a:tint val="75000"/>
                  </a:schemeClr>
                </a:solidFill>
              </a:defRPr>
            </a:lvl2pPr>
            <a:lvl3pPr marL="1218895" indent="0" algn="ctr">
              <a:buNone/>
              <a:defRPr>
                <a:solidFill>
                  <a:schemeClr val="tx1">
                    <a:tint val="75000"/>
                  </a:schemeClr>
                </a:solidFill>
              </a:defRPr>
            </a:lvl3pPr>
            <a:lvl4pPr marL="1828343" indent="0" algn="ctr">
              <a:buNone/>
              <a:defRPr>
                <a:solidFill>
                  <a:schemeClr val="tx1">
                    <a:tint val="75000"/>
                  </a:schemeClr>
                </a:solidFill>
              </a:defRPr>
            </a:lvl4pPr>
            <a:lvl5pPr marL="2437790" indent="0" algn="ctr">
              <a:buNone/>
              <a:defRPr>
                <a:solidFill>
                  <a:schemeClr val="tx1">
                    <a:tint val="75000"/>
                  </a:schemeClr>
                </a:solidFill>
              </a:defRPr>
            </a:lvl5pPr>
            <a:lvl6pPr marL="3047238" indent="0" algn="ctr">
              <a:buNone/>
              <a:defRPr>
                <a:solidFill>
                  <a:schemeClr val="tx1">
                    <a:tint val="75000"/>
                  </a:schemeClr>
                </a:solidFill>
              </a:defRPr>
            </a:lvl6pPr>
            <a:lvl7pPr marL="3656686" indent="0" algn="ctr">
              <a:buNone/>
              <a:defRPr>
                <a:solidFill>
                  <a:schemeClr val="tx1">
                    <a:tint val="75000"/>
                  </a:schemeClr>
                </a:solidFill>
              </a:defRPr>
            </a:lvl7pPr>
            <a:lvl8pPr marL="4266133" indent="0" algn="ctr">
              <a:buNone/>
              <a:defRPr>
                <a:solidFill>
                  <a:schemeClr val="tx1">
                    <a:tint val="75000"/>
                  </a:schemeClr>
                </a:solidFill>
              </a:defRPr>
            </a:lvl8pPr>
            <a:lvl9pPr marL="4875581" indent="0" algn="ctr">
              <a:buNone/>
              <a:defRPr>
                <a:solidFill>
                  <a:schemeClr val="tx1">
                    <a:tint val="75000"/>
                  </a:schemeClr>
                </a:solidFill>
              </a:defRPr>
            </a:lvl9pPr>
          </a:lstStyle>
          <a:p>
            <a:r>
              <a:rPr lang="en-US"/>
              <a:t>Title subhead style, 20pt reg, Georgia</a:t>
            </a:r>
          </a:p>
        </p:txBody>
      </p:sp>
      <p:pic>
        <p:nvPicPr>
          <p:cNvPr id="5" name="Picture 4" descr="colorStJo&amp;Prov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53553" y="469511"/>
            <a:ext cx="2228908" cy="583231"/>
          </a:xfrm>
          <a:prstGeom prst="rect">
            <a:avLst/>
          </a:prstGeom>
        </p:spPr>
      </p:pic>
    </p:spTree>
    <p:extLst>
      <p:ext uri="{BB962C8B-B14F-4D97-AF65-F5344CB8AC3E}">
        <p14:creationId xmlns:p14="http://schemas.microsoft.com/office/powerpoint/2010/main" val="250373370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matchingName="1_Content 1" userDrawn="1">
  <p:cSld name="1_Content 1">
    <p:spTree>
      <p:nvGrpSpPr>
        <p:cNvPr id="1" name="Shape 198"/>
        <p:cNvGrpSpPr/>
        <p:nvPr/>
      </p:nvGrpSpPr>
      <p:grpSpPr>
        <a:xfrm>
          <a:off x="0" y="0"/>
          <a:ext cx="0" cy="0"/>
          <a:chOff x="0" y="0"/>
          <a:chExt cx="0" cy="0"/>
        </a:xfrm>
      </p:grpSpPr>
      <p:sp>
        <p:nvSpPr>
          <p:cNvPr id="201" name="Google Shape;201;p36"/>
          <p:cNvSpPr/>
          <p:nvPr/>
        </p:nvSpPr>
        <p:spPr>
          <a:xfrm>
            <a:off x="4708917" y="6351904"/>
            <a:ext cx="2552400" cy="4449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rgbClr val="000000"/>
              </a:buClr>
              <a:buSzPts val="1600"/>
              <a:buFont typeface="Arial"/>
              <a:buNone/>
            </a:pPr>
            <a:endParaRPr sz="1600" b="0" i="0">
              <a:solidFill>
                <a:srgbClr val="FFFFFF"/>
              </a:solidFill>
              <a:latin typeface="Calibri Regular"/>
              <a:ea typeface="Century Gothic"/>
              <a:cs typeface="Century Gothic"/>
              <a:sym typeface="Century Gothic"/>
            </a:endParaRPr>
          </a:p>
        </p:txBody>
      </p:sp>
      <p:sp>
        <p:nvSpPr>
          <p:cNvPr id="3" name="Text Placeholder 2">
            <a:extLst>
              <a:ext uri="{FF2B5EF4-FFF2-40B4-BE49-F238E27FC236}">
                <a16:creationId xmlns:a16="http://schemas.microsoft.com/office/drawing/2014/main" id="{12293C90-78A1-0E42-B48F-DC9C836C7274}"/>
              </a:ext>
            </a:extLst>
          </p:cNvPr>
          <p:cNvSpPr>
            <a:spLocks noGrp="1"/>
          </p:cNvSpPr>
          <p:nvPr>
            <p:ph type="body" sz="quarter" idx="10"/>
          </p:nvPr>
        </p:nvSpPr>
        <p:spPr>
          <a:xfrm>
            <a:off x="614746" y="1410607"/>
            <a:ext cx="9930179" cy="4633467"/>
          </a:xfrm>
          <a:prstGeom prst="rect">
            <a:avLst/>
          </a:prstGeom>
        </p:spPr>
        <p:txBody>
          <a:bodyPr/>
          <a:lstStyle>
            <a:lvl1pPr>
              <a:defRPr>
                <a:ln>
                  <a:noFill/>
                </a:ln>
                <a:solidFill>
                  <a:schemeClr val="accent2"/>
                </a:solidFill>
              </a:defRPr>
            </a:lvl1pPr>
            <a:lvl2pPr>
              <a:defRPr>
                <a:ln>
                  <a:noFill/>
                </a:ln>
                <a:solidFill>
                  <a:schemeClr val="tx2"/>
                </a:solidFill>
              </a:defRPr>
            </a:lvl2pPr>
            <a:lvl3pPr>
              <a:defRPr>
                <a:ln>
                  <a:noFill/>
                </a:ln>
                <a:solidFill>
                  <a:schemeClr val="tx2"/>
                </a:solidFill>
              </a:defRPr>
            </a:lvl3pPr>
            <a:lvl4pPr>
              <a:defRPr>
                <a:ln>
                  <a:noFill/>
                </a:ln>
                <a:solidFill>
                  <a:schemeClr val="tx2"/>
                </a:solidFill>
              </a:defRPr>
            </a:lvl4pPr>
            <a:lvl5pPr>
              <a:defRPr>
                <a:ln>
                  <a:noFill/>
                </a:ln>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3B54661B-D469-A440-AE27-06C80C3D035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1611" y="-2"/>
            <a:ext cx="12170389" cy="786384"/>
          </a:xfrm>
          <a:prstGeom prst="rect">
            <a:avLst/>
          </a:prstGeom>
        </p:spPr>
      </p:pic>
      <p:sp>
        <p:nvSpPr>
          <p:cNvPr id="4" name="Title 3">
            <a:extLst>
              <a:ext uri="{FF2B5EF4-FFF2-40B4-BE49-F238E27FC236}">
                <a16:creationId xmlns:a16="http://schemas.microsoft.com/office/drawing/2014/main" id="{ACBE7584-9C7A-9B4B-B07B-8A0E0DD34A88}"/>
              </a:ext>
            </a:extLst>
          </p:cNvPr>
          <p:cNvSpPr>
            <a:spLocks noGrp="1"/>
          </p:cNvSpPr>
          <p:nvPr>
            <p:ph type="title"/>
          </p:nvPr>
        </p:nvSpPr>
        <p:spPr>
          <a:xfrm>
            <a:off x="506187" y="-182753"/>
            <a:ext cx="10147299" cy="1241972"/>
          </a:xfrm>
          <a:prstGeom prst="rect">
            <a:avLst/>
          </a:prstGeom>
          <a:noFill/>
        </p:spPr>
        <p:txBody>
          <a:bodyPr lIns="182880" anchor="ctr" anchorCtr="0"/>
          <a:lstStyle>
            <a:lvl1pPr>
              <a:defRPr>
                <a:solidFill>
                  <a:schemeClr val="bg1"/>
                </a:solidFill>
              </a:defRPr>
            </a:lvl1pPr>
          </a:lstStyle>
          <a:p>
            <a:r>
              <a:rPr lang="en-US"/>
              <a:t>Click to edit Master title style</a:t>
            </a:r>
          </a:p>
        </p:txBody>
      </p:sp>
      <p:pic>
        <p:nvPicPr>
          <p:cNvPr id="9" name="Picture 8" descr="A picture containing drawing&#10;&#10;Description automatically generated">
            <a:extLst>
              <a:ext uri="{FF2B5EF4-FFF2-40B4-BE49-F238E27FC236}">
                <a16:creationId xmlns:a16="http://schemas.microsoft.com/office/drawing/2014/main" id="{2E801363-E3DD-694B-91E5-A83E9ECF071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7112" y="6174805"/>
            <a:ext cx="2152748" cy="441313"/>
          </a:xfrm>
          <a:prstGeom prst="rect">
            <a:avLst/>
          </a:prstGeom>
        </p:spPr>
      </p:pic>
      <p:sp>
        <p:nvSpPr>
          <p:cNvPr id="8" name="Rectangle 7">
            <a:extLst>
              <a:ext uri="{FF2B5EF4-FFF2-40B4-BE49-F238E27FC236}">
                <a16:creationId xmlns:a16="http://schemas.microsoft.com/office/drawing/2014/main" id="{CCACCE9C-817A-DC42-80E2-558B0EE140C1}"/>
              </a:ext>
            </a:extLst>
          </p:cNvPr>
          <p:cNvSpPr/>
          <p:nvPr userDrawn="1"/>
        </p:nvSpPr>
        <p:spPr>
          <a:xfrm>
            <a:off x="157570" y="6395461"/>
            <a:ext cx="457176" cy="369332"/>
          </a:xfrm>
          <a:prstGeom prst="rect">
            <a:avLst/>
          </a:prstGeom>
        </p:spPr>
        <p:txBody>
          <a:bodyPr wrap="none">
            <a:spAutoFit/>
          </a:bodyPr>
          <a:lstStyle/>
          <a:p>
            <a:fld id="{1E3D5677-3D20-0C46-8497-54D73E689044}" type="slidenum">
              <a:rPr lang="en-US"/>
              <a:pPr/>
              <a:t>‹#›</a:t>
            </a:fld>
            <a:endParaRPr lang="en-US"/>
          </a:p>
        </p:txBody>
      </p:sp>
    </p:spTree>
    <p:extLst>
      <p:ext uri="{BB962C8B-B14F-4D97-AF65-F5344CB8AC3E}">
        <p14:creationId xmlns:p14="http://schemas.microsoft.com/office/powerpoint/2010/main" val="15706940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E302FF9-0D26-4600-A3F7-55B9A22E68C9}" type="datetimeFigureOut">
              <a:rPr lang="en-US" smtClean="0"/>
              <a:t>1/8/21</a:t>
            </a:fld>
            <a:endParaRPr lang="en-US"/>
          </a:p>
        </p:txBody>
      </p:sp>
    </p:spTree>
    <p:extLst>
      <p:ext uri="{BB962C8B-B14F-4D97-AF65-F5344CB8AC3E}">
        <p14:creationId xmlns:p14="http://schemas.microsoft.com/office/powerpoint/2010/main" val="341033358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E302FF9-0D26-4600-A3F7-55B9A22E68C9}" type="datetimeFigureOut">
              <a:rPr lang="en-US">
                <a:solidFill>
                  <a:prstClr val="black">
                    <a:tint val="75000"/>
                  </a:prstClr>
                </a:solidFill>
              </a:rPr>
              <a:pPr/>
              <a:t>1/8/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EF3CA280-9C58-4C5C-8639-0927071F0DFC}"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709662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194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9025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1419790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58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B96C0B-CE9F-415C-B7B7-298E88FDAF3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B4208225-5C22-496E-A342-E94D62C18FDC}"/>
              </a:ext>
            </a:extLst>
          </p:cNvPr>
          <p:cNvSpPr/>
          <p:nvPr userDrawn="1"/>
        </p:nvSpPr>
        <p:spPr bwMode="ltGray">
          <a:xfrm>
            <a:off x="1" y="1681162"/>
            <a:ext cx="12191999" cy="3657600"/>
          </a:xfrm>
          <a:prstGeom prst="rect">
            <a:avLst/>
          </a:prstGeom>
          <a:solidFill>
            <a:srgbClr val="0070C0"/>
          </a:solidFill>
          <a:ln w="12700">
            <a:miter lim="400000"/>
          </a:ln>
        </p:spPr>
        <p:txBody>
          <a:bodyPr lIns="0" tIns="0" rIns="0" bIns="0" anchor="ctr"/>
          <a:lstStyle/>
          <a:p>
            <a:pPr algn="l">
              <a:defRPr sz="3200" b="0">
                <a:solidFill>
                  <a:srgbClr val="FFFFFF"/>
                </a:solidFill>
                <a:latin typeface="+mn-lt"/>
                <a:ea typeface="+mn-ea"/>
                <a:cs typeface="+mn-cs"/>
                <a:sym typeface="Helvetica Neue Medium"/>
              </a:defRPr>
            </a:pPr>
            <a:endParaRPr>
              <a:solidFill>
                <a:srgbClr val="FF0000"/>
              </a:solidFill>
            </a:endParaRPr>
          </a:p>
        </p:txBody>
      </p:sp>
      <p:pic>
        <p:nvPicPr>
          <p:cNvPr id="12" name="fullColor.png" descr="fullColor.png">
            <a:extLst>
              <a:ext uri="{FF2B5EF4-FFF2-40B4-BE49-F238E27FC236}">
                <a16:creationId xmlns:a16="http://schemas.microsoft.com/office/drawing/2014/main" id="{63F392A6-21B5-4CA6-A199-930BFED2A682}"/>
              </a:ext>
            </a:extLst>
          </p:cNvPr>
          <p:cNvPicPr>
            <a:picLocks noChangeAspect="1"/>
          </p:cNvPicPr>
          <p:nvPr userDrawn="1"/>
        </p:nvPicPr>
        <p:blipFill>
          <a:blip r:embed="rId7"/>
          <a:stretch>
            <a:fillRect/>
          </a:stretch>
        </p:blipFill>
        <p:spPr bwMode="ltGray">
          <a:xfrm>
            <a:off x="8838424" y="448769"/>
            <a:ext cx="2665449" cy="711694"/>
          </a:xfrm>
          <a:prstGeom prst="rect">
            <a:avLst/>
          </a:prstGeom>
          <a:ln w="12700">
            <a:miter lim="400000"/>
          </a:ln>
        </p:spPr>
      </p:pic>
      <p:sp>
        <p:nvSpPr>
          <p:cNvPr id="13314" name="Title"/>
          <p:cNvSpPr>
            <a:spLocks noGrp="1" noChangeArrowheads="1"/>
          </p:cNvSpPr>
          <p:nvPr userDrawn="1">
            <p:ph type="ctrTitle"/>
          </p:nvPr>
        </p:nvSpPr>
        <p:spPr bwMode="gray">
          <a:xfrm>
            <a:off x="551941" y="3294405"/>
            <a:ext cx="10951931" cy="677108"/>
          </a:xfrm>
          <a:prstGeom prst="rect">
            <a:avLst/>
          </a:prstGeom>
        </p:spPr>
        <p:txBody>
          <a:bodyPr>
            <a:noAutofit/>
          </a:bodyPr>
          <a:lstStyle>
            <a:lvl1pPr>
              <a:defRPr lang="x-none" sz="44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551941" y="4092559"/>
            <a:ext cx="10951931" cy="307777"/>
          </a:xfrm>
          <a:prstGeom prst="rect">
            <a:avLst/>
          </a:prstGeom>
        </p:spPr>
        <p:txBody>
          <a:bodyPr vert="horz" wrap="square" lIns="0" tIns="0" rIns="0" bIns="0" rtlCol="0">
            <a:noAutofit/>
          </a:bodyPr>
          <a:lstStyle>
            <a:lvl1pPr>
              <a:defRPr lang="x-none" sz="2000" cap="none" baseline="0" noProof="0" dirty="0">
                <a:solidFill>
                  <a:schemeClr val="bg1"/>
                </a:solidFill>
                <a:latin typeface="+mn-lt"/>
              </a:defRPr>
            </a:lvl1pPr>
          </a:lstStyle>
          <a:p>
            <a:pPr lvl="0"/>
            <a:r>
              <a:rPr lang="en-US" noProof="0"/>
              <a:t>Click to edit Master subtitle style</a:t>
            </a:r>
          </a:p>
        </p:txBody>
      </p:sp>
      <p:sp>
        <p:nvSpPr>
          <p:cNvPr id="57" name="Document type" hidden="1"/>
          <p:cNvSpPr txBox="1">
            <a:spLocks noChangeArrowheads="1"/>
          </p:cNvSpPr>
          <p:nvPr userDrawn="1"/>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400" baseline="0" noProof="0">
                <a:solidFill>
                  <a:schemeClr val="bg1"/>
                </a:solidFill>
                <a:latin typeface="+mn-lt"/>
              </a:rPr>
              <a:t>Document type | Date</a:t>
            </a:r>
          </a:p>
        </p:txBody>
      </p:sp>
    </p:spTree>
    <p:extLst>
      <p:ext uri="{BB962C8B-B14F-4D97-AF65-F5344CB8AC3E}">
        <p14:creationId xmlns:p14="http://schemas.microsoft.com/office/powerpoint/2010/main" val="18710195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4"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00" b="1"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2" name="Title"/>
          <p:cNvSpPr>
            <a:spLocks noGrp="1"/>
          </p:cNvSpPr>
          <p:nvPr>
            <p:ph type="title"/>
          </p:nvPr>
        </p:nvSpPr>
        <p:spPr bwMode="gray">
          <a:xfrm>
            <a:off x="554736" y="246620"/>
            <a:ext cx="11082528" cy="3847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p>
        </p:txBody>
      </p:sp>
    </p:spTree>
    <p:extLst>
      <p:ext uri="{BB962C8B-B14F-4D97-AF65-F5344CB8AC3E}">
        <p14:creationId xmlns:p14="http://schemas.microsoft.com/office/powerpoint/2010/main" val="3998195266"/>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28"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246620"/>
            <a:ext cx="11082528" cy="384721"/>
          </a:xfrm>
        </p:spPr>
        <p:txBody>
          <a:bodyPr>
            <a:spAutoFit/>
          </a:bodyPr>
          <a:lstStyle>
            <a:lvl1pPr>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43467"/>
            <a:ext cx="11082528" cy="276999"/>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5285494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9591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600923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4453724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96E2AE-3155-4B50-B469-1C6FC4A4E28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52"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E896E2AE-3155-4B50-B469-1C6FC4A4E2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F0BF83-D6CE-4BC4-83E3-5F38B15C21A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5476603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76"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359648"/>
            <a:ext cx="2514600" cy="1154162"/>
          </a:xfrm>
        </p:spPr>
        <p:txBody>
          <a:bodyPr anchor="b">
            <a:sp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23" name="reversed.png" descr="reversed.png">
            <a:extLst>
              <a:ext uri="{FF2B5EF4-FFF2-40B4-BE49-F238E27FC236}">
                <a16:creationId xmlns:a16="http://schemas.microsoft.com/office/drawing/2014/main" id="{96E85E65-2265-4679-B415-04F1E07BFD02}"/>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BE789725-D96B-413F-A907-EA3CA4B45724}"/>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8671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0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0" name="reversed.png" descr="reversed.png">
            <a:extLst>
              <a:ext uri="{FF2B5EF4-FFF2-40B4-BE49-F238E27FC236}">
                <a16:creationId xmlns:a16="http://schemas.microsoft.com/office/drawing/2014/main" id="{1A495E3F-C9AC-45DB-A1FD-80270B8ADEA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0227C4C6-C6A6-4C74-A71D-7CD44A2345FD}"/>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663407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2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246620"/>
            <a:ext cx="5065776" cy="384721"/>
          </a:xfrm>
        </p:spPr>
        <p:txBody>
          <a:bodyPr>
            <a:spAutoFit/>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43467"/>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403792B7-C3B3-48DB-8D42-D35C5184D01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E7C0B786-0B98-435B-AB5F-505441ABF9C5}"/>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49165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48"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246620"/>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43467"/>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AA6DB52C-4CD9-4639-A05F-3E56A6FF3B11}"/>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54C6C4-C237-4A49-9CA3-3186AEED2081}"/>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909606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pter Divider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7F8BA957-435D-48C8-94A2-7E6DEB7B04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72" name="think-cell Slide" r:id="rId6" imgW="395" imgH="394" progId="TCLayout.ActiveDocument.1">
                  <p:embed/>
                </p:oleObj>
              </mc:Choice>
              <mc:Fallback>
                <p:oleObj name="think-cell Slide" r:id="rId6" imgW="395" imgH="394" progId="TCLayout.ActiveDocument.1">
                  <p:embed/>
                  <p:pic>
                    <p:nvPicPr>
                      <p:cNvPr id="3" name="Object 6" hidden="1">
                        <a:extLst>
                          <a:ext uri="{FF2B5EF4-FFF2-40B4-BE49-F238E27FC236}">
                            <a16:creationId xmlns:a16="http://schemas.microsoft.com/office/drawing/2014/main" id="{7F8BA957-435D-48C8-94A2-7E6DEB7B04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84617-13BF-4A05-8E66-DE91493DF4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2FEE25A2-0DAB-416D-860E-D165916B70FF}"/>
              </a:ext>
            </a:extLst>
          </p:cNvPr>
          <p:cNvSpPr/>
          <p:nvPr userDrawn="1"/>
        </p:nvSpPr>
        <p:spPr>
          <a:xfrm>
            <a:off x="0" y="0"/>
            <a:ext cx="12192000" cy="6858000"/>
          </a:xfrm>
          <a:prstGeom prst="rect">
            <a:avLst/>
          </a:prstGeom>
          <a:solidFill>
            <a:srgbClr val="4472C4">
              <a:lumMod val="75000"/>
              <a:alpha val="96000"/>
            </a:srgbClr>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8" name="Title 1">
            <a:extLst>
              <a:ext uri="{FF2B5EF4-FFF2-40B4-BE49-F238E27FC236}">
                <a16:creationId xmlns:a16="http://schemas.microsoft.com/office/drawing/2014/main" id="{CFC3F972-F338-C04D-A825-E0284B78045B}"/>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4CC002DA-7DFE-439A-ADB1-44CF21B510A0}"/>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5D8A3E8-3F86-4DE3-8E8C-B2750292BDCE}"/>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75629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pter 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357CCD-08AF-4BA3-BA95-F0E03780C8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96"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C357CCD-08AF-4BA3-BA95-F0E03780C8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38B0A1-B8AF-4B10-AF95-AE4EB442747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5" name="Rectangle">
            <a:extLst>
              <a:ext uri="{FF2B5EF4-FFF2-40B4-BE49-F238E27FC236}">
                <a16:creationId xmlns:a16="http://schemas.microsoft.com/office/drawing/2014/main" id="{15247663-3408-494B-8CF6-2014E7A9C6F1}"/>
              </a:ext>
            </a:extLst>
          </p:cNvPr>
          <p:cNvSpPr/>
          <p:nvPr userDrawn="1"/>
        </p:nvSpPr>
        <p:spPr>
          <a:xfrm>
            <a:off x="0" y="0"/>
            <a:ext cx="12192000" cy="6858000"/>
          </a:xfrm>
          <a:prstGeom prst="rect">
            <a:avLst/>
          </a:prstGeom>
          <a:solidFill>
            <a:srgbClr val="0070C0">
              <a:alpha val="78000"/>
            </a:srgb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7" name="Title 1">
            <a:extLst>
              <a:ext uri="{FF2B5EF4-FFF2-40B4-BE49-F238E27FC236}">
                <a16:creationId xmlns:a16="http://schemas.microsoft.com/office/drawing/2014/main" id="{5A2FF599-422A-954D-BE07-1C1ABED4E45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24629D34-6D9A-4B45-928F-79DF08D8C797}"/>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D395ECC3-FDF1-41AC-B0A5-2583BC6FDC7C}"/>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036007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4FC123-E890-4D4A-9F34-D3F6B97E048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20"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094FC123-E890-4D4A-9F34-D3F6B97E0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B068BF-AD8D-492E-9141-371493DD52E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7" name="Rectangle">
            <a:extLst>
              <a:ext uri="{FF2B5EF4-FFF2-40B4-BE49-F238E27FC236}">
                <a16:creationId xmlns:a16="http://schemas.microsoft.com/office/drawing/2014/main" id="{0CFAD66E-1023-D447-9C21-4738352A99C2}"/>
              </a:ext>
            </a:extLst>
          </p:cNvPr>
          <p:cNvSpPr/>
          <p:nvPr userDrawn="1"/>
        </p:nvSpPr>
        <p:spPr>
          <a:xfrm>
            <a:off x="0" y="0"/>
            <a:ext cx="12192000" cy="6858000"/>
          </a:xfrm>
          <a:prstGeom prst="rect">
            <a:avLst/>
          </a:prstGeom>
          <a:solidFill>
            <a:srgbClr val="3EABAA"/>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9" name="Title 1">
            <a:extLst>
              <a:ext uri="{FF2B5EF4-FFF2-40B4-BE49-F238E27FC236}">
                <a16:creationId xmlns:a16="http://schemas.microsoft.com/office/drawing/2014/main" id="{7CBCB5E8-04E4-6E49-86F3-BB792114ACB3}"/>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A882EFEF-76F1-43B8-A94A-180C0445EB0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C631A0-5C1C-405C-9E8C-D0F922F95707}"/>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457108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422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Divider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F304CF-9F36-4E93-928A-D9B95D27597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44"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2CF304CF-9F36-4E93-928A-D9B95D2759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F8F985-C383-47BE-9BA9-0221056514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F1622073-CF4E-493F-913C-EEB3EA92A226}"/>
              </a:ext>
            </a:extLst>
          </p:cNvPr>
          <p:cNvSpPr/>
          <p:nvPr userDrawn="1"/>
        </p:nvSpPr>
        <p:spPr>
          <a:xfrm>
            <a:off x="0" y="0"/>
            <a:ext cx="12192000" cy="6858000"/>
          </a:xfrm>
          <a:prstGeom prst="rect">
            <a:avLst/>
          </a:prstGeom>
          <a:solidFill>
            <a:srgbClr val="70AD47">
              <a:alpha val="89000"/>
            </a:srgbClr>
          </a:solidFill>
          <a:ln w="12700">
            <a:no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9" name="Title 1">
            <a:extLst>
              <a:ext uri="{FF2B5EF4-FFF2-40B4-BE49-F238E27FC236}">
                <a16:creationId xmlns:a16="http://schemas.microsoft.com/office/drawing/2014/main" id="{850E92A1-50A8-BB4A-8B57-1B97107FC976}"/>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151712F9-4A81-4818-A78F-4E3A22C7BC14}"/>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EF249DA-C224-46EA-9198-8573B179AA88}"/>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0424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Divider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05309E-F476-47F3-A05A-E20A56837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68"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905309E-F476-47F3-A05A-E20A568376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A575CE-E476-49DB-A515-6F566B0488B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85848E81-68CE-BD47-B16C-70DDB022EADB}"/>
              </a:ext>
            </a:extLst>
          </p:cNvPr>
          <p:cNvSpPr/>
          <p:nvPr userDrawn="1"/>
        </p:nvSpPr>
        <p:spPr>
          <a:xfrm>
            <a:off x="0" y="0"/>
            <a:ext cx="12192000" cy="6858000"/>
          </a:xfrm>
          <a:prstGeom prst="rect">
            <a:avLst/>
          </a:prstGeom>
          <a:solidFill>
            <a:schemeClr val="bg1">
              <a:lumMod val="65000"/>
            </a:schemeClr>
          </a:solidFill>
          <a:ln w="12700">
            <a:no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15" name="Title 1">
            <a:extLst>
              <a:ext uri="{FF2B5EF4-FFF2-40B4-BE49-F238E27FC236}">
                <a16:creationId xmlns:a16="http://schemas.microsoft.com/office/drawing/2014/main" id="{1517A084-2089-A847-850E-08177F67F41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9" name="reversed.png" descr="reversed.png">
            <a:extLst>
              <a:ext uri="{FF2B5EF4-FFF2-40B4-BE49-F238E27FC236}">
                <a16:creationId xmlns:a16="http://schemas.microsoft.com/office/drawing/2014/main" id="{FB87D44B-EDEF-4EC6-AB56-F45E79B5C1E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0" name="Slide Number">
            <a:extLst>
              <a:ext uri="{FF2B5EF4-FFF2-40B4-BE49-F238E27FC236}">
                <a16:creationId xmlns:a16="http://schemas.microsoft.com/office/drawing/2014/main" id="{8CD2C346-9A01-44DA-808F-B5D6E32E4AC3}"/>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265570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DC484C6B-D637-4212-9E66-E106FB428E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92" name="think-cell Slide" r:id="rId5" imgW="395" imgH="394" progId="TCLayout.ActiveDocument.1">
                  <p:embed/>
                </p:oleObj>
              </mc:Choice>
              <mc:Fallback>
                <p:oleObj name="think-cell Slide" r:id="rId5" imgW="395" imgH="394" progId="TCLayout.ActiveDocument.1">
                  <p:embed/>
                  <p:pic>
                    <p:nvPicPr>
                      <p:cNvPr id="2" name="Object 6" hidden="1">
                        <a:extLst>
                          <a:ext uri="{FF2B5EF4-FFF2-40B4-BE49-F238E27FC236}">
                            <a16:creationId xmlns:a16="http://schemas.microsoft.com/office/drawing/2014/main" id="{DC484C6B-D637-4212-9E66-E106FB428E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8" name="Picture 7">
            <a:extLst>
              <a:ext uri="{FF2B5EF4-FFF2-40B4-BE49-F238E27FC236}">
                <a16:creationId xmlns:a16="http://schemas.microsoft.com/office/drawing/2014/main" id="{7E3FDDC6-1B3C-40B1-9FAC-8DE6CD770C07}"/>
              </a:ext>
            </a:extLst>
          </p:cNvPr>
          <p:cNvPicPr>
            <a:picLocks noChangeAspect="1"/>
          </p:cNvPicPr>
          <p:nvPr userDrawn="1"/>
        </p:nvPicPr>
        <p:blipFill>
          <a:blip r:embed="rId7"/>
          <a:stretch>
            <a:fillRect/>
          </a:stretch>
        </p:blipFill>
        <p:spPr>
          <a:xfrm>
            <a:off x="4717306" y="4554941"/>
            <a:ext cx="2757389" cy="545209"/>
          </a:xfrm>
          <a:prstGeom prst="rect">
            <a:avLst/>
          </a:prstGeom>
        </p:spPr>
      </p:pic>
    </p:spTree>
    <p:extLst>
      <p:ext uri="{BB962C8B-B14F-4D97-AF65-F5344CB8AC3E}">
        <p14:creationId xmlns:p14="http://schemas.microsoft.com/office/powerpoint/2010/main" val="10586280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8908956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6555B71-315F-4DE4-8ECF-DCA56DB88A5B}"/>
              </a:ext>
            </a:extLst>
          </p:cNvPr>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6811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91469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32256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0715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2864289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14" name="Title 13"/>
          <p:cNvSpPr>
            <a:spLocks noGrp="1"/>
          </p:cNvSpPr>
          <p:nvPr>
            <p:ph type="ctrTitle"/>
          </p:nvPr>
        </p:nvSpPr>
        <p:spPr>
          <a:xfrm>
            <a:off x="1910080" y="359898"/>
            <a:ext cx="9875520" cy="1472184"/>
          </a:xfrm>
        </p:spPr>
        <p:txBody>
          <a:bodyPr anchor="b"/>
          <a:lstStyle>
            <a:lvl1pPr algn="l">
              <a:defRPr/>
            </a:lvl1pPr>
            <a:extLst/>
          </a:lstStyle>
          <a:p>
            <a:r>
              <a:rPr lang="en-US"/>
              <a:t>Click to edit Master title style</a:t>
            </a:r>
          </a:p>
        </p:txBody>
      </p:sp>
      <p:sp>
        <p:nvSpPr>
          <p:cNvPr id="22" name="Subtitle 21"/>
          <p:cNvSpPr>
            <a:spLocks noGrp="1"/>
          </p:cNvSpPr>
          <p:nvPr>
            <p:ph type="subTitle" idx="1"/>
          </p:nvPr>
        </p:nvSpPr>
        <p:spPr>
          <a:xfrm>
            <a:off x="1910080" y="1850064"/>
            <a:ext cx="9875520"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lang="en-US"/>
              <a:t>Click to edit Master subtitle style</a:t>
            </a:r>
          </a:p>
        </p:txBody>
      </p:sp>
      <p:sp>
        <p:nvSpPr>
          <p:cNvPr id="4" name="Date Placeholder 6">
            <a:extLst>
              <a:ext uri="{FF2B5EF4-FFF2-40B4-BE49-F238E27FC236}">
                <a16:creationId xmlns:a16="http://schemas.microsoft.com/office/drawing/2014/main" id="{344E4503-EA9E-46CD-87D4-D64B2274D7B9}"/>
              </a:ext>
            </a:extLst>
          </p:cNvPr>
          <p:cNvSpPr>
            <a:spLocks noGrp="1"/>
          </p:cNvSpPr>
          <p:nvPr>
            <p:ph type="dt" sz="half" idx="10"/>
          </p:nvPr>
        </p:nvSpPr>
        <p:spPr>
          <a:xfrm>
            <a:off x="0" y="0"/>
            <a:ext cx="0" cy="0"/>
          </a:xfrm>
        </p:spPr>
        <p:txBody>
          <a:bodyPr/>
          <a:lstStyle>
            <a:lvl1pPr>
              <a:defRPr/>
            </a:lvl1pPr>
            <a:extLst/>
          </a:lstStyle>
          <a:p>
            <a:pPr>
              <a:defRPr/>
            </a:pPr>
            <a:endParaRPr lang="en-US"/>
          </a:p>
        </p:txBody>
      </p:sp>
      <p:sp>
        <p:nvSpPr>
          <p:cNvPr id="5" name="Footer Placeholder 19">
            <a:extLst>
              <a:ext uri="{FF2B5EF4-FFF2-40B4-BE49-F238E27FC236}">
                <a16:creationId xmlns:a16="http://schemas.microsoft.com/office/drawing/2014/main" id="{35298EA9-9B1E-486B-A0FD-B7077D5441E8}"/>
              </a:ext>
            </a:extLst>
          </p:cNvPr>
          <p:cNvSpPr>
            <a:spLocks noGrp="1"/>
          </p:cNvSpPr>
          <p:nvPr>
            <p:ph type="ftr" sz="quarter" idx="11"/>
          </p:nvPr>
        </p:nvSpPr>
        <p:spPr>
          <a:xfrm>
            <a:off x="0" y="0"/>
            <a:ext cx="0" cy="0"/>
          </a:xfrm>
        </p:spPr>
        <p:txBody>
          <a:bodyPr/>
          <a:lstStyle>
            <a:lvl1pPr>
              <a:defRPr/>
            </a:lvl1pPr>
            <a:extLst/>
          </a:lstStyle>
          <a:p>
            <a:pPr>
              <a:defRPr/>
            </a:pPr>
            <a:endParaRPr lang="en-US"/>
          </a:p>
        </p:txBody>
      </p:sp>
      <p:sp>
        <p:nvSpPr>
          <p:cNvPr id="6" name="Slide Number Placeholder 9">
            <a:extLst>
              <a:ext uri="{FF2B5EF4-FFF2-40B4-BE49-F238E27FC236}">
                <a16:creationId xmlns:a16="http://schemas.microsoft.com/office/drawing/2014/main" id="{4C280F44-AD7A-431C-8F64-016598F2D04A}"/>
              </a:ext>
            </a:extLst>
          </p:cNvPr>
          <p:cNvSpPr>
            <a:spLocks noGrp="1"/>
          </p:cNvSpPr>
          <p:nvPr>
            <p:ph type="sldNum" sz="quarter" idx="12"/>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fld id="{57B7EB7A-FE5B-490C-88BA-A2E1D5BD79CB}" type="slidenum">
              <a:rPr lang="en-US" altLang="en-US"/>
              <a:pPr/>
              <a:t>‹#›</a:t>
            </a:fld>
            <a:endParaRPr lang="en-US" altLang="en-US"/>
          </a:p>
        </p:txBody>
      </p:sp>
    </p:spTree>
    <p:extLst>
      <p:ext uri="{BB962C8B-B14F-4D97-AF65-F5344CB8AC3E}">
        <p14:creationId xmlns:p14="http://schemas.microsoft.com/office/powerpoint/2010/main" val="1401468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6200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6625731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Option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1513" y="1453561"/>
            <a:ext cx="8838473" cy="1870729"/>
          </a:xfrm>
        </p:spPr>
        <p:txBody>
          <a:bodyPr anchor="b">
            <a:normAutofit/>
          </a:bodyPr>
          <a:lstStyle>
            <a:lvl1pPr>
              <a:defRPr sz="3733" b="1" baseline="0"/>
            </a:lvl1pPr>
          </a:lstStyle>
          <a:p>
            <a:r>
              <a:rPr lang="en-US" dirty="0"/>
              <a:t>Title slide style, 28pt bold Arial</a:t>
            </a:r>
          </a:p>
        </p:txBody>
      </p:sp>
      <p:sp>
        <p:nvSpPr>
          <p:cNvPr id="3" name="Subtitle 2"/>
          <p:cNvSpPr>
            <a:spLocks noGrp="1"/>
          </p:cNvSpPr>
          <p:nvPr>
            <p:ph type="subTitle" idx="1" hasCustomPrompt="1"/>
          </p:nvPr>
        </p:nvSpPr>
        <p:spPr>
          <a:xfrm>
            <a:off x="1168780" y="3324290"/>
            <a:ext cx="8831205" cy="1741327"/>
          </a:xfrm>
        </p:spPr>
        <p:txBody>
          <a:bodyPr anchor="t">
            <a:normAutofit/>
          </a:bodyPr>
          <a:lstStyle>
            <a:lvl1pPr marL="0" indent="0" algn="l">
              <a:buNone/>
              <a:defRPr sz="2667" baseline="0">
                <a:solidFill>
                  <a:srgbClr val="429644"/>
                </a:solidFill>
                <a:latin typeface="Georgia"/>
                <a:cs typeface="Georgi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Title subhead style, 20pt reg, Georgia</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21492" y="316599"/>
            <a:ext cx="2182275" cy="379308"/>
          </a:xfrm>
          <a:prstGeom prst="rect">
            <a:avLst/>
          </a:prstGeom>
        </p:spPr>
      </p:pic>
    </p:spTree>
    <p:extLst>
      <p:ext uri="{BB962C8B-B14F-4D97-AF65-F5344CB8AC3E}">
        <p14:creationId xmlns:p14="http://schemas.microsoft.com/office/powerpoint/2010/main" val="38946786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sp>
        <p:nvSpPr>
          <p:cNvPr id="4" name="Rectangle 3"/>
          <p:cNvSpPr/>
          <p:nvPr userDrawn="1"/>
        </p:nvSpPr>
        <p:spPr>
          <a:xfrm>
            <a:off x="0" y="2653307"/>
            <a:ext cx="12192000" cy="2278000"/>
          </a:xfrm>
          <a:prstGeom prst="rect">
            <a:avLst/>
          </a:prstGeom>
          <a:solidFill>
            <a:srgbClr val="4296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Title 1"/>
          <p:cNvSpPr>
            <a:spLocks noGrp="1"/>
          </p:cNvSpPr>
          <p:nvPr>
            <p:ph type="ctrTitle" hasCustomPrompt="1"/>
          </p:nvPr>
        </p:nvSpPr>
        <p:spPr>
          <a:xfrm>
            <a:off x="1161513" y="2893681"/>
            <a:ext cx="8838473" cy="1870729"/>
          </a:xfrm>
        </p:spPr>
        <p:txBody>
          <a:bodyPr anchor="b">
            <a:normAutofit/>
          </a:bodyPr>
          <a:lstStyle>
            <a:lvl1pPr>
              <a:defRPr sz="3733" b="0" baseline="0">
                <a:solidFill>
                  <a:schemeClr val="bg1"/>
                </a:solidFill>
              </a:defRPr>
            </a:lvl1pPr>
          </a:lstStyle>
          <a:p>
            <a:r>
              <a:rPr lang="en-US" dirty="0"/>
              <a:t>Option 2: Title slide style, 28pt reg Arial</a:t>
            </a:r>
          </a:p>
        </p:txBody>
      </p:sp>
      <p:sp>
        <p:nvSpPr>
          <p:cNvPr id="6" name="Rectangle 5"/>
          <p:cNvSpPr/>
          <p:nvPr userDrawn="1"/>
        </p:nvSpPr>
        <p:spPr>
          <a:xfrm>
            <a:off x="0" y="4931307"/>
            <a:ext cx="12192000" cy="253111"/>
          </a:xfrm>
          <a:prstGeom prst="rect">
            <a:avLst/>
          </a:prstGeom>
          <a:solidFill>
            <a:srgbClr val="0053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44644" y="506253"/>
            <a:ext cx="2182275" cy="379308"/>
          </a:xfrm>
          <a:prstGeom prst="rect">
            <a:avLst/>
          </a:prstGeom>
        </p:spPr>
      </p:pic>
    </p:spTree>
    <p:extLst>
      <p:ext uri="{BB962C8B-B14F-4D97-AF65-F5344CB8AC3E}">
        <p14:creationId xmlns:p14="http://schemas.microsoft.com/office/powerpoint/2010/main" val="26698379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89175"/>
            <a:ext cx="10972800" cy="1311027"/>
          </a:xfrm>
        </p:spPr>
        <p:txBody>
          <a:bodyPr>
            <a:normAutofit/>
          </a:bodyPr>
          <a:lstStyle>
            <a:lvl1pPr>
              <a:defRPr sz="3200"/>
            </a:lvl1pPr>
          </a:lstStyle>
          <a:p>
            <a:r>
              <a:rPr lang="en-US" dirty="0"/>
              <a:t>Title slide style, 24pt Arial bold</a:t>
            </a:r>
          </a:p>
        </p:txBody>
      </p:sp>
      <p:sp>
        <p:nvSpPr>
          <p:cNvPr id="3" name="Content Placeholder 2"/>
          <p:cNvSpPr>
            <a:spLocks noGrp="1"/>
          </p:cNvSpPr>
          <p:nvPr>
            <p:ph idx="1"/>
          </p:nvPr>
        </p:nvSpPr>
        <p:spPr>
          <a:xfrm>
            <a:off x="609600" y="1600202"/>
            <a:ext cx="10972800" cy="4279383"/>
          </a:xfrm>
        </p:spPr>
        <p:txBody>
          <a:bodyPr lIns="0"/>
          <a:lstStyle>
            <a:lvl1pPr indent="-219451">
              <a:defRPr sz="2667"/>
            </a:lvl1pPr>
            <a:lvl2pPr indent="-219451">
              <a:defRPr sz="2400"/>
            </a:lvl2pPr>
            <a:lvl3pPr indent="-195067">
              <a:defRPr sz="2133"/>
            </a:lvl3pPr>
            <a:lvl4pPr indent="-170684">
              <a:defRPr sz="1867"/>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7173" y="6203240"/>
            <a:ext cx="2125228" cy="374509"/>
          </a:xfrm>
          <a:prstGeom prst="rect">
            <a:avLst/>
          </a:prstGeom>
        </p:spPr>
      </p:pic>
    </p:spTree>
    <p:extLst>
      <p:ext uri="{BB962C8B-B14F-4D97-AF65-F5344CB8AC3E}">
        <p14:creationId xmlns:p14="http://schemas.microsoft.com/office/powerpoint/2010/main" val="6502847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Break Blue">
    <p:bg>
      <p:bgPr>
        <a:solidFill>
          <a:srgbClr val="00539B"/>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14169"/>
            <a:ext cx="10363200" cy="1362075"/>
          </a:xfrm>
        </p:spPr>
        <p:txBody>
          <a:bodyPr anchor="t">
            <a:normAutofit/>
          </a:bodyPr>
          <a:lstStyle>
            <a:lvl1pPr algn="l">
              <a:defRPr sz="3200" b="1" cap="all" baseline="0">
                <a:solidFill>
                  <a:schemeClr val="bg1"/>
                </a:solidFill>
              </a:defRPr>
            </a:lvl1pPr>
          </a:lstStyle>
          <a:p>
            <a:r>
              <a:rPr lang="en-US" dirty="0"/>
              <a:t>Title Style, 24pt Arial uppercase, </a:t>
            </a:r>
            <a:br>
              <a:rPr lang="en-US" dirty="0"/>
            </a:br>
            <a:r>
              <a:rPr lang="en-US" dirty="0"/>
              <a:t>bold reversed </a:t>
            </a:r>
          </a:p>
        </p:txBody>
      </p:sp>
      <p:sp>
        <p:nvSpPr>
          <p:cNvPr id="3" name="Text Placeholder 2"/>
          <p:cNvSpPr>
            <a:spLocks noGrp="1"/>
          </p:cNvSpPr>
          <p:nvPr>
            <p:ph type="body" idx="1" hasCustomPrompt="1"/>
          </p:nvPr>
        </p:nvSpPr>
        <p:spPr>
          <a:xfrm>
            <a:off x="963084" y="2906713"/>
            <a:ext cx="10363200" cy="1500187"/>
          </a:xfrm>
        </p:spPr>
        <p:txBody>
          <a:bodyPr anchor="b">
            <a:normAutofit/>
          </a:bodyPr>
          <a:lstStyle>
            <a:lvl1pPr marL="0" indent="0">
              <a:buNone/>
              <a:defRPr sz="2133" baseline="0">
                <a:solidFill>
                  <a:schemeClr val="bg1"/>
                </a:solidFill>
                <a:latin typeface="Georgia"/>
                <a:cs typeface="Georgia"/>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dirty="0"/>
              <a:t>Subhead style, 16pt Georgia reg, reversed</a:t>
            </a:r>
          </a:p>
        </p:txBody>
      </p:sp>
    </p:spTree>
    <p:extLst>
      <p:ext uri="{BB962C8B-B14F-4D97-AF65-F5344CB8AC3E}">
        <p14:creationId xmlns:p14="http://schemas.microsoft.com/office/powerpoint/2010/main" val="9737392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Break Green">
    <p:bg>
      <p:bgPr>
        <a:solidFill>
          <a:srgbClr val="429644"/>
        </a:soli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963084" y="4406901"/>
            <a:ext cx="10363200" cy="1362075"/>
          </a:xfrm>
        </p:spPr>
        <p:txBody>
          <a:bodyPr anchor="t">
            <a:normAutofit/>
          </a:bodyPr>
          <a:lstStyle>
            <a:lvl1pPr algn="l">
              <a:defRPr sz="3200" b="1" cap="all">
                <a:solidFill>
                  <a:schemeClr val="bg1"/>
                </a:solidFill>
              </a:defRPr>
            </a:lvl1pPr>
          </a:lstStyle>
          <a:p>
            <a:r>
              <a:rPr lang="en-US" dirty="0"/>
              <a:t>Title Style, 24pt Arial uppercase, </a:t>
            </a:r>
            <a:br>
              <a:rPr lang="en-US" dirty="0"/>
            </a:br>
            <a:r>
              <a:rPr lang="en-US" dirty="0"/>
              <a:t>bold reversed </a:t>
            </a:r>
          </a:p>
        </p:txBody>
      </p:sp>
      <p:sp>
        <p:nvSpPr>
          <p:cNvPr id="9" name="Text Placeholder 2"/>
          <p:cNvSpPr>
            <a:spLocks noGrp="1"/>
          </p:cNvSpPr>
          <p:nvPr>
            <p:ph type="body" idx="1" hasCustomPrompt="1"/>
          </p:nvPr>
        </p:nvSpPr>
        <p:spPr>
          <a:xfrm>
            <a:off x="963084" y="2906713"/>
            <a:ext cx="10363200" cy="1500187"/>
          </a:xfrm>
        </p:spPr>
        <p:txBody>
          <a:bodyPr anchor="b">
            <a:normAutofit/>
          </a:bodyPr>
          <a:lstStyle>
            <a:lvl1pPr marL="0" indent="0">
              <a:buNone/>
              <a:defRPr sz="2133">
                <a:solidFill>
                  <a:schemeClr val="bg1"/>
                </a:solidFill>
                <a:latin typeface="Georgia"/>
                <a:cs typeface="Georgia"/>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Subhead style, 16pt Georgia reg, reversed</a:t>
            </a:r>
            <a:endParaRPr lang="en-US" dirty="0"/>
          </a:p>
        </p:txBody>
      </p:sp>
    </p:spTree>
    <p:extLst>
      <p:ext uri="{BB962C8B-B14F-4D97-AF65-F5344CB8AC3E}">
        <p14:creationId xmlns:p14="http://schemas.microsoft.com/office/powerpoint/2010/main" val="9993800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13962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06545" y="864853"/>
            <a:ext cx="9722321" cy="1870729"/>
          </a:xfrm>
        </p:spPr>
        <p:txBody>
          <a:bodyPr anchor="b">
            <a:normAutofit/>
          </a:bodyPr>
          <a:lstStyle>
            <a:lvl1pPr algn="ctr">
              <a:defRPr sz="3733" b="1" baseline="0"/>
            </a:lvl1pPr>
          </a:lstStyle>
          <a:p>
            <a:r>
              <a:rPr lang="en-US" dirty="0"/>
              <a:t>Are there any questions</a:t>
            </a:r>
          </a:p>
        </p:txBody>
      </p:sp>
      <p:sp>
        <p:nvSpPr>
          <p:cNvPr id="3" name="Subtitle 2"/>
          <p:cNvSpPr>
            <a:spLocks noGrp="1"/>
          </p:cNvSpPr>
          <p:nvPr>
            <p:ph type="subTitle" idx="1" hasCustomPrompt="1"/>
          </p:nvPr>
        </p:nvSpPr>
        <p:spPr>
          <a:xfrm>
            <a:off x="1214176" y="2742850"/>
            <a:ext cx="9714325" cy="1741327"/>
          </a:xfrm>
        </p:spPr>
        <p:txBody>
          <a:bodyPr anchor="t">
            <a:normAutofit/>
          </a:bodyPr>
          <a:lstStyle>
            <a:lvl1pPr marL="0" indent="0" algn="ctr">
              <a:buNone/>
              <a:defRPr sz="2667" baseline="0">
                <a:solidFill>
                  <a:srgbClr val="429644"/>
                </a:solidFill>
                <a:latin typeface="Georgia"/>
                <a:cs typeface="Georgi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ubhead if needed for closing.</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76567" y="5944623"/>
            <a:ext cx="2182275" cy="379308"/>
          </a:xfrm>
          <a:prstGeom prst="rect">
            <a:avLst/>
          </a:prstGeom>
        </p:spPr>
      </p:pic>
    </p:spTree>
    <p:extLst>
      <p:ext uri="{BB962C8B-B14F-4D97-AF65-F5344CB8AC3E}">
        <p14:creationId xmlns:p14="http://schemas.microsoft.com/office/powerpoint/2010/main" val="42305527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5" name="Rectangle 4"/>
          <p:cNvSpPr/>
          <p:nvPr userDrawn="1"/>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dirty="0"/>
              <a:t>Click to edit Master title style</a:t>
            </a:r>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21452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52344212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52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ver_green">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49" y="0"/>
            <a:ext cx="12179300" cy="6856214"/>
          </a:xfrm>
          <a:prstGeom prst="rect">
            <a:avLst/>
          </a:prstGeom>
        </p:spPr>
      </p:pic>
      <p:sp>
        <p:nvSpPr>
          <p:cNvPr id="2" name="Title 1">
            <a:extLst>
              <a:ext uri="{FF2B5EF4-FFF2-40B4-BE49-F238E27FC236}">
                <a16:creationId xmlns:a16="http://schemas.microsoft.com/office/drawing/2014/main" id="{BCFE9681-4657-7A44-8303-6BC8A656563F}"/>
              </a:ext>
            </a:extLst>
          </p:cNvPr>
          <p:cNvSpPr>
            <a:spLocks noGrp="1"/>
          </p:cNvSpPr>
          <p:nvPr>
            <p:ph type="title"/>
          </p:nvPr>
        </p:nvSpPr>
        <p:spPr>
          <a:xfrm>
            <a:off x="457320" y="3429000"/>
            <a:ext cx="5525938" cy="2072148"/>
          </a:xfrm>
        </p:spPr>
        <p:txBody>
          <a:bodyPr lIns="0" tIns="182880" rIns="0" bIns="0" anchor="t" anchorCtr="0">
            <a:noAutofit/>
          </a:bodyPr>
          <a:lstStyle>
            <a:lvl1pPr>
              <a:lnSpc>
                <a:spcPts val="5200"/>
              </a:lnSpc>
              <a:defRPr sz="4800" b="0">
                <a:solidFill>
                  <a:schemeClr val="accent1"/>
                </a:solidFill>
              </a:defRPr>
            </a:lvl1pPr>
          </a:lstStyle>
          <a:p>
            <a:r>
              <a:rPr lang="en-US"/>
              <a:t>Click to edit Master title style</a:t>
            </a:r>
          </a:p>
        </p:txBody>
      </p:sp>
      <p:sp>
        <p:nvSpPr>
          <p:cNvPr id="9" name="Text Placeholder 6">
            <a:extLst>
              <a:ext uri="{FF2B5EF4-FFF2-40B4-BE49-F238E27FC236}">
                <a16:creationId xmlns:a16="http://schemas.microsoft.com/office/drawing/2014/main" id="{6445DE1D-B262-6140-9162-47C7C8AB7FCB}"/>
              </a:ext>
            </a:extLst>
          </p:cNvPr>
          <p:cNvSpPr>
            <a:spLocks noGrp="1"/>
          </p:cNvSpPr>
          <p:nvPr>
            <p:ph type="body" sz="quarter" idx="11"/>
          </p:nvPr>
        </p:nvSpPr>
        <p:spPr>
          <a:xfrm>
            <a:off x="460495" y="5501148"/>
            <a:ext cx="5522763" cy="525002"/>
          </a:xfrm>
          <a:prstGeom prst="rect">
            <a:avLst/>
          </a:prstGeom>
        </p:spPr>
        <p:txBody>
          <a:bodyPr lIns="0" tIns="0" anchor="b" anchorCtr="0">
            <a:noAutofit/>
          </a:bodyPr>
          <a:lstStyle>
            <a:lvl1pPr>
              <a:lnSpc>
                <a:spcPts val="2300"/>
              </a:lnSpc>
              <a:spcAft>
                <a:spcPts val="0"/>
              </a:spcAft>
              <a:defRPr sz="16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Edit Master text styles</a:t>
            </a:r>
          </a:p>
        </p:txBody>
      </p:sp>
      <p:pic>
        <p:nvPicPr>
          <p:cNvPr id="10" name="Picture 9">
            <a:extLst>
              <a:ext uri="{FF2B5EF4-FFF2-40B4-BE49-F238E27FC236}">
                <a16:creationId xmlns:a16="http://schemas.microsoft.com/office/drawing/2014/main" id="{855D7BD9-937A-3447-938D-81FBB57291E1}"/>
              </a:ext>
            </a:extLst>
          </p:cNvPr>
          <p:cNvPicPr>
            <a:picLocks noChangeAspect="1"/>
          </p:cNvPicPr>
          <p:nvPr userDrawn="1"/>
        </p:nvPicPr>
        <p:blipFill>
          <a:blip r:embed="rId3"/>
          <a:srcRect/>
          <a:stretch/>
        </p:blipFill>
        <p:spPr>
          <a:xfrm>
            <a:off x="474482" y="480762"/>
            <a:ext cx="2431521" cy="463564"/>
          </a:xfrm>
          <a:prstGeom prst="rect">
            <a:avLst/>
          </a:prstGeom>
        </p:spPr>
      </p:pic>
      <p:sp>
        <p:nvSpPr>
          <p:cNvPr id="3" name="Date Placeholder 2">
            <a:extLst>
              <a:ext uri="{FF2B5EF4-FFF2-40B4-BE49-F238E27FC236}">
                <a16:creationId xmlns:a16="http://schemas.microsoft.com/office/drawing/2014/main" id="{407AA221-68AF-F347-BB20-F287D97F8652}"/>
              </a:ext>
            </a:extLst>
          </p:cNvPr>
          <p:cNvSpPr>
            <a:spLocks noGrp="1"/>
          </p:cNvSpPr>
          <p:nvPr>
            <p:ph type="dt" sz="half" idx="13"/>
          </p:nvPr>
        </p:nvSpPr>
        <p:spPr>
          <a:xfrm>
            <a:off x="455731" y="6026150"/>
            <a:ext cx="5527526" cy="209550"/>
          </a:xfrm>
          <a:prstGeom prst="rect">
            <a:avLst/>
          </a:prstGeom>
        </p:spPr>
        <p:txBody>
          <a:bodyPr lIns="0" tIns="0" rIns="0" bIns="0"/>
          <a:lstStyle>
            <a:lvl1pPr>
              <a:defRPr sz="1600" b="0" i="0">
                <a:solidFill>
                  <a:schemeClr val="accent2"/>
                </a:solidFill>
                <a:latin typeface="Barlow" pitchFamily="2" charset="77"/>
              </a:defRPr>
            </a:lvl1pPr>
            <a:lvl2pPr marL="0">
              <a:defRPr sz="1600" b="0" i="0">
                <a:solidFill>
                  <a:schemeClr val="accent2"/>
                </a:solidFill>
                <a:latin typeface="Barlow" pitchFamily="2" charset="77"/>
              </a:defRPr>
            </a:lvl2pPr>
            <a:lvl3pPr marL="0">
              <a:defRPr sz="1600" b="0" i="0">
                <a:solidFill>
                  <a:schemeClr val="accent2"/>
                </a:solidFill>
                <a:latin typeface="Barlow" pitchFamily="2" charset="77"/>
              </a:defRPr>
            </a:lvl3pPr>
            <a:lvl4pPr marL="0">
              <a:defRPr sz="1600" b="0" i="0">
                <a:solidFill>
                  <a:schemeClr val="accent2"/>
                </a:solidFill>
                <a:latin typeface="Barlow" pitchFamily="2" charset="77"/>
              </a:defRPr>
            </a:lvl4pPr>
            <a:lvl5pPr marL="0">
              <a:defRPr sz="1600" b="0" i="0">
                <a:solidFill>
                  <a:schemeClr val="accent2"/>
                </a:solidFill>
                <a:latin typeface="Barlow" pitchFamily="2" charset="77"/>
              </a:defRPr>
            </a:lvl5pPr>
            <a:lvl6pPr marL="0">
              <a:defRPr sz="1600" b="0" i="0">
                <a:solidFill>
                  <a:schemeClr val="accent2"/>
                </a:solidFill>
                <a:latin typeface="Barlow" pitchFamily="2" charset="77"/>
              </a:defRPr>
            </a:lvl6pPr>
            <a:lvl7pPr marL="0">
              <a:defRPr sz="1600" b="0" i="0">
                <a:solidFill>
                  <a:schemeClr val="accent2"/>
                </a:solidFill>
                <a:latin typeface="Barlow" pitchFamily="2" charset="77"/>
              </a:defRPr>
            </a:lvl7pPr>
            <a:lvl8pPr marL="0">
              <a:defRPr sz="1600">
                <a:solidFill>
                  <a:schemeClr val="accent2"/>
                </a:solidFill>
                <a:latin typeface="Barlow" pitchFamily="2" charset="77"/>
              </a:defRPr>
            </a:lvl8pPr>
            <a:lvl9pPr marL="0">
              <a:defRPr sz="1600" b="0" i="0">
                <a:solidFill>
                  <a:schemeClr val="accent2"/>
                </a:solidFill>
                <a:latin typeface="Barlow" pitchFamily="2" charset="77"/>
              </a:defRPr>
            </a:lvl9pPr>
          </a:lstStyle>
          <a:p>
            <a:pPr lvl="8"/>
            <a:r>
              <a:rPr lang="en-US"/>
              <a:t>Date</a:t>
            </a:r>
          </a:p>
        </p:txBody>
      </p:sp>
      <p:sp>
        <p:nvSpPr>
          <p:cNvPr id="7" name="Text Placeholder 6">
            <a:extLst>
              <a:ext uri="{FF2B5EF4-FFF2-40B4-BE49-F238E27FC236}">
                <a16:creationId xmlns:a16="http://schemas.microsoft.com/office/drawing/2014/main" id="{A336640F-6710-EB4A-B511-FD0381C1BB35}"/>
              </a:ext>
            </a:extLst>
          </p:cNvPr>
          <p:cNvSpPr>
            <a:spLocks noGrp="1"/>
          </p:cNvSpPr>
          <p:nvPr>
            <p:ph type="body" sz="quarter" idx="14" hasCustomPrompt="1"/>
          </p:nvPr>
        </p:nvSpPr>
        <p:spPr>
          <a:xfrm>
            <a:off x="457319" y="2509603"/>
            <a:ext cx="5525939" cy="919398"/>
          </a:xfrm>
          <a:prstGeom prst="rect">
            <a:avLst/>
          </a:prstGeom>
        </p:spPr>
        <p:txBody>
          <a:bodyPr lIns="0" tIns="182880" anchor="b" anchorCtr="0">
            <a:noAutofit/>
          </a:bodyPr>
          <a:lstStyle>
            <a:lvl1pPr>
              <a:lnSpc>
                <a:spcPts val="2300"/>
              </a:lnSpc>
              <a:spcAft>
                <a:spcPts val="0"/>
              </a:spcAft>
              <a:defRPr sz="20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Optional service or offering name here</a:t>
            </a:r>
          </a:p>
        </p:txBody>
      </p:sp>
      <p:sp>
        <p:nvSpPr>
          <p:cNvPr id="8" name="Picture Placeholder 16">
            <a:extLst>
              <a:ext uri="{FF2B5EF4-FFF2-40B4-BE49-F238E27FC236}">
                <a16:creationId xmlns:a16="http://schemas.microsoft.com/office/drawing/2014/main" id="{76D9B640-6864-524C-A6F7-0535DFD0684D}"/>
              </a:ext>
            </a:extLst>
          </p:cNvPr>
          <p:cNvSpPr>
            <a:spLocks noGrp="1"/>
          </p:cNvSpPr>
          <p:nvPr>
            <p:ph type="pic" sz="quarter" idx="17" hasCustomPrompt="1"/>
          </p:nvPr>
        </p:nvSpPr>
        <p:spPr>
          <a:xfrm>
            <a:off x="474482" y="460375"/>
            <a:ext cx="2431521" cy="876300"/>
          </a:xfrm>
          <a:solidFill>
            <a:schemeClr val="bg1"/>
          </a:solidFill>
        </p:spPr>
        <p:txBody>
          <a:bodyPr tIns="0" anchor="t" anchorCtr="0"/>
          <a:lstStyle>
            <a:lvl1pPr algn="ctr">
              <a:spcAft>
                <a:spcPts val="0"/>
              </a:spcAft>
              <a:defRPr sz="800">
                <a:solidFill>
                  <a:schemeClr val="tx2"/>
                </a:solidFill>
              </a:defRPr>
            </a:lvl1pPr>
          </a:lstStyle>
          <a:p>
            <a:r>
              <a:rPr lang="en-US" dirty="0"/>
              <a:t>Insert entity logo or delete box for default logo</a:t>
            </a:r>
          </a:p>
        </p:txBody>
      </p:sp>
      <p:pic>
        <p:nvPicPr>
          <p:cNvPr id="11" name="Picture 10">
            <a:extLst>
              <a:ext uri="{FF2B5EF4-FFF2-40B4-BE49-F238E27FC236}">
                <a16:creationId xmlns:a16="http://schemas.microsoft.com/office/drawing/2014/main" id="{5E073DFE-D8AF-1540-B14C-994CAB0A965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8821" y="1457278"/>
            <a:ext cx="2182843" cy="379308"/>
          </a:xfrm>
          <a:prstGeom prst="rect">
            <a:avLst/>
          </a:prstGeom>
        </p:spPr>
      </p:pic>
    </p:spTree>
    <p:extLst>
      <p:ext uri="{BB962C8B-B14F-4D97-AF65-F5344CB8AC3E}">
        <p14:creationId xmlns:p14="http://schemas.microsoft.com/office/powerpoint/2010/main" val="24633010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ver_blue">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1"/>
            <a:ext cx="12179298" cy="6856213"/>
          </a:xfrm>
          <a:prstGeom prst="rect">
            <a:avLst/>
          </a:prstGeom>
        </p:spPr>
      </p:pic>
      <p:pic>
        <p:nvPicPr>
          <p:cNvPr id="8" name="Picture 7">
            <a:extLst>
              <a:ext uri="{FF2B5EF4-FFF2-40B4-BE49-F238E27FC236}">
                <a16:creationId xmlns:a16="http://schemas.microsoft.com/office/drawing/2014/main" id="{5FA1D6A8-D2DB-2247-845A-4C18FB7E51D6}"/>
              </a:ext>
            </a:extLst>
          </p:cNvPr>
          <p:cNvPicPr>
            <a:picLocks noChangeAspect="1"/>
          </p:cNvPicPr>
          <p:nvPr userDrawn="1"/>
        </p:nvPicPr>
        <p:blipFill>
          <a:blip r:embed="rId3"/>
          <a:srcRect/>
          <a:stretch/>
        </p:blipFill>
        <p:spPr>
          <a:xfrm>
            <a:off x="474482" y="480762"/>
            <a:ext cx="2431521" cy="463564"/>
          </a:xfrm>
          <a:prstGeom prst="rect">
            <a:avLst/>
          </a:prstGeom>
        </p:spPr>
      </p:pic>
      <p:sp>
        <p:nvSpPr>
          <p:cNvPr id="11" name="Title 1">
            <a:extLst>
              <a:ext uri="{FF2B5EF4-FFF2-40B4-BE49-F238E27FC236}">
                <a16:creationId xmlns:a16="http://schemas.microsoft.com/office/drawing/2014/main" id="{3D712B30-2C20-A249-A5F8-9585689F110C}"/>
              </a:ext>
            </a:extLst>
          </p:cNvPr>
          <p:cNvSpPr>
            <a:spLocks noGrp="1"/>
          </p:cNvSpPr>
          <p:nvPr>
            <p:ph type="title"/>
          </p:nvPr>
        </p:nvSpPr>
        <p:spPr>
          <a:xfrm>
            <a:off x="457320" y="3429000"/>
            <a:ext cx="5525938" cy="2072148"/>
          </a:xfrm>
        </p:spPr>
        <p:txBody>
          <a:bodyPr lIns="0" tIns="182880" rIns="0" bIns="0" anchor="t" anchorCtr="0">
            <a:noAutofit/>
          </a:bodyPr>
          <a:lstStyle>
            <a:lvl1pPr>
              <a:lnSpc>
                <a:spcPts val="5200"/>
              </a:lnSpc>
              <a:defRPr sz="4800" b="0">
                <a:solidFill>
                  <a:schemeClr val="accent1"/>
                </a:solidFill>
              </a:defRPr>
            </a:lvl1pPr>
          </a:lstStyle>
          <a:p>
            <a:r>
              <a:rPr lang="en-US"/>
              <a:t>Click to edit Master title style</a:t>
            </a:r>
          </a:p>
        </p:txBody>
      </p:sp>
      <p:sp>
        <p:nvSpPr>
          <p:cNvPr id="12" name="Text Placeholder 6">
            <a:extLst>
              <a:ext uri="{FF2B5EF4-FFF2-40B4-BE49-F238E27FC236}">
                <a16:creationId xmlns:a16="http://schemas.microsoft.com/office/drawing/2014/main" id="{DB54FC76-E836-6C49-940A-E08DA2262185}"/>
              </a:ext>
            </a:extLst>
          </p:cNvPr>
          <p:cNvSpPr>
            <a:spLocks noGrp="1"/>
          </p:cNvSpPr>
          <p:nvPr>
            <p:ph type="body" sz="quarter" idx="11"/>
          </p:nvPr>
        </p:nvSpPr>
        <p:spPr>
          <a:xfrm>
            <a:off x="460495" y="5501148"/>
            <a:ext cx="5522763" cy="525002"/>
          </a:xfrm>
          <a:prstGeom prst="rect">
            <a:avLst/>
          </a:prstGeom>
        </p:spPr>
        <p:txBody>
          <a:bodyPr lIns="0" tIns="0" anchor="b" anchorCtr="0">
            <a:noAutofit/>
          </a:bodyPr>
          <a:lstStyle>
            <a:lvl1pPr>
              <a:lnSpc>
                <a:spcPts val="2300"/>
              </a:lnSpc>
              <a:spcAft>
                <a:spcPts val="0"/>
              </a:spcAft>
              <a:defRPr sz="16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Edit Master text styles</a:t>
            </a:r>
          </a:p>
        </p:txBody>
      </p:sp>
      <p:sp>
        <p:nvSpPr>
          <p:cNvPr id="14" name="Date Placeholder 2">
            <a:extLst>
              <a:ext uri="{FF2B5EF4-FFF2-40B4-BE49-F238E27FC236}">
                <a16:creationId xmlns:a16="http://schemas.microsoft.com/office/drawing/2014/main" id="{BDECF226-9186-8641-B11A-8137886563DD}"/>
              </a:ext>
            </a:extLst>
          </p:cNvPr>
          <p:cNvSpPr>
            <a:spLocks noGrp="1"/>
          </p:cNvSpPr>
          <p:nvPr>
            <p:ph type="dt" sz="half" idx="13"/>
          </p:nvPr>
        </p:nvSpPr>
        <p:spPr>
          <a:xfrm>
            <a:off x="455731" y="6026150"/>
            <a:ext cx="5527526" cy="209550"/>
          </a:xfrm>
          <a:prstGeom prst="rect">
            <a:avLst/>
          </a:prstGeom>
        </p:spPr>
        <p:txBody>
          <a:bodyPr lIns="0" tIns="0" rIns="0" bIns="0"/>
          <a:lstStyle>
            <a:lvl1pPr>
              <a:defRPr sz="1600" b="0" i="0">
                <a:solidFill>
                  <a:schemeClr val="accent2"/>
                </a:solidFill>
                <a:latin typeface="Barlow" pitchFamily="2" charset="77"/>
              </a:defRPr>
            </a:lvl1pPr>
            <a:lvl2pPr marL="0">
              <a:defRPr sz="1600" b="0" i="0">
                <a:solidFill>
                  <a:schemeClr val="accent2"/>
                </a:solidFill>
                <a:latin typeface="Barlow" pitchFamily="2" charset="77"/>
              </a:defRPr>
            </a:lvl2pPr>
            <a:lvl3pPr marL="0">
              <a:defRPr sz="1600" b="0" i="0">
                <a:solidFill>
                  <a:schemeClr val="accent2"/>
                </a:solidFill>
                <a:latin typeface="Barlow" pitchFamily="2" charset="77"/>
              </a:defRPr>
            </a:lvl3pPr>
            <a:lvl4pPr marL="0">
              <a:defRPr sz="1600" b="0" i="0">
                <a:solidFill>
                  <a:schemeClr val="accent2"/>
                </a:solidFill>
                <a:latin typeface="Barlow" pitchFamily="2" charset="77"/>
              </a:defRPr>
            </a:lvl4pPr>
            <a:lvl5pPr marL="0">
              <a:defRPr sz="1600" b="0" i="0">
                <a:solidFill>
                  <a:schemeClr val="accent2"/>
                </a:solidFill>
                <a:latin typeface="Barlow" pitchFamily="2" charset="77"/>
              </a:defRPr>
            </a:lvl5pPr>
            <a:lvl6pPr marL="0">
              <a:defRPr sz="1600" b="0" i="0">
                <a:solidFill>
                  <a:schemeClr val="accent2"/>
                </a:solidFill>
                <a:latin typeface="Barlow" pitchFamily="2" charset="77"/>
              </a:defRPr>
            </a:lvl6pPr>
            <a:lvl7pPr marL="0">
              <a:defRPr sz="1600" b="0" i="0">
                <a:solidFill>
                  <a:schemeClr val="accent2"/>
                </a:solidFill>
                <a:latin typeface="Barlow" pitchFamily="2" charset="77"/>
              </a:defRPr>
            </a:lvl7pPr>
            <a:lvl8pPr marL="0">
              <a:defRPr sz="1600">
                <a:solidFill>
                  <a:schemeClr val="accent2"/>
                </a:solidFill>
                <a:latin typeface="Barlow" pitchFamily="2" charset="77"/>
              </a:defRPr>
            </a:lvl8pPr>
            <a:lvl9pPr marL="0">
              <a:defRPr sz="1600" b="0" i="0">
                <a:solidFill>
                  <a:schemeClr val="accent2"/>
                </a:solidFill>
                <a:latin typeface="Barlow" pitchFamily="2" charset="77"/>
              </a:defRPr>
            </a:lvl9pPr>
          </a:lstStyle>
          <a:p>
            <a:pPr lvl="8"/>
            <a:r>
              <a:rPr lang="en-US"/>
              <a:t>Date</a:t>
            </a:r>
          </a:p>
        </p:txBody>
      </p:sp>
      <p:sp>
        <p:nvSpPr>
          <p:cNvPr id="15" name="Text Placeholder 6">
            <a:extLst>
              <a:ext uri="{FF2B5EF4-FFF2-40B4-BE49-F238E27FC236}">
                <a16:creationId xmlns:a16="http://schemas.microsoft.com/office/drawing/2014/main" id="{23AA88A1-D031-1E4B-B466-56CC43EE49E1}"/>
              </a:ext>
            </a:extLst>
          </p:cNvPr>
          <p:cNvSpPr>
            <a:spLocks noGrp="1"/>
          </p:cNvSpPr>
          <p:nvPr>
            <p:ph type="body" sz="quarter" idx="14" hasCustomPrompt="1"/>
          </p:nvPr>
        </p:nvSpPr>
        <p:spPr>
          <a:xfrm>
            <a:off x="457319" y="2509603"/>
            <a:ext cx="5525939" cy="919398"/>
          </a:xfrm>
          <a:prstGeom prst="rect">
            <a:avLst/>
          </a:prstGeom>
        </p:spPr>
        <p:txBody>
          <a:bodyPr lIns="0" tIns="182880" anchor="b" anchorCtr="0">
            <a:noAutofit/>
          </a:bodyPr>
          <a:lstStyle>
            <a:lvl1pPr>
              <a:lnSpc>
                <a:spcPts val="2300"/>
              </a:lnSpc>
              <a:spcAft>
                <a:spcPts val="0"/>
              </a:spcAft>
              <a:defRPr sz="20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Optional service or offering name here</a:t>
            </a:r>
          </a:p>
        </p:txBody>
      </p:sp>
      <p:sp>
        <p:nvSpPr>
          <p:cNvPr id="16" name="Picture Placeholder 16">
            <a:extLst>
              <a:ext uri="{FF2B5EF4-FFF2-40B4-BE49-F238E27FC236}">
                <a16:creationId xmlns:a16="http://schemas.microsoft.com/office/drawing/2014/main" id="{5A66D084-3B3B-9943-9FF7-18E96674CDF1}"/>
              </a:ext>
            </a:extLst>
          </p:cNvPr>
          <p:cNvSpPr>
            <a:spLocks noGrp="1"/>
          </p:cNvSpPr>
          <p:nvPr>
            <p:ph type="pic" sz="quarter" idx="17" hasCustomPrompt="1"/>
          </p:nvPr>
        </p:nvSpPr>
        <p:spPr>
          <a:xfrm>
            <a:off x="474482" y="460375"/>
            <a:ext cx="2431521" cy="876300"/>
          </a:xfrm>
          <a:solidFill>
            <a:schemeClr val="bg1"/>
          </a:solidFill>
        </p:spPr>
        <p:txBody>
          <a:bodyPr tIns="0" anchor="t" anchorCtr="0"/>
          <a:lstStyle>
            <a:lvl1pPr algn="ctr">
              <a:spcAft>
                <a:spcPts val="0"/>
              </a:spcAft>
              <a:defRPr sz="800">
                <a:solidFill>
                  <a:schemeClr val="tx2"/>
                </a:solidFill>
              </a:defRPr>
            </a:lvl1pPr>
          </a:lstStyle>
          <a:p>
            <a:r>
              <a:rPr lang="en-US" dirty="0"/>
              <a:t>Insert entity logo or delete box for default logo</a:t>
            </a:r>
          </a:p>
        </p:txBody>
      </p:sp>
    </p:spTree>
    <p:extLst>
      <p:ext uri="{BB962C8B-B14F-4D97-AF65-F5344CB8AC3E}">
        <p14:creationId xmlns:p14="http://schemas.microsoft.com/office/powerpoint/2010/main" val="34310208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ver_image_1">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49" y="0"/>
            <a:ext cx="12179298" cy="6856212"/>
          </a:xfrm>
          <a:prstGeom prst="rect">
            <a:avLst/>
          </a:prstGeom>
        </p:spPr>
      </p:pic>
      <p:pic>
        <p:nvPicPr>
          <p:cNvPr id="8" name="Picture 7">
            <a:extLst>
              <a:ext uri="{FF2B5EF4-FFF2-40B4-BE49-F238E27FC236}">
                <a16:creationId xmlns:a16="http://schemas.microsoft.com/office/drawing/2014/main" id="{F20716D8-B44F-884B-A9C2-459621A71328}"/>
              </a:ext>
            </a:extLst>
          </p:cNvPr>
          <p:cNvPicPr>
            <a:picLocks noChangeAspect="1"/>
          </p:cNvPicPr>
          <p:nvPr userDrawn="1"/>
        </p:nvPicPr>
        <p:blipFill>
          <a:blip r:embed="rId3"/>
          <a:srcRect/>
          <a:stretch/>
        </p:blipFill>
        <p:spPr>
          <a:xfrm>
            <a:off x="474482" y="480762"/>
            <a:ext cx="2431521" cy="463564"/>
          </a:xfrm>
          <a:prstGeom prst="rect">
            <a:avLst/>
          </a:prstGeom>
        </p:spPr>
      </p:pic>
      <p:sp>
        <p:nvSpPr>
          <p:cNvPr id="11" name="Title 1">
            <a:extLst>
              <a:ext uri="{FF2B5EF4-FFF2-40B4-BE49-F238E27FC236}">
                <a16:creationId xmlns:a16="http://schemas.microsoft.com/office/drawing/2014/main" id="{28630CEA-3BC3-674A-A438-E4F13669E610}"/>
              </a:ext>
            </a:extLst>
          </p:cNvPr>
          <p:cNvSpPr>
            <a:spLocks noGrp="1"/>
          </p:cNvSpPr>
          <p:nvPr>
            <p:ph type="title"/>
          </p:nvPr>
        </p:nvSpPr>
        <p:spPr>
          <a:xfrm>
            <a:off x="457320" y="3429000"/>
            <a:ext cx="5525938" cy="2072148"/>
          </a:xfrm>
        </p:spPr>
        <p:txBody>
          <a:bodyPr lIns="0" tIns="182880" rIns="0" bIns="0" anchor="t" anchorCtr="0">
            <a:noAutofit/>
          </a:bodyPr>
          <a:lstStyle>
            <a:lvl1pPr>
              <a:lnSpc>
                <a:spcPts val="5200"/>
              </a:lnSpc>
              <a:defRPr sz="4800" b="0">
                <a:solidFill>
                  <a:schemeClr val="accent1"/>
                </a:solidFill>
              </a:defRPr>
            </a:lvl1pPr>
          </a:lstStyle>
          <a:p>
            <a:r>
              <a:rPr lang="en-US"/>
              <a:t>Click to edit Master title style</a:t>
            </a:r>
          </a:p>
        </p:txBody>
      </p:sp>
      <p:sp>
        <p:nvSpPr>
          <p:cNvPr id="12" name="Text Placeholder 6">
            <a:extLst>
              <a:ext uri="{FF2B5EF4-FFF2-40B4-BE49-F238E27FC236}">
                <a16:creationId xmlns:a16="http://schemas.microsoft.com/office/drawing/2014/main" id="{8C438B96-72CC-AD46-893B-151CAC20B660}"/>
              </a:ext>
            </a:extLst>
          </p:cNvPr>
          <p:cNvSpPr>
            <a:spLocks noGrp="1"/>
          </p:cNvSpPr>
          <p:nvPr>
            <p:ph type="body" sz="quarter" idx="11"/>
          </p:nvPr>
        </p:nvSpPr>
        <p:spPr>
          <a:xfrm>
            <a:off x="460495" y="5501148"/>
            <a:ext cx="5522763" cy="525002"/>
          </a:xfrm>
          <a:prstGeom prst="rect">
            <a:avLst/>
          </a:prstGeom>
        </p:spPr>
        <p:txBody>
          <a:bodyPr lIns="0" tIns="0" anchor="b" anchorCtr="0">
            <a:noAutofit/>
          </a:bodyPr>
          <a:lstStyle>
            <a:lvl1pPr>
              <a:lnSpc>
                <a:spcPts val="2300"/>
              </a:lnSpc>
              <a:spcAft>
                <a:spcPts val="0"/>
              </a:spcAft>
              <a:defRPr sz="16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Edit Master text styles</a:t>
            </a:r>
          </a:p>
        </p:txBody>
      </p:sp>
      <p:sp>
        <p:nvSpPr>
          <p:cNvPr id="14" name="Date Placeholder 2">
            <a:extLst>
              <a:ext uri="{FF2B5EF4-FFF2-40B4-BE49-F238E27FC236}">
                <a16:creationId xmlns:a16="http://schemas.microsoft.com/office/drawing/2014/main" id="{B453A5BC-ED0D-4845-A8DD-34DEDE375F56}"/>
              </a:ext>
            </a:extLst>
          </p:cNvPr>
          <p:cNvSpPr>
            <a:spLocks noGrp="1"/>
          </p:cNvSpPr>
          <p:nvPr>
            <p:ph type="dt" sz="half" idx="13"/>
          </p:nvPr>
        </p:nvSpPr>
        <p:spPr>
          <a:xfrm>
            <a:off x="455731" y="6026150"/>
            <a:ext cx="5527526" cy="209550"/>
          </a:xfrm>
          <a:prstGeom prst="rect">
            <a:avLst/>
          </a:prstGeom>
        </p:spPr>
        <p:txBody>
          <a:bodyPr lIns="0" tIns="0" rIns="0" bIns="0"/>
          <a:lstStyle>
            <a:lvl1pPr>
              <a:defRPr sz="1600" b="0" i="0">
                <a:solidFill>
                  <a:schemeClr val="accent2"/>
                </a:solidFill>
                <a:latin typeface="Barlow" pitchFamily="2" charset="77"/>
              </a:defRPr>
            </a:lvl1pPr>
            <a:lvl2pPr marL="0">
              <a:defRPr sz="1600" b="0" i="0">
                <a:solidFill>
                  <a:schemeClr val="accent2"/>
                </a:solidFill>
                <a:latin typeface="Barlow" pitchFamily="2" charset="77"/>
              </a:defRPr>
            </a:lvl2pPr>
            <a:lvl3pPr marL="0">
              <a:defRPr sz="1600" b="0" i="0">
                <a:solidFill>
                  <a:schemeClr val="accent2"/>
                </a:solidFill>
                <a:latin typeface="Barlow" pitchFamily="2" charset="77"/>
              </a:defRPr>
            </a:lvl3pPr>
            <a:lvl4pPr marL="0">
              <a:defRPr sz="1600" b="0" i="0">
                <a:solidFill>
                  <a:schemeClr val="accent2"/>
                </a:solidFill>
                <a:latin typeface="Barlow" pitchFamily="2" charset="77"/>
              </a:defRPr>
            </a:lvl4pPr>
            <a:lvl5pPr marL="0">
              <a:defRPr sz="1600" b="0" i="0">
                <a:solidFill>
                  <a:schemeClr val="accent2"/>
                </a:solidFill>
                <a:latin typeface="Barlow" pitchFamily="2" charset="77"/>
              </a:defRPr>
            </a:lvl5pPr>
            <a:lvl6pPr marL="0">
              <a:defRPr sz="1600" b="0" i="0">
                <a:solidFill>
                  <a:schemeClr val="accent2"/>
                </a:solidFill>
                <a:latin typeface="Barlow" pitchFamily="2" charset="77"/>
              </a:defRPr>
            </a:lvl6pPr>
            <a:lvl7pPr marL="0">
              <a:defRPr sz="1600" b="0" i="0">
                <a:solidFill>
                  <a:schemeClr val="accent2"/>
                </a:solidFill>
                <a:latin typeface="Barlow" pitchFamily="2" charset="77"/>
              </a:defRPr>
            </a:lvl7pPr>
            <a:lvl8pPr marL="0">
              <a:defRPr sz="1600">
                <a:solidFill>
                  <a:schemeClr val="accent2"/>
                </a:solidFill>
                <a:latin typeface="Barlow" pitchFamily="2" charset="77"/>
              </a:defRPr>
            </a:lvl8pPr>
            <a:lvl9pPr marL="0">
              <a:defRPr sz="1600" b="0" i="0">
                <a:solidFill>
                  <a:schemeClr val="accent2"/>
                </a:solidFill>
                <a:latin typeface="Barlow" pitchFamily="2" charset="77"/>
              </a:defRPr>
            </a:lvl9pPr>
          </a:lstStyle>
          <a:p>
            <a:pPr lvl="8"/>
            <a:r>
              <a:rPr lang="en-US"/>
              <a:t>Date</a:t>
            </a:r>
          </a:p>
        </p:txBody>
      </p:sp>
      <p:sp>
        <p:nvSpPr>
          <p:cNvPr id="15" name="Text Placeholder 6">
            <a:extLst>
              <a:ext uri="{FF2B5EF4-FFF2-40B4-BE49-F238E27FC236}">
                <a16:creationId xmlns:a16="http://schemas.microsoft.com/office/drawing/2014/main" id="{9B9BCFA6-6AD5-044E-A501-56F6BB48C533}"/>
              </a:ext>
            </a:extLst>
          </p:cNvPr>
          <p:cNvSpPr>
            <a:spLocks noGrp="1"/>
          </p:cNvSpPr>
          <p:nvPr>
            <p:ph type="body" sz="quarter" idx="14" hasCustomPrompt="1"/>
          </p:nvPr>
        </p:nvSpPr>
        <p:spPr>
          <a:xfrm>
            <a:off x="457319" y="2509603"/>
            <a:ext cx="5525939" cy="919398"/>
          </a:xfrm>
          <a:prstGeom prst="rect">
            <a:avLst/>
          </a:prstGeom>
        </p:spPr>
        <p:txBody>
          <a:bodyPr lIns="0" tIns="182880" anchor="b" anchorCtr="0">
            <a:noAutofit/>
          </a:bodyPr>
          <a:lstStyle>
            <a:lvl1pPr>
              <a:lnSpc>
                <a:spcPts val="2300"/>
              </a:lnSpc>
              <a:spcAft>
                <a:spcPts val="0"/>
              </a:spcAft>
              <a:defRPr sz="20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Optional service or offering name here</a:t>
            </a:r>
          </a:p>
        </p:txBody>
      </p:sp>
      <p:sp>
        <p:nvSpPr>
          <p:cNvPr id="16" name="Picture Placeholder 16">
            <a:extLst>
              <a:ext uri="{FF2B5EF4-FFF2-40B4-BE49-F238E27FC236}">
                <a16:creationId xmlns:a16="http://schemas.microsoft.com/office/drawing/2014/main" id="{B8EEF346-7996-D04B-AAE3-CBEAC9A98FA6}"/>
              </a:ext>
            </a:extLst>
          </p:cNvPr>
          <p:cNvSpPr>
            <a:spLocks noGrp="1"/>
          </p:cNvSpPr>
          <p:nvPr>
            <p:ph type="pic" sz="quarter" idx="17" hasCustomPrompt="1"/>
          </p:nvPr>
        </p:nvSpPr>
        <p:spPr>
          <a:xfrm>
            <a:off x="474482" y="460375"/>
            <a:ext cx="2431521" cy="876300"/>
          </a:xfrm>
          <a:solidFill>
            <a:schemeClr val="bg1"/>
          </a:solidFill>
        </p:spPr>
        <p:txBody>
          <a:bodyPr tIns="0" anchor="t" anchorCtr="0"/>
          <a:lstStyle>
            <a:lvl1pPr algn="ctr">
              <a:spcAft>
                <a:spcPts val="0"/>
              </a:spcAft>
              <a:defRPr sz="800">
                <a:solidFill>
                  <a:schemeClr val="tx2"/>
                </a:solidFill>
              </a:defRPr>
            </a:lvl1pPr>
          </a:lstStyle>
          <a:p>
            <a:r>
              <a:rPr lang="en-US" dirty="0"/>
              <a:t>Insert entity logo or delete box for default logo</a:t>
            </a:r>
          </a:p>
        </p:txBody>
      </p:sp>
    </p:spTree>
    <p:extLst>
      <p:ext uri="{BB962C8B-B14F-4D97-AF65-F5344CB8AC3E}">
        <p14:creationId xmlns:p14="http://schemas.microsoft.com/office/powerpoint/2010/main" val="6441909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ver_image_2">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49" y="0"/>
            <a:ext cx="12179298" cy="6856212"/>
          </a:xfrm>
          <a:prstGeom prst="rect">
            <a:avLst/>
          </a:prstGeom>
        </p:spPr>
      </p:pic>
      <p:pic>
        <p:nvPicPr>
          <p:cNvPr id="8" name="Picture 7">
            <a:extLst>
              <a:ext uri="{FF2B5EF4-FFF2-40B4-BE49-F238E27FC236}">
                <a16:creationId xmlns:a16="http://schemas.microsoft.com/office/drawing/2014/main" id="{7915F7A6-3594-E34F-96EB-8292BF5E701D}"/>
              </a:ext>
            </a:extLst>
          </p:cNvPr>
          <p:cNvPicPr>
            <a:picLocks noChangeAspect="1"/>
          </p:cNvPicPr>
          <p:nvPr userDrawn="1"/>
        </p:nvPicPr>
        <p:blipFill>
          <a:blip r:embed="rId3"/>
          <a:srcRect/>
          <a:stretch/>
        </p:blipFill>
        <p:spPr>
          <a:xfrm>
            <a:off x="474482" y="480762"/>
            <a:ext cx="2431521" cy="463564"/>
          </a:xfrm>
          <a:prstGeom prst="rect">
            <a:avLst/>
          </a:prstGeom>
        </p:spPr>
      </p:pic>
      <p:sp>
        <p:nvSpPr>
          <p:cNvPr id="11" name="Title 1">
            <a:extLst>
              <a:ext uri="{FF2B5EF4-FFF2-40B4-BE49-F238E27FC236}">
                <a16:creationId xmlns:a16="http://schemas.microsoft.com/office/drawing/2014/main" id="{A3D26F65-2984-1045-9680-19A2259D399A}"/>
              </a:ext>
            </a:extLst>
          </p:cNvPr>
          <p:cNvSpPr>
            <a:spLocks noGrp="1"/>
          </p:cNvSpPr>
          <p:nvPr>
            <p:ph type="title"/>
          </p:nvPr>
        </p:nvSpPr>
        <p:spPr>
          <a:xfrm>
            <a:off x="457320" y="3429000"/>
            <a:ext cx="5525938" cy="2072148"/>
          </a:xfrm>
        </p:spPr>
        <p:txBody>
          <a:bodyPr lIns="0" tIns="182880" rIns="0" bIns="0" anchor="t" anchorCtr="0">
            <a:noAutofit/>
          </a:bodyPr>
          <a:lstStyle>
            <a:lvl1pPr>
              <a:lnSpc>
                <a:spcPts val="5200"/>
              </a:lnSpc>
              <a:defRPr sz="4800" b="0">
                <a:solidFill>
                  <a:schemeClr val="accent1"/>
                </a:solidFill>
              </a:defRPr>
            </a:lvl1pPr>
          </a:lstStyle>
          <a:p>
            <a:r>
              <a:rPr lang="en-US"/>
              <a:t>Click to edit Master title style</a:t>
            </a:r>
          </a:p>
        </p:txBody>
      </p:sp>
      <p:sp>
        <p:nvSpPr>
          <p:cNvPr id="12" name="Text Placeholder 6">
            <a:extLst>
              <a:ext uri="{FF2B5EF4-FFF2-40B4-BE49-F238E27FC236}">
                <a16:creationId xmlns:a16="http://schemas.microsoft.com/office/drawing/2014/main" id="{3A762F2D-4238-F84E-8D6D-C3F86C3784B9}"/>
              </a:ext>
            </a:extLst>
          </p:cNvPr>
          <p:cNvSpPr>
            <a:spLocks noGrp="1"/>
          </p:cNvSpPr>
          <p:nvPr>
            <p:ph type="body" sz="quarter" idx="11"/>
          </p:nvPr>
        </p:nvSpPr>
        <p:spPr>
          <a:xfrm>
            <a:off x="460495" y="5501148"/>
            <a:ext cx="5522763" cy="525002"/>
          </a:xfrm>
          <a:prstGeom prst="rect">
            <a:avLst/>
          </a:prstGeom>
        </p:spPr>
        <p:txBody>
          <a:bodyPr lIns="0" tIns="0" anchor="b" anchorCtr="0">
            <a:noAutofit/>
          </a:bodyPr>
          <a:lstStyle>
            <a:lvl1pPr>
              <a:lnSpc>
                <a:spcPts val="2300"/>
              </a:lnSpc>
              <a:spcAft>
                <a:spcPts val="0"/>
              </a:spcAft>
              <a:defRPr sz="16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Edit Master text styles</a:t>
            </a:r>
          </a:p>
        </p:txBody>
      </p:sp>
      <p:sp>
        <p:nvSpPr>
          <p:cNvPr id="14" name="Date Placeholder 2">
            <a:extLst>
              <a:ext uri="{FF2B5EF4-FFF2-40B4-BE49-F238E27FC236}">
                <a16:creationId xmlns:a16="http://schemas.microsoft.com/office/drawing/2014/main" id="{447E9EC9-DDC3-9340-A446-60C35DCAFBA7}"/>
              </a:ext>
            </a:extLst>
          </p:cNvPr>
          <p:cNvSpPr>
            <a:spLocks noGrp="1"/>
          </p:cNvSpPr>
          <p:nvPr>
            <p:ph type="dt" sz="half" idx="13"/>
          </p:nvPr>
        </p:nvSpPr>
        <p:spPr>
          <a:xfrm>
            <a:off x="455731" y="6026150"/>
            <a:ext cx="5527526" cy="209550"/>
          </a:xfrm>
          <a:prstGeom prst="rect">
            <a:avLst/>
          </a:prstGeom>
        </p:spPr>
        <p:txBody>
          <a:bodyPr lIns="0" tIns="0" rIns="0" bIns="0"/>
          <a:lstStyle>
            <a:lvl1pPr>
              <a:defRPr sz="1600" b="0" i="0">
                <a:solidFill>
                  <a:schemeClr val="accent2"/>
                </a:solidFill>
                <a:latin typeface="Barlow" pitchFamily="2" charset="77"/>
              </a:defRPr>
            </a:lvl1pPr>
            <a:lvl2pPr marL="0">
              <a:defRPr sz="1600" b="0" i="0">
                <a:solidFill>
                  <a:schemeClr val="accent2"/>
                </a:solidFill>
                <a:latin typeface="Barlow" pitchFamily="2" charset="77"/>
              </a:defRPr>
            </a:lvl2pPr>
            <a:lvl3pPr marL="0">
              <a:defRPr sz="1600" b="0" i="0">
                <a:solidFill>
                  <a:schemeClr val="accent2"/>
                </a:solidFill>
                <a:latin typeface="Barlow" pitchFamily="2" charset="77"/>
              </a:defRPr>
            </a:lvl3pPr>
            <a:lvl4pPr marL="0">
              <a:defRPr sz="1600" b="0" i="0">
                <a:solidFill>
                  <a:schemeClr val="accent2"/>
                </a:solidFill>
                <a:latin typeface="Barlow" pitchFamily="2" charset="77"/>
              </a:defRPr>
            </a:lvl4pPr>
            <a:lvl5pPr marL="0">
              <a:defRPr sz="1600" b="0" i="0">
                <a:solidFill>
                  <a:schemeClr val="accent2"/>
                </a:solidFill>
                <a:latin typeface="Barlow" pitchFamily="2" charset="77"/>
              </a:defRPr>
            </a:lvl5pPr>
            <a:lvl6pPr marL="0">
              <a:defRPr sz="1600" b="0" i="0">
                <a:solidFill>
                  <a:schemeClr val="accent2"/>
                </a:solidFill>
                <a:latin typeface="Barlow" pitchFamily="2" charset="77"/>
              </a:defRPr>
            </a:lvl6pPr>
            <a:lvl7pPr marL="0">
              <a:defRPr sz="1600" b="0" i="0">
                <a:solidFill>
                  <a:schemeClr val="accent2"/>
                </a:solidFill>
                <a:latin typeface="Barlow" pitchFamily="2" charset="77"/>
              </a:defRPr>
            </a:lvl7pPr>
            <a:lvl8pPr marL="0">
              <a:defRPr sz="1600">
                <a:solidFill>
                  <a:schemeClr val="accent2"/>
                </a:solidFill>
                <a:latin typeface="Barlow" pitchFamily="2" charset="77"/>
              </a:defRPr>
            </a:lvl8pPr>
            <a:lvl9pPr marL="0">
              <a:defRPr sz="1600" b="0" i="0">
                <a:solidFill>
                  <a:schemeClr val="accent2"/>
                </a:solidFill>
                <a:latin typeface="Barlow" pitchFamily="2" charset="77"/>
              </a:defRPr>
            </a:lvl9pPr>
          </a:lstStyle>
          <a:p>
            <a:pPr lvl="8"/>
            <a:r>
              <a:rPr lang="en-US"/>
              <a:t>Date</a:t>
            </a:r>
          </a:p>
        </p:txBody>
      </p:sp>
      <p:sp>
        <p:nvSpPr>
          <p:cNvPr id="15" name="Text Placeholder 6">
            <a:extLst>
              <a:ext uri="{FF2B5EF4-FFF2-40B4-BE49-F238E27FC236}">
                <a16:creationId xmlns:a16="http://schemas.microsoft.com/office/drawing/2014/main" id="{3478BB48-F520-1D42-9264-3E52FFD321BD}"/>
              </a:ext>
            </a:extLst>
          </p:cNvPr>
          <p:cNvSpPr>
            <a:spLocks noGrp="1"/>
          </p:cNvSpPr>
          <p:nvPr>
            <p:ph type="body" sz="quarter" idx="14" hasCustomPrompt="1"/>
          </p:nvPr>
        </p:nvSpPr>
        <p:spPr>
          <a:xfrm>
            <a:off x="457319" y="2509603"/>
            <a:ext cx="5525939" cy="919398"/>
          </a:xfrm>
          <a:prstGeom prst="rect">
            <a:avLst/>
          </a:prstGeom>
        </p:spPr>
        <p:txBody>
          <a:bodyPr lIns="0" tIns="182880" anchor="b" anchorCtr="0">
            <a:noAutofit/>
          </a:bodyPr>
          <a:lstStyle>
            <a:lvl1pPr>
              <a:lnSpc>
                <a:spcPts val="2300"/>
              </a:lnSpc>
              <a:spcAft>
                <a:spcPts val="0"/>
              </a:spcAft>
              <a:defRPr sz="20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Optional service or offering name here</a:t>
            </a:r>
          </a:p>
        </p:txBody>
      </p:sp>
      <p:sp>
        <p:nvSpPr>
          <p:cNvPr id="16" name="Picture Placeholder 16">
            <a:extLst>
              <a:ext uri="{FF2B5EF4-FFF2-40B4-BE49-F238E27FC236}">
                <a16:creationId xmlns:a16="http://schemas.microsoft.com/office/drawing/2014/main" id="{388B4421-02B0-8749-B54E-DA13C4F05BDF}"/>
              </a:ext>
            </a:extLst>
          </p:cNvPr>
          <p:cNvSpPr>
            <a:spLocks noGrp="1"/>
          </p:cNvSpPr>
          <p:nvPr>
            <p:ph type="pic" sz="quarter" idx="17" hasCustomPrompt="1"/>
          </p:nvPr>
        </p:nvSpPr>
        <p:spPr>
          <a:xfrm>
            <a:off x="474482" y="460375"/>
            <a:ext cx="2431521" cy="876300"/>
          </a:xfrm>
          <a:solidFill>
            <a:schemeClr val="bg1"/>
          </a:solidFill>
        </p:spPr>
        <p:txBody>
          <a:bodyPr tIns="0" anchor="t" anchorCtr="0"/>
          <a:lstStyle>
            <a:lvl1pPr algn="ctr">
              <a:spcAft>
                <a:spcPts val="0"/>
              </a:spcAft>
              <a:defRPr sz="800">
                <a:solidFill>
                  <a:schemeClr val="tx2"/>
                </a:solidFill>
              </a:defRPr>
            </a:lvl1pPr>
          </a:lstStyle>
          <a:p>
            <a:r>
              <a:rPr lang="en-US" dirty="0"/>
              <a:t>Insert entity logo or delete box for default logo</a:t>
            </a:r>
          </a:p>
        </p:txBody>
      </p:sp>
    </p:spTree>
    <p:extLst>
      <p:ext uri="{BB962C8B-B14F-4D97-AF65-F5344CB8AC3E}">
        <p14:creationId xmlns:p14="http://schemas.microsoft.com/office/powerpoint/2010/main" val="235397879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ver_image_3">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49" y="0"/>
            <a:ext cx="12179298" cy="6856212"/>
          </a:xfrm>
          <a:prstGeom prst="rect">
            <a:avLst/>
          </a:prstGeom>
        </p:spPr>
      </p:pic>
      <p:pic>
        <p:nvPicPr>
          <p:cNvPr id="8" name="Picture 7">
            <a:extLst>
              <a:ext uri="{FF2B5EF4-FFF2-40B4-BE49-F238E27FC236}">
                <a16:creationId xmlns:a16="http://schemas.microsoft.com/office/drawing/2014/main" id="{EDA19225-5402-B849-995F-9CD3FE904964}"/>
              </a:ext>
            </a:extLst>
          </p:cNvPr>
          <p:cNvPicPr>
            <a:picLocks noChangeAspect="1"/>
          </p:cNvPicPr>
          <p:nvPr userDrawn="1"/>
        </p:nvPicPr>
        <p:blipFill>
          <a:blip r:embed="rId3"/>
          <a:srcRect/>
          <a:stretch/>
        </p:blipFill>
        <p:spPr>
          <a:xfrm>
            <a:off x="474482" y="480762"/>
            <a:ext cx="2431521" cy="463564"/>
          </a:xfrm>
          <a:prstGeom prst="rect">
            <a:avLst/>
          </a:prstGeom>
        </p:spPr>
      </p:pic>
      <p:sp>
        <p:nvSpPr>
          <p:cNvPr id="11" name="Title 1">
            <a:extLst>
              <a:ext uri="{FF2B5EF4-FFF2-40B4-BE49-F238E27FC236}">
                <a16:creationId xmlns:a16="http://schemas.microsoft.com/office/drawing/2014/main" id="{69184965-CABD-DB48-A360-15AEC4A7814A}"/>
              </a:ext>
            </a:extLst>
          </p:cNvPr>
          <p:cNvSpPr>
            <a:spLocks noGrp="1"/>
          </p:cNvSpPr>
          <p:nvPr>
            <p:ph type="title"/>
          </p:nvPr>
        </p:nvSpPr>
        <p:spPr>
          <a:xfrm>
            <a:off x="457320" y="3429000"/>
            <a:ext cx="5525938" cy="2072148"/>
          </a:xfrm>
        </p:spPr>
        <p:txBody>
          <a:bodyPr lIns="0" tIns="182880" rIns="0" bIns="0" anchor="t" anchorCtr="0">
            <a:noAutofit/>
          </a:bodyPr>
          <a:lstStyle>
            <a:lvl1pPr>
              <a:lnSpc>
                <a:spcPts val="5200"/>
              </a:lnSpc>
              <a:defRPr sz="4800" b="0">
                <a:solidFill>
                  <a:schemeClr val="accent1"/>
                </a:solidFill>
              </a:defRPr>
            </a:lvl1pPr>
          </a:lstStyle>
          <a:p>
            <a:r>
              <a:rPr lang="en-US"/>
              <a:t>Click to edit Master title style</a:t>
            </a:r>
          </a:p>
        </p:txBody>
      </p:sp>
      <p:sp>
        <p:nvSpPr>
          <p:cNvPr id="12" name="Text Placeholder 6">
            <a:extLst>
              <a:ext uri="{FF2B5EF4-FFF2-40B4-BE49-F238E27FC236}">
                <a16:creationId xmlns:a16="http://schemas.microsoft.com/office/drawing/2014/main" id="{A6D1EBCA-9317-F646-B03E-01A6E3EB4642}"/>
              </a:ext>
            </a:extLst>
          </p:cNvPr>
          <p:cNvSpPr>
            <a:spLocks noGrp="1"/>
          </p:cNvSpPr>
          <p:nvPr>
            <p:ph type="body" sz="quarter" idx="11"/>
          </p:nvPr>
        </p:nvSpPr>
        <p:spPr>
          <a:xfrm>
            <a:off x="460495" y="5501148"/>
            <a:ext cx="5522763" cy="525002"/>
          </a:xfrm>
          <a:prstGeom prst="rect">
            <a:avLst/>
          </a:prstGeom>
        </p:spPr>
        <p:txBody>
          <a:bodyPr lIns="0" tIns="0" anchor="b" anchorCtr="0">
            <a:noAutofit/>
          </a:bodyPr>
          <a:lstStyle>
            <a:lvl1pPr>
              <a:lnSpc>
                <a:spcPts val="2300"/>
              </a:lnSpc>
              <a:spcAft>
                <a:spcPts val="0"/>
              </a:spcAft>
              <a:defRPr sz="16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Edit Master text styles</a:t>
            </a:r>
          </a:p>
        </p:txBody>
      </p:sp>
      <p:sp>
        <p:nvSpPr>
          <p:cNvPr id="14" name="Date Placeholder 2">
            <a:extLst>
              <a:ext uri="{FF2B5EF4-FFF2-40B4-BE49-F238E27FC236}">
                <a16:creationId xmlns:a16="http://schemas.microsoft.com/office/drawing/2014/main" id="{B799A0D0-3DED-AC4D-B4AF-BF854A1B3A4B}"/>
              </a:ext>
            </a:extLst>
          </p:cNvPr>
          <p:cNvSpPr>
            <a:spLocks noGrp="1"/>
          </p:cNvSpPr>
          <p:nvPr>
            <p:ph type="dt" sz="half" idx="13"/>
          </p:nvPr>
        </p:nvSpPr>
        <p:spPr>
          <a:xfrm>
            <a:off x="455731" y="6026150"/>
            <a:ext cx="5527526" cy="209550"/>
          </a:xfrm>
          <a:prstGeom prst="rect">
            <a:avLst/>
          </a:prstGeom>
        </p:spPr>
        <p:txBody>
          <a:bodyPr lIns="0" tIns="0" rIns="0" bIns="0"/>
          <a:lstStyle>
            <a:lvl1pPr>
              <a:defRPr sz="1600" b="0" i="0">
                <a:solidFill>
                  <a:schemeClr val="accent2"/>
                </a:solidFill>
                <a:latin typeface="Barlow" pitchFamily="2" charset="77"/>
              </a:defRPr>
            </a:lvl1pPr>
            <a:lvl2pPr marL="0">
              <a:defRPr sz="1600" b="0" i="0">
                <a:solidFill>
                  <a:schemeClr val="accent2"/>
                </a:solidFill>
                <a:latin typeface="Barlow" pitchFamily="2" charset="77"/>
              </a:defRPr>
            </a:lvl2pPr>
            <a:lvl3pPr marL="0">
              <a:defRPr sz="1600" b="0" i="0">
                <a:solidFill>
                  <a:schemeClr val="accent2"/>
                </a:solidFill>
                <a:latin typeface="Barlow" pitchFamily="2" charset="77"/>
              </a:defRPr>
            </a:lvl3pPr>
            <a:lvl4pPr marL="0">
              <a:defRPr sz="1600" b="0" i="0">
                <a:solidFill>
                  <a:schemeClr val="accent2"/>
                </a:solidFill>
                <a:latin typeface="Barlow" pitchFamily="2" charset="77"/>
              </a:defRPr>
            </a:lvl4pPr>
            <a:lvl5pPr marL="0">
              <a:defRPr sz="1600" b="0" i="0">
                <a:solidFill>
                  <a:schemeClr val="accent2"/>
                </a:solidFill>
                <a:latin typeface="Barlow" pitchFamily="2" charset="77"/>
              </a:defRPr>
            </a:lvl5pPr>
            <a:lvl6pPr marL="0">
              <a:defRPr sz="1600" b="0" i="0">
                <a:solidFill>
                  <a:schemeClr val="accent2"/>
                </a:solidFill>
                <a:latin typeface="Barlow" pitchFamily="2" charset="77"/>
              </a:defRPr>
            </a:lvl6pPr>
            <a:lvl7pPr marL="0">
              <a:defRPr sz="1600" b="0" i="0">
                <a:solidFill>
                  <a:schemeClr val="accent2"/>
                </a:solidFill>
                <a:latin typeface="Barlow" pitchFamily="2" charset="77"/>
              </a:defRPr>
            </a:lvl7pPr>
            <a:lvl8pPr marL="0">
              <a:defRPr sz="1600">
                <a:solidFill>
                  <a:schemeClr val="accent2"/>
                </a:solidFill>
                <a:latin typeface="Barlow" pitchFamily="2" charset="77"/>
              </a:defRPr>
            </a:lvl8pPr>
            <a:lvl9pPr marL="0">
              <a:defRPr sz="1600" b="0" i="0">
                <a:solidFill>
                  <a:schemeClr val="accent2"/>
                </a:solidFill>
                <a:latin typeface="Barlow" pitchFamily="2" charset="77"/>
              </a:defRPr>
            </a:lvl9pPr>
          </a:lstStyle>
          <a:p>
            <a:pPr lvl="8"/>
            <a:r>
              <a:rPr lang="en-US"/>
              <a:t>Date</a:t>
            </a:r>
          </a:p>
        </p:txBody>
      </p:sp>
      <p:sp>
        <p:nvSpPr>
          <p:cNvPr id="15" name="Text Placeholder 6">
            <a:extLst>
              <a:ext uri="{FF2B5EF4-FFF2-40B4-BE49-F238E27FC236}">
                <a16:creationId xmlns:a16="http://schemas.microsoft.com/office/drawing/2014/main" id="{A2370510-0E84-CE42-BB80-1CD932D8F3BA}"/>
              </a:ext>
            </a:extLst>
          </p:cNvPr>
          <p:cNvSpPr>
            <a:spLocks noGrp="1"/>
          </p:cNvSpPr>
          <p:nvPr>
            <p:ph type="body" sz="quarter" idx="14" hasCustomPrompt="1"/>
          </p:nvPr>
        </p:nvSpPr>
        <p:spPr>
          <a:xfrm>
            <a:off x="457319" y="2509603"/>
            <a:ext cx="5525939" cy="919398"/>
          </a:xfrm>
          <a:prstGeom prst="rect">
            <a:avLst/>
          </a:prstGeom>
        </p:spPr>
        <p:txBody>
          <a:bodyPr lIns="0" tIns="182880" anchor="b" anchorCtr="0">
            <a:noAutofit/>
          </a:bodyPr>
          <a:lstStyle>
            <a:lvl1pPr>
              <a:lnSpc>
                <a:spcPts val="2300"/>
              </a:lnSpc>
              <a:spcAft>
                <a:spcPts val="0"/>
              </a:spcAft>
              <a:defRPr sz="20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Optional service or offering name here</a:t>
            </a:r>
          </a:p>
        </p:txBody>
      </p:sp>
      <p:sp>
        <p:nvSpPr>
          <p:cNvPr id="16" name="Picture Placeholder 16">
            <a:extLst>
              <a:ext uri="{FF2B5EF4-FFF2-40B4-BE49-F238E27FC236}">
                <a16:creationId xmlns:a16="http://schemas.microsoft.com/office/drawing/2014/main" id="{8246FCEF-D382-914B-BE38-876BD0419155}"/>
              </a:ext>
            </a:extLst>
          </p:cNvPr>
          <p:cNvSpPr>
            <a:spLocks noGrp="1"/>
          </p:cNvSpPr>
          <p:nvPr>
            <p:ph type="pic" sz="quarter" idx="17" hasCustomPrompt="1"/>
          </p:nvPr>
        </p:nvSpPr>
        <p:spPr>
          <a:xfrm>
            <a:off x="474482" y="460375"/>
            <a:ext cx="2431521" cy="876300"/>
          </a:xfrm>
          <a:solidFill>
            <a:schemeClr val="bg1"/>
          </a:solidFill>
        </p:spPr>
        <p:txBody>
          <a:bodyPr tIns="0" anchor="t" anchorCtr="0"/>
          <a:lstStyle>
            <a:lvl1pPr algn="ctr">
              <a:spcAft>
                <a:spcPts val="0"/>
              </a:spcAft>
              <a:defRPr sz="800">
                <a:solidFill>
                  <a:schemeClr val="tx2"/>
                </a:solidFill>
              </a:defRPr>
            </a:lvl1pPr>
          </a:lstStyle>
          <a:p>
            <a:r>
              <a:rPr lang="en-US" dirty="0"/>
              <a:t>Insert entity logo or delete box for default logo</a:t>
            </a:r>
          </a:p>
        </p:txBody>
      </p:sp>
    </p:spTree>
    <p:extLst>
      <p:ext uri="{BB962C8B-B14F-4D97-AF65-F5344CB8AC3E}">
        <p14:creationId xmlns:p14="http://schemas.microsoft.com/office/powerpoint/2010/main" val="19569532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ver_image_4">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49" y="0"/>
            <a:ext cx="12179298" cy="6856212"/>
          </a:xfrm>
          <a:prstGeom prst="rect">
            <a:avLst/>
          </a:prstGeom>
        </p:spPr>
      </p:pic>
      <p:pic>
        <p:nvPicPr>
          <p:cNvPr id="8" name="Picture 7">
            <a:extLst>
              <a:ext uri="{FF2B5EF4-FFF2-40B4-BE49-F238E27FC236}">
                <a16:creationId xmlns:a16="http://schemas.microsoft.com/office/drawing/2014/main" id="{12C88E1B-A6D4-AE4B-A631-6E8AF50BA37C}"/>
              </a:ext>
            </a:extLst>
          </p:cNvPr>
          <p:cNvPicPr>
            <a:picLocks noChangeAspect="1"/>
          </p:cNvPicPr>
          <p:nvPr userDrawn="1"/>
        </p:nvPicPr>
        <p:blipFill>
          <a:blip r:embed="rId3"/>
          <a:srcRect/>
          <a:stretch/>
        </p:blipFill>
        <p:spPr>
          <a:xfrm>
            <a:off x="474482" y="480762"/>
            <a:ext cx="2431521" cy="463564"/>
          </a:xfrm>
          <a:prstGeom prst="rect">
            <a:avLst/>
          </a:prstGeom>
        </p:spPr>
      </p:pic>
      <p:sp>
        <p:nvSpPr>
          <p:cNvPr id="11" name="Title 1">
            <a:extLst>
              <a:ext uri="{FF2B5EF4-FFF2-40B4-BE49-F238E27FC236}">
                <a16:creationId xmlns:a16="http://schemas.microsoft.com/office/drawing/2014/main" id="{86B9DFE4-4BF3-C045-AC8D-11F4080771C3}"/>
              </a:ext>
            </a:extLst>
          </p:cNvPr>
          <p:cNvSpPr>
            <a:spLocks noGrp="1"/>
          </p:cNvSpPr>
          <p:nvPr>
            <p:ph type="title"/>
          </p:nvPr>
        </p:nvSpPr>
        <p:spPr>
          <a:xfrm>
            <a:off x="457320" y="3429000"/>
            <a:ext cx="5525938" cy="2072148"/>
          </a:xfrm>
        </p:spPr>
        <p:txBody>
          <a:bodyPr lIns="0" tIns="182880" rIns="0" bIns="0" anchor="t" anchorCtr="0">
            <a:noAutofit/>
          </a:bodyPr>
          <a:lstStyle>
            <a:lvl1pPr>
              <a:lnSpc>
                <a:spcPts val="5200"/>
              </a:lnSpc>
              <a:defRPr sz="4800" b="0">
                <a:solidFill>
                  <a:schemeClr val="accent1"/>
                </a:solidFill>
              </a:defRPr>
            </a:lvl1pPr>
          </a:lstStyle>
          <a:p>
            <a:r>
              <a:rPr lang="en-US"/>
              <a:t>Click to edit Master title style</a:t>
            </a:r>
          </a:p>
        </p:txBody>
      </p:sp>
      <p:sp>
        <p:nvSpPr>
          <p:cNvPr id="12" name="Text Placeholder 6">
            <a:extLst>
              <a:ext uri="{FF2B5EF4-FFF2-40B4-BE49-F238E27FC236}">
                <a16:creationId xmlns:a16="http://schemas.microsoft.com/office/drawing/2014/main" id="{580851B8-843D-BE41-8B9B-8E82790C0FA9}"/>
              </a:ext>
            </a:extLst>
          </p:cNvPr>
          <p:cNvSpPr>
            <a:spLocks noGrp="1"/>
          </p:cNvSpPr>
          <p:nvPr>
            <p:ph type="body" sz="quarter" idx="11"/>
          </p:nvPr>
        </p:nvSpPr>
        <p:spPr>
          <a:xfrm>
            <a:off x="460495" y="5501148"/>
            <a:ext cx="5522763" cy="525002"/>
          </a:xfrm>
          <a:prstGeom prst="rect">
            <a:avLst/>
          </a:prstGeom>
        </p:spPr>
        <p:txBody>
          <a:bodyPr lIns="0" tIns="0" anchor="b" anchorCtr="0">
            <a:noAutofit/>
          </a:bodyPr>
          <a:lstStyle>
            <a:lvl1pPr>
              <a:lnSpc>
                <a:spcPts val="2300"/>
              </a:lnSpc>
              <a:spcAft>
                <a:spcPts val="0"/>
              </a:spcAft>
              <a:defRPr sz="16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Edit Master text styles</a:t>
            </a:r>
          </a:p>
        </p:txBody>
      </p:sp>
      <p:sp>
        <p:nvSpPr>
          <p:cNvPr id="14" name="Date Placeholder 2">
            <a:extLst>
              <a:ext uri="{FF2B5EF4-FFF2-40B4-BE49-F238E27FC236}">
                <a16:creationId xmlns:a16="http://schemas.microsoft.com/office/drawing/2014/main" id="{DB9B45C3-9443-E442-B64D-F9386F50D7E3}"/>
              </a:ext>
            </a:extLst>
          </p:cNvPr>
          <p:cNvSpPr>
            <a:spLocks noGrp="1"/>
          </p:cNvSpPr>
          <p:nvPr>
            <p:ph type="dt" sz="half" idx="13"/>
          </p:nvPr>
        </p:nvSpPr>
        <p:spPr>
          <a:xfrm>
            <a:off x="455731" y="6026150"/>
            <a:ext cx="5527526" cy="209550"/>
          </a:xfrm>
          <a:prstGeom prst="rect">
            <a:avLst/>
          </a:prstGeom>
        </p:spPr>
        <p:txBody>
          <a:bodyPr lIns="0" tIns="0" rIns="0" bIns="0"/>
          <a:lstStyle>
            <a:lvl1pPr>
              <a:defRPr sz="1600" b="0" i="0">
                <a:solidFill>
                  <a:schemeClr val="accent2"/>
                </a:solidFill>
                <a:latin typeface="Barlow" pitchFamily="2" charset="77"/>
              </a:defRPr>
            </a:lvl1pPr>
            <a:lvl2pPr marL="0">
              <a:defRPr sz="1600" b="0" i="0">
                <a:solidFill>
                  <a:schemeClr val="accent2"/>
                </a:solidFill>
                <a:latin typeface="Barlow" pitchFamily="2" charset="77"/>
              </a:defRPr>
            </a:lvl2pPr>
            <a:lvl3pPr marL="0">
              <a:defRPr sz="1600" b="0" i="0">
                <a:solidFill>
                  <a:schemeClr val="accent2"/>
                </a:solidFill>
                <a:latin typeface="Barlow" pitchFamily="2" charset="77"/>
              </a:defRPr>
            </a:lvl3pPr>
            <a:lvl4pPr marL="0">
              <a:defRPr sz="1600" b="0" i="0">
                <a:solidFill>
                  <a:schemeClr val="accent2"/>
                </a:solidFill>
                <a:latin typeface="Barlow" pitchFamily="2" charset="77"/>
              </a:defRPr>
            </a:lvl4pPr>
            <a:lvl5pPr marL="0">
              <a:defRPr sz="1600" b="0" i="0">
                <a:solidFill>
                  <a:schemeClr val="accent2"/>
                </a:solidFill>
                <a:latin typeface="Barlow" pitchFamily="2" charset="77"/>
              </a:defRPr>
            </a:lvl5pPr>
            <a:lvl6pPr marL="0">
              <a:defRPr sz="1600" b="0" i="0">
                <a:solidFill>
                  <a:schemeClr val="accent2"/>
                </a:solidFill>
                <a:latin typeface="Barlow" pitchFamily="2" charset="77"/>
              </a:defRPr>
            </a:lvl6pPr>
            <a:lvl7pPr marL="0">
              <a:defRPr sz="1600" b="0" i="0">
                <a:solidFill>
                  <a:schemeClr val="accent2"/>
                </a:solidFill>
                <a:latin typeface="Barlow" pitchFamily="2" charset="77"/>
              </a:defRPr>
            </a:lvl7pPr>
            <a:lvl8pPr marL="0">
              <a:defRPr sz="1600">
                <a:solidFill>
                  <a:schemeClr val="accent2"/>
                </a:solidFill>
                <a:latin typeface="Barlow" pitchFamily="2" charset="77"/>
              </a:defRPr>
            </a:lvl8pPr>
            <a:lvl9pPr marL="0">
              <a:defRPr sz="1600" b="0" i="0">
                <a:solidFill>
                  <a:schemeClr val="accent2"/>
                </a:solidFill>
                <a:latin typeface="Barlow" pitchFamily="2" charset="77"/>
              </a:defRPr>
            </a:lvl9pPr>
          </a:lstStyle>
          <a:p>
            <a:pPr lvl="8"/>
            <a:r>
              <a:rPr lang="en-US"/>
              <a:t>Date</a:t>
            </a:r>
          </a:p>
        </p:txBody>
      </p:sp>
      <p:sp>
        <p:nvSpPr>
          <p:cNvPr id="15" name="Text Placeholder 6">
            <a:extLst>
              <a:ext uri="{FF2B5EF4-FFF2-40B4-BE49-F238E27FC236}">
                <a16:creationId xmlns:a16="http://schemas.microsoft.com/office/drawing/2014/main" id="{CCF5A2D5-101B-6C40-9CF9-148696BBD457}"/>
              </a:ext>
            </a:extLst>
          </p:cNvPr>
          <p:cNvSpPr>
            <a:spLocks noGrp="1"/>
          </p:cNvSpPr>
          <p:nvPr>
            <p:ph type="body" sz="quarter" idx="14" hasCustomPrompt="1"/>
          </p:nvPr>
        </p:nvSpPr>
        <p:spPr>
          <a:xfrm>
            <a:off x="457319" y="2509603"/>
            <a:ext cx="5525939" cy="919398"/>
          </a:xfrm>
          <a:prstGeom prst="rect">
            <a:avLst/>
          </a:prstGeom>
        </p:spPr>
        <p:txBody>
          <a:bodyPr lIns="0" tIns="182880" anchor="b" anchorCtr="0">
            <a:noAutofit/>
          </a:bodyPr>
          <a:lstStyle>
            <a:lvl1pPr>
              <a:lnSpc>
                <a:spcPts val="2300"/>
              </a:lnSpc>
              <a:spcAft>
                <a:spcPts val="0"/>
              </a:spcAft>
              <a:defRPr sz="20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Optional service or offering name here</a:t>
            </a:r>
          </a:p>
        </p:txBody>
      </p:sp>
      <p:sp>
        <p:nvSpPr>
          <p:cNvPr id="16" name="Picture Placeholder 16">
            <a:extLst>
              <a:ext uri="{FF2B5EF4-FFF2-40B4-BE49-F238E27FC236}">
                <a16:creationId xmlns:a16="http://schemas.microsoft.com/office/drawing/2014/main" id="{765FA35B-92C3-E44D-81AB-FF87CA16F78C}"/>
              </a:ext>
            </a:extLst>
          </p:cNvPr>
          <p:cNvSpPr>
            <a:spLocks noGrp="1"/>
          </p:cNvSpPr>
          <p:nvPr>
            <p:ph type="pic" sz="quarter" idx="17" hasCustomPrompt="1"/>
          </p:nvPr>
        </p:nvSpPr>
        <p:spPr>
          <a:xfrm>
            <a:off x="474482" y="460375"/>
            <a:ext cx="2431521" cy="876300"/>
          </a:xfrm>
          <a:solidFill>
            <a:schemeClr val="bg1"/>
          </a:solidFill>
        </p:spPr>
        <p:txBody>
          <a:bodyPr tIns="0" anchor="t" anchorCtr="0"/>
          <a:lstStyle>
            <a:lvl1pPr algn="ctr">
              <a:spcAft>
                <a:spcPts val="0"/>
              </a:spcAft>
              <a:defRPr sz="800">
                <a:solidFill>
                  <a:schemeClr val="tx2"/>
                </a:solidFill>
              </a:defRPr>
            </a:lvl1pPr>
          </a:lstStyle>
          <a:p>
            <a:r>
              <a:rPr lang="en-US" dirty="0"/>
              <a:t>Insert entity logo or delete box for default logo</a:t>
            </a:r>
          </a:p>
        </p:txBody>
      </p:sp>
    </p:spTree>
    <p:extLst>
      <p:ext uri="{BB962C8B-B14F-4D97-AF65-F5344CB8AC3E}">
        <p14:creationId xmlns:p14="http://schemas.microsoft.com/office/powerpoint/2010/main" val="53612735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_image_5">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49" y="0"/>
            <a:ext cx="12179298" cy="6856212"/>
          </a:xfrm>
          <a:prstGeom prst="rect">
            <a:avLst/>
          </a:prstGeom>
        </p:spPr>
      </p:pic>
      <p:pic>
        <p:nvPicPr>
          <p:cNvPr id="8" name="Picture 7">
            <a:extLst>
              <a:ext uri="{FF2B5EF4-FFF2-40B4-BE49-F238E27FC236}">
                <a16:creationId xmlns:a16="http://schemas.microsoft.com/office/drawing/2014/main" id="{4652CB6F-F70F-974E-BEBD-CDD81D14E979}"/>
              </a:ext>
            </a:extLst>
          </p:cNvPr>
          <p:cNvPicPr>
            <a:picLocks noChangeAspect="1"/>
          </p:cNvPicPr>
          <p:nvPr userDrawn="1"/>
        </p:nvPicPr>
        <p:blipFill>
          <a:blip r:embed="rId3"/>
          <a:srcRect/>
          <a:stretch/>
        </p:blipFill>
        <p:spPr>
          <a:xfrm>
            <a:off x="474482" y="480762"/>
            <a:ext cx="2431521" cy="463564"/>
          </a:xfrm>
          <a:prstGeom prst="rect">
            <a:avLst/>
          </a:prstGeom>
        </p:spPr>
      </p:pic>
      <p:sp>
        <p:nvSpPr>
          <p:cNvPr id="11" name="Title 1">
            <a:extLst>
              <a:ext uri="{FF2B5EF4-FFF2-40B4-BE49-F238E27FC236}">
                <a16:creationId xmlns:a16="http://schemas.microsoft.com/office/drawing/2014/main" id="{01ED60FB-0446-4047-870C-2D5AEEE712F5}"/>
              </a:ext>
            </a:extLst>
          </p:cNvPr>
          <p:cNvSpPr>
            <a:spLocks noGrp="1"/>
          </p:cNvSpPr>
          <p:nvPr>
            <p:ph type="title"/>
          </p:nvPr>
        </p:nvSpPr>
        <p:spPr>
          <a:xfrm>
            <a:off x="457320" y="3429000"/>
            <a:ext cx="5525938" cy="2072148"/>
          </a:xfrm>
        </p:spPr>
        <p:txBody>
          <a:bodyPr lIns="0" tIns="182880" rIns="0" bIns="0" anchor="t" anchorCtr="0">
            <a:noAutofit/>
          </a:bodyPr>
          <a:lstStyle>
            <a:lvl1pPr>
              <a:lnSpc>
                <a:spcPts val="5200"/>
              </a:lnSpc>
              <a:defRPr sz="4800" b="0">
                <a:solidFill>
                  <a:schemeClr val="accent1"/>
                </a:solidFill>
              </a:defRPr>
            </a:lvl1pPr>
          </a:lstStyle>
          <a:p>
            <a:r>
              <a:rPr lang="en-US"/>
              <a:t>Click to edit Master title style</a:t>
            </a:r>
          </a:p>
        </p:txBody>
      </p:sp>
      <p:sp>
        <p:nvSpPr>
          <p:cNvPr id="12" name="Text Placeholder 6">
            <a:extLst>
              <a:ext uri="{FF2B5EF4-FFF2-40B4-BE49-F238E27FC236}">
                <a16:creationId xmlns:a16="http://schemas.microsoft.com/office/drawing/2014/main" id="{ED732D23-C9AF-374D-8098-F7C3F9DDFFC5}"/>
              </a:ext>
            </a:extLst>
          </p:cNvPr>
          <p:cNvSpPr>
            <a:spLocks noGrp="1"/>
          </p:cNvSpPr>
          <p:nvPr>
            <p:ph type="body" sz="quarter" idx="11"/>
          </p:nvPr>
        </p:nvSpPr>
        <p:spPr>
          <a:xfrm>
            <a:off x="460495" y="5501148"/>
            <a:ext cx="5522763" cy="525002"/>
          </a:xfrm>
          <a:prstGeom prst="rect">
            <a:avLst/>
          </a:prstGeom>
        </p:spPr>
        <p:txBody>
          <a:bodyPr lIns="0" tIns="0" anchor="b" anchorCtr="0">
            <a:noAutofit/>
          </a:bodyPr>
          <a:lstStyle>
            <a:lvl1pPr>
              <a:lnSpc>
                <a:spcPts val="2300"/>
              </a:lnSpc>
              <a:spcAft>
                <a:spcPts val="0"/>
              </a:spcAft>
              <a:defRPr sz="16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Edit Master text styles</a:t>
            </a:r>
          </a:p>
        </p:txBody>
      </p:sp>
      <p:sp>
        <p:nvSpPr>
          <p:cNvPr id="14" name="Date Placeholder 2">
            <a:extLst>
              <a:ext uri="{FF2B5EF4-FFF2-40B4-BE49-F238E27FC236}">
                <a16:creationId xmlns:a16="http://schemas.microsoft.com/office/drawing/2014/main" id="{11369535-2D97-914B-AFA9-A4AAAF2F8EF1}"/>
              </a:ext>
            </a:extLst>
          </p:cNvPr>
          <p:cNvSpPr>
            <a:spLocks noGrp="1"/>
          </p:cNvSpPr>
          <p:nvPr>
            <p:ph type="dt" sz="half" idx="13"/>
          </p:nvPr>
        </p:nvSpPr>
        <p:spPr>
          <a:xfrm>
            <a:off x="455731" y="6026150"/>
            <a:ext cx="5527526" cy="209550"/>
          </a:xfrm>
          <a:prstGeom prst="rect">
            <a:avLst/>
          </a:prstGeom>
        </p:spPr>
        <p:txBody>
          <a:bodyPr lIns="0" tIns="0" rIns="0" bIns="0"/>
          <a:lstStyle>
            <a:lvl1pPr>
              <a:defRPr sz="1600" b="0" i="0">
                <a:solidFill>
                  <a:schemeClr val="accent2"/>
                </a:solidFill>
                <a:latin typeface="Barlow" pitchFamily="2" charset="77"/>
              </a:defRPr>
            </a:lvl1pPr>
            <a:lvl2pPr marL="0">
              <a:defRPr sz="1600" b="0" i="0">
                <a:solidFill>
                  <a:schemeClr val="accent2"/>
                </a:solidFill>
                <a:latin typeface="Barlow" pitchFamily="2" charset="77"/>
              </a:defRPr>
            </a:lvl2pPr>
            <a:lvl3pPr marL="0">
              <a:defRPr sz="1600" b="0" i="0">
                <a:solidFill>
                  <a:schemeClr val="accent2"/>
                </a:solidFill>
                <a:latin typeface="Barlow" pitchFamily="2" charset="77"/>
              </a:defRPr>
            </a:lvl3pPr>
            <a:lvl4pPr marL="0">
              <a:defRPr sz="1600" b="0" i="0">
                <a:solidFill>
                  <a:schemeClr val="accent2"/>
                </a:solidFill>
                <a:latin typeface="Barlow" pitchFamily="2" charset="77"/>
              </a:defRPr>
            </a:lvl4pPr>
            <a:lvl5pPr marL="0">
              <a:defRPr sz="1600" b="0" i="0">
                <a:solidFill>
                  <a:schemeClr val="accent2"/>
                </a:solidFill>
                <a:latin typeface="Barlow" pitchFamily="2" charset="77"/>
              </a:defRPr>
            </a:lvl5pPr>
            <a:lvl6pPr marL="0">
              <a:defRPr sz="1600" b="0" i="0">
                <a:solidFill>
                  <a:schemeClr val="accent2"/>
                </a:solidFill>
                <a:latin typeface="Barlow" pitchFamily="2" charset="77"/>
              </a:defRPr>
            </a:lvl6pPr>
            <a:lvl7pPr marL="0">
              <a:defRPr sz="1600" b="0" i="0">
                <a:solidFill>
                  <a:schemeClr val="accent2"/>
                </a:solidFill>
                <a:latin typeface="Barlow" pitchFamily="2" charset="77"/>
              </a:defRPr>
            </a:lvl7pPr>
            <a:lvl8pPr marL="0">
              <a:defRPr sz="1600">
                <a:solidFill>
                  <a:schemeClr val="accent2"/>
                </a:solidFill>
                <a:latin typeface="Barlow" pitchFamily="2" charset="77"/>
              </a:defRPr>
            </a:lvl8pPr>
            <a:lvl9pPr marL="0">
              <a:defRPr sz="1600" b="0" i="0">
                <a:solidFill>
                  <a:schemeClr val="accent2"/>
                </a:solidFill>
                <a:latin typeface="Barlow" pitchFamily="2" charset="77"/>
              </a:defRPr>
            </a:lvl9pPr>
          </a:lstStyle>
          <a:p>
            <a:pPr lvl="8"/>
            <a:r>
              <a:rPr lang="en-US"/>
              <a:t>Date</a:t>
            </a:r>
          </a:p>
        </p:txBody>
      </p:sp>
      <p:sp>
        <p:nvSpPr>
          <p:cNvPr id="15" name="Text Placeholder 6">
            <a:extLst>
              <a:ext uri="{FF2B5EF4-FFF2-40B4-BE49-F238E27FC236}">
                <a16:creationId xmlns:a16="http://schemas.microsoft.com/office/drawing/2014/main" id="{44952705-7C34-B947-A7BA-8E998C756360}"/>
              </a:ext>
            </a:extLst>
          </p:cNvPr>
          <p:cNvSpPr>
            <a:spLocks noGrp="1"/>
          </p:cNvSpPr>
          <p:nvPr>
            <p:ph type="body" sz="quarter" idx="14" hasCustomPrompt="1"/>
          </p:nvPr>
        </p:nvSpPr>
        <p:spPr>
          <a:xfrm>
            <a:off x="457319" y="2509603"/>
            <a:ext cx="5525939" cy="919398"/>
          </a:xfrm>
          <a:prstGeom prst="rect">
            <a:avLst/>
          </a:prstGeom>
        </p:spPr>
        <p:txBody>
          <a:bodyPr lIns="0" tIns="182880" anchor="b" anchorCtr="0">
            <a:noAutofit/>
          </a:bodyPr>
          <a:lstStyle>
            <a:lvl1pPr>
              <a:lnSpc>
                <a:spcPts val="2300"/>
              </a:lnSpc>
              <a:spcAft>
                <a:spcPts val="0"/>
              </a:spcAft>
              <a:defRPr sz="20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Optional service or offering name here</a:t>
            </a:r>
          </a:p>
        </p:txBody>
      </p:sp>
      <p:sp>
        <p:nvSpPr>
          <p:cNvPr id="16" name="Picture Placeholder 16">
            <a:extLst>
              <a:ext uri="{FF2B5EF4-FFF2-40B4-BE49-F238E27FC236}">
                <a16:creationId xmlns:a16="http://schemas.microsoft.com/office/drawing/2014/main" id="{942F615D-6A50-4344-8B2F-9DC0B54204DD}"/>
              </a:ext>
            </a:extLst>
          </p:cNvPr>
          <p:cNvSpPr>
            <a:spLocks noGrp="1"/>
          </p:cNvSpPr>
          <p:nvPr>
            <p:ph type="pic" sz="quarter" idx="17" hasCustomPrompt="1"/>
          </p:nvPr>
        </p:nvSpPr>
        <p:spPr>
          <a:xfrm>
            <a:off x="474482" y="460375"/>
            <a:ext cx="2431521" cy="876300"/>
          </a:xfrm>
          <a:solidFill>
            <a:schemeClr val="bg1"/>
          </a:solidFill>
        </p:spPr>
        <p:txBody>
          <a:bodyPr tIns="0" anchor="t" anchorCtr="0"/>
          <a:lstStyle>
            <a:lvl1pPr algn="ctr">
              <a:spcAft>
                <a:spcPts val="0"/>
              </a:spcAft>
              <a:defRPr sz="800">
                <a:solidFill>
                  <a:schemeClr val="tx2"/>
                </a:solidFill>
              </a:defRPr>
            </a:lvl1pPr>
          </a:lstStyle>
          <a:p>
            <a:r>
              <a:rPr lang="en-US" dirty="0"/>
              <a:t>Insert entity logo or delete box for default logo</a:t>
            </a:r>
          </a:p>
        </p:txBody>
      </p:sp>
    </p:spTree>
    <p:extLst>
      <p:ext uri="{BB962C8B-B14F-4D97-AF65-F5344CB8AC3E}">
        <p14:creationId xmlns:p14="http://schemas.microsoft.com/office/powerpoint/2010/main" val="183821187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_image_6">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49" y="0"/>
            <a:ext cx="12179298" cy="6856212"/>
          </a:xfrm>
          <a:prstGeom prst="rect">
            <a:avLst/>
          </a:prstGeom>
        </p:spPr>
      </p:pic>
      <p:pic>
        <p:nvPicPr>
          <p:cNvPr id="8" name="Picture 7">
            <a:extLst>
              <a:ext uri="{FF2B5EF4-FFF2-40B4-BE49-F238E27FC236}">
                <a16:creationId xmlns:a16="http://schemas.microsoft.com/office/drawing/2014/main" id="{E46D06F3-6EE5-6A4F-88B6-06A99919F5F4}"/>
              </a:ext>
            </a:extLst>
          </p:cNvPr>
          <p:cNvPicPr>
            <a:picLocks noChangeAspect="1"/>
          </p:cNvPicPr>
          <p:nvPr userDrawn="1"/>
        </p:nvPicPr>
        <p:blipFill>
          <a:blip r:embed="rId3"/>
          <a:srcRect/>
          <a:stretch/>
        </p:blipFill>
        <p:spPr>
          <a:xfrm>
            <a:off x="474482" y="480762"/>
            <a:ext cx="2431521" cy="463564"/>
          </a:xfrm>
          <a:prstGeom prst="rect">
            <a:avLst/>
          </a:prstGeom>
        </p:spPr>
      </p:pic>
      <p:sp>
        <p:nvSpPr>
          <p:cNvPr id="11" name="Title 1">
            <a:extLst>
              <a:ext uri="{FF2B5EF4-FFF2-40B4-BE49-F238E27FC236}">
                <a16:creationId xmlns:a16="http://schemas.microsoft.com/office/drawing/2014/main" id="{65DD66D4-1403-4046-BF2A-6F7ABB701EAD}"/>
              </a:ext>
            </a:extLst>
          </p:cNvPr>
          <p:cNvSpPr>
            <a:spLocks noGrp="1"/>
          </p:cNvSpPr>
          <p:nvPr>
            <p:ph type="title"/>
          </p:nvPr>
        </p:nvSpPr>
        <p:spPr>
          <a:xfrm>
            <a:off x="457320" y="3429000"/>
            <a:ext cx="5525938" cy="2072148"/>
          </a:xfrm>
        </p:spPr>
        <p:txBody>
          <a:bodyPr lIns="0" tIns="182880" rIns="0" bIns="0" anchor="t" anchorCtr="0">
            <a:noAutofit/>
          </a:bodyPr>
          <a:lstStyle>
            <a:lvl1pPr>
              <a:lnSpc>
                <a:spcPts val="5200"/>
              </a:lnSpc>
              <a:defRPr sz="4800" b="0">
                <a:solidFill>
                  <a:schemeClr val="accent1"/>
                </a:solidFill>
              </a:defRPr>
            </a:lvl1pPr>
          </a:lstStyle>
          <a:p>
            <a:r>
              <a:rPr lang="en-US"/>
              <a:t>Click to edit Master title style</a:t>
            </a:r>
          </a:p>
        </p:txBody>
      </p:sp>
      <p:sp>
        <p:nvSpPr>
          <p:cNvPr id="12" name="Text Placeholder 6">
            <a:extLst>
              <a:ext uri="{FF2B5EF4-FFF2-40B4-BE49-F238E27FC236}">
                <a16:creationId xmlns:a16="http://schemas.microsoft.com/office/drawing/2014/main" id="{E521B26B-01CE-084E-BCD1-3E2688EFC22A}"/>
              </a:ext>
            </a:extLst>
          </p:cNvPr>
          <p:cNvSpPr>
            <a:spLocks noGrp="1"/>
          </p:cNvSpPr>
          <p:nvPr>
            <p:ph type="body" sz="quarter" idx="11"/>
          </p:nvPr>
        </p:nvSpPr>
        <p:spPr>
          <a:xfrm>
            <a:off x="460495" y="5501148"/>
            <a:ext cx="5522763" cy="525002"/>
          </a:xfrm>
          <a:prstGeom prst="rect">
            <a:avLst/>
          </a:prstGeom>
        </p:spPr>
        <p:txBody>
          <a:bodyPr lIns="0" tIns="0" anchor="b" anchorCtr="0">
            <a:noAutofit/>
          </a:bodyPr>
          <a:lstStyle>
            <a:lvl1pPr>
              <a:lnSpc>
                <a:spcPts val="2300"/>
              </a:lnSpc>
              <a:spcAft>
                <a:spcPts val="0"/>
              </a:spcAft>
              <a:defRPr sz="16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Edit Master text styles</a:t>
            </a:r>
          </a:p>
        </p:txBody>
      </p:sp>
      <p:sp>
        <p:nvSpPr>
          <p:cNvPr id="14" name="Date Placeholder 2">
            <a:extLst>
              <a:ext uri="{FF2B5EF4-FFF2-40B4-BE49-F238E27FC236}">
                <a16:creationId xmlns:a16="http://schemas.microsoft.com/office/drawing/2014/main" id="{2CFC5557-CBDC-6646-97EF-32D2D79968AF}"/>
              </a:ext>
            </a:extLst>
          </p:cNvPr>
          <p:cNvSpPr>
            <a:spLocks noGrp="1"/>
          </p:cNvSpPr>
          <p:nvPr>
            <p:ph type="dt" sz="half" idx="13"/>
          </p:nvPr>
        </p:nvSpPr>
        <p:spPr>
          <a:xfrm>
            <a:off x="455731" y="6026150"/>
            <a:ext cx="5527526" cy="209550"/>
          </a:xfrm>
          <a:prstGeom prst="rect">
            <a:avLst/>
          </a:prstGeom>
        </p:spPr>
        <p:txBody>
          <a:bodyPr lIns="0" tIns="0" rIns="0" bIns="0"/>
          <a:lstStyle>
            <a:lvl1pPr>
              <a:defRPr sz="1600" b="0" i="0">
                <a:solidFill>
                  <a:schemeClr val="accent2"/>
                </a:solidFill>
                <a:latin typeface="Barlow" pitchFamily="2" charset="77"/>
              </a:defRPr>
            </a:lvl1pPr>
            <a:lvl2pPr marL="0">
              <a:defRPr sz="1600" b="0" i="0">
                <a:solidFill>
                  <a:schemeClr val="accent2"/>
                </a:solidFill>
                <a:latin typeface="Barlow" pitchFamily="2" charset="77"/>
              </a:defRPr>
            </a:lvl2pPr>
            <a:lvl3pPr marL="0">
              <a:defRPr sz="1600" b="0" i="0">
                <a:solidFill>
                  <a:schemeClr val="accent2"/>
                </a:solidFill>
                <a:latin typeface="Barlow" pitchFamily="2" charset="77"/>
              </a:defRPr>
            </a:lvl3pPr>
            <a:lvl4pPr marL="0">
              <a:defRPr sz="1600" b="0" i="0">
                <a:solidFill>
                  <a:schemeClr val="accent2"/>
                </a:solidFill>
                <a:latin typeface="Barlow" pitchFamily="2" charset="77"/>
              </a:defRPr>
            </a:lvl4pPr>
            <a:lvl5pPr marL="0">
              <a:defRPr sz="1600" b="0" i="0">
                <a:solidFill>
                  <a:schemeClr val="accent2"/>
                </a:solidFill>
                <a:latin typeface="Barlow" pitchFamily="2" charset="77"/>
              </a:defRPr>
            </a:lvl5pPr>
            <a:lvl6pPr marL="0">
              <a:defRPr sz="1600" b="0" i="0">
                <a:solidFill>
                  <a:schemeClr val="accent2"/>
                </a:solidFill>
                <a:latin typeface="Barlow" pitchFamily="2" charset="77"/>
              </a:defRPr>
            </a:lvl6pPr>
            <a:lvl7pPr marL="0">
              <a:defRPr sz="1600" b="0" i="0">
                <a:solidFill>
                  <a:schemeClr val="accent2"/>
                </a:solidFill>
                <a:latin typeface="Barlow" pitchFamily="2" charset="77"/>
              </a:defRPr>
            </a:lvl7pPr>
            <a:lvl8pPr marL="0">
              <a:defRPr sz="1600">
                <a:solidFill>
                  <a:schemeClr val="accent2"/>
                </a:solidFill>
                <a:latin typeface="Barlow" pitchFamily="2" charset="77"/>
              </a:defRPr>
            </a:lvl8pPr>
            <a:lvl9pPr marL="0">
              <a:defRPr sz="1600" b="0" i="0">
                <a:solidFill>
                  <a:schemeClr val="accent2"/>
                </a:solidFill>
                <a:latin typeface="Barlow" pitchFamily="2" charset="77"/>
              </a:defRPr>
            </a:lvl9pPr>
          </a:lstStyle>
          <a:p>
            <a:pPr lvl="8"/>
            <a:r>
              <a:rPr lang="en-US"/>
              <a:t>Date</a:t>
            </a:r>
          </a:p>
        </p:txBody>
      </p:sp>
      <p:sp>
        <p:nvSpPr>
          <p:cNvPr id="15" name="Text Placeholder 6">
            <a:extLst>
              <a:ext uri="{FF2B5EF4-FFF2-40B4-BE49-F238E27FC236}">
                <a16:creationId xmlns:a16="http://schemas.microsoft.com/office/drawing/2014/main" id="{1A726996-E172-5C45-837A-77BB4F14E640}"/>
              </a:ext>
            </a:extLst>
          </p:cNvPr>
          <p:cNvSpPr>
            <a:spLocks noGrp="1"/>
          </p:cNvSpPr>
          <p:nvPr>
            <p:ph type="body" sz="quarter" idx="14" hasCustomPrompt="1"/>
          </p:nvPr>
        </p:nvSpPr>
        <p:spPr>
          <a:xfrm>
            <a:off x="457319" y="2509603"/>
            <a:ext cx="5525939" cy="919398"/>
          </a:xfrm>
          <a:prstGeom prst="rect">
            <a:avLst/>
          </a:prstGeom>
        </p:spPr>
        <p:txBody>
          <a:bodyPr lIns="0" tIns="182880" anchor="b" anchorCtr="0">
            <a:noAutofit/>
          </a:bodyPr>
          <a:lstStyle>
            <a:lvl1pPr>
              <a:lnSpc>
                <a:spcPts val="2300"/>
              </a:lnSpc>
              <a:spcAft>
                <a:spcPts val="0"/>
              </a:spcAft>
              <a:defRPr sz="20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Optional service or offering name here</a:t>
            </a:r>
          </a:p>
        </p:txBody>
      </p:sp>
      <p:sp>
        <p:nvSpPr>
          <p:cNvPr id="16" name="Picture Placeholder 16">
            <a:extLst>
              <a:ext uri="{FF2B5EF4-FFF2-40B4-BE49-F238E27FC236}">
                <a16:creationId xmlns:a16="http://schemas.microsoft.com/office/drawing/2014/main" id="{E8B22FC8-3CC5-5F45-9BC3-DB565548B38F}"/>
              </a:ext>
            </a:extLst>
          </p:cNvPr>
          <p:cNvSpPr>
            <a:spLocks noGrp="1"/>
          </p:cNvSpPr>
          <p:nvPr>
            <p:ph type="pic" sz="quarter" idx="17" hasCustomPrompt="1"/>
          </p:nvPr>
        </p:nvSpPr>
        <p:spPr>
          <a:xfrm>
            <a:off x="474482" y="460375"/>
            <a:ext cx="2431521" cy="876300"/>
          </a:xfrm>
          <a:solidFill>
            <a:schemeClr val="bg1"/>
          </a:solidFill>
        </p:spPr>
        <p:txBody>
          <a:bodyPr tIns="0" anchor="t" anchorCtr="0"/>
          <a:lstStyle>
            <a:lvl1pPr algn="ctr">
              <a:spcAft>
                <a:spcPts val="0"/>
              </a:spcAft>
              <a:defRPr sz="800">
                <a:solidFill>
                  <a:schemeClr val="tx2"/>
                </a:solidFill>
              </a:defRPr>
            </a:lvl1pPr>
          </a:lstStyle>
          <a:p>
            <a:r>
              <a:rPr lang="en-US" dirty="0"/>
              <a:t>Insert entity logo or delete box for default logo</a:t>
            </a:r>
          </a:p>
        </p:txBody>
      </p:sp>
    </p:spTree>
    <p:extLst>
      <p:ext uri="{BB962C8B-B14F-4D97-AF65-F5344CB8AC3E}">
        <p14:creationId xmlns:p14="http://schemas.microsoft.com/office/powerpoint/2010/main" val="37729512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_image_7">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49" y="0"/>
            <a:ext cx="12179298" cy="6856212"/>
          </a:xfrm>
          <a:prstGeom prst="rect">
            <a:avLst/>
          </a:prstGeom>
        </p:spPr>
      </p:pic>
      <p:pic>
        <p:nvPicPr>
          <p:cNvPr id="8" name="Picture 7">
            <a:extLst>
              <a:ext uri="{FF2B5EF4-FFF2-40B4-BE49-F238E27FC236}">
                <a16:creationId xmlns:a16="http://schemas.microsoft.com/office/drawing/2014/main" id="{52B1931B-4DAA-B94A-8CE6-18C54E1C5A6C}"/>
              </a:ext>
            </a:extLst>
          </p:cNvPr>
          <p:cNvPicPr>
            <a:picLocks noChangeAspect="1"/>
          </p:cNvPicPr>
          <p:nvPr userDrawn="1"/>
        </p:nvPicPr>
        <p:blipFill>
          <a:blip r:embed="rId3"/>
          <a:srcRect/>
          <a:stretch/>
        </p:blipFill>
        <p:spPr>
          <a:xfrm>
            <a:off x="474482" y="480762"/>
            <a:ext cx="2431521" cy="463564"/>
          </a:xfrm>
          <a:prstGeom prst="rect">
            <a:avLst/>
          </a:prstGeom>
        </p:spPr>
      </p:pic>
      <p:sp>
        <p:nvSpPr>
          <p:cNvPr id="11" name="Title 1">
            <a:extLst>
              <a:ext uri="{FF2B5EF4-FFF2-40B4-BE49-F238E27FC236}">
                <a16:creationId xmlns:a16="http://schemas.microsoft.com/office/drawing/2014/main" id="{7BEE3760-BA92-6044-9EDB-4EE48B1ABFE3}"/>
              </a:ext>
            </a:extLst>
          </p:cNvPr>
          <p:cNvSpPr>
            <a:spLocks noGrp="1"/>
          </p:cNvSpPr>
          <p:nvPr>
            <p:ph type="title"/>
          </p:nvPr>
        </p:nvSpPr>
        <p:spPr>
          <a:xfrm>
            <a:off x="457320" y="3429000"/>
            <a:ext cx="5525938" cy="2072148"/>
          </a:xfrm>
        </p:spPr>
        <p:txBody>
          <a:bodyPr lIns="0" tIns="182880" rIns="0" bIns="0" anchor="t" anchorCtr="0">
            <a:noAutofit/>
          </a:bodyPr>
          <a:lstStyle>
            <a:lvl1pPr>
              <a:lnSpc>
                <a:spcPts val="5200"/>
              </a:lnSpc>
              <a:defRPr sz="4800" b="0">
                <a:solidFill>
                  <a:schemeClr val="accent1"/>
                </a:solidFill>
              </a:defRPr>
            </a:lvl1pPr>
          </a:lstStyle>
          <a:p>
            <a:r>
              <a:rPr lang="en-US"/>
              <a:t>Click to edit Master title style</a:t>
            </a:r>
          </a:p>
        </p:txBody>
      </p:sp>
      <p:sp>
        <p:nvSpPr>
          <p:cNvPr id="12" name="Text Placeholder 6">
            <a:extLst>
              <a:ext uri="{FF2B5EF4-FFF2-40B4-BE49-F238E27FC236}">
                <a16:creationId xmlns:a16="http://schemas.microsoft.com/office/drawing/2014/main" id="{186941BE-94A3-8E45-B4FC-DEBB6D46616C}"/>
              </a:ext>
            </a:extLst>
          </p:cNvPr>
          <p:cNvSpPr>
            <a:spLocks noGrp="1"/>
          </p:cNvSpPr>
          <p:nvPr>
            <p:ph type="body" sz="quarter" idx="11"/>
          </p:nvPr>
        </p:nvSpPr>
        <p:spPr>
          <a:xfrm>
            <a:off x="460495" y="5501148"/>
            <a:ext cx="5522763" cy="525002"/>
          </a:xfrm>
          <a:prstGeom prst="rect">
            <a:avLst/>
          </a:prstGeom>
        </p:spPr>
        <p:txBody>
          <a:bodyPr lIns="0" tIns="0" anchor="b" anchorCtr="0">
            <a:noAutofit/>
          </a:bodyPr>
          <a:lstStyle>
            <a:lvl1pPr>
              <a:lnSpc>
                <a:spcPts val="2300"/>
              </a:lnSpc>
              <a:spcAft>
                <a:spcPts val="0"/>
              </a:spcAft>
              <a:defRPr sz="16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Edit Master text styles</a:t>
            </a:r>
          </a:p>
        </p:txBody>
      </p:sp>
      <p:sp>
        <p:nvSpPr>
          <p:cNvPr id="14" name="Date Placeholder 2">
            <a:extLst>
              <a:ext uri="{FF2B5EF4-FFF2-40B4-BE49-F238E27FC236}">
                <a16:creationId xmlns:a16="http://schemas.microsoft.com/office/drawing/2014/main" id="{655F7B86-BE77-6940-8518-D4065A6AF478}"/>
              </a:ext>
            </a:extLst>
          </p:cNvPr>
          <p:cNvSpPr>
            <a:spLocks noGrp="1"/>
          </p:cNvSpPr>
          <p:nvPr>
            <p:ph type="dt" sz="half" idx="13"/>
          </p:nvPr>
        </p:nvSpPr>
        <p:spPr>
          <a:xfrm>
            <a:off x="455731" y="6026150"/>
            <a:ext cx="5527526" cy="209550"/>
          </a:xfrm>
          <a:prstGeom prst="rect">
            <a:avLst/>
          </a:prstGeom>
        </p:spPr>
        <p:txBody>
          <a:bodyPr lIns="0" tIns="0" rIns="0" bIns="0"/>
          <a:lstStyle>
            <a:lvl1pPr>
              <a:defRPr sz="1600" b="0" i="0">
                <a:solidFill>
                  <a:schemeClr val="accent2"/>
                </a:solidFill>
                <a:latin typeface="Barlow" pitchFamily="2" charset="77"/>
              </a:defRPr>
            </a:lvl1pPr>
            <a:lvl2pPr marL="0">
              <a:defRPr sz="1600" b="0" i="0">
                <a:solidFill>
                  <a:schemeClr val="accent2"/>
                </a:solidFill>
                <a:latin typeface="Barlow" pitchFamily="2" charset="77"/>
              </a:defRPr>
            </a:lvl2pPr>
            <a:lvl3pPr marL="0">
              <a:defRPr sz="1600" b="0" i="0">
                <a:solidFill>
                  <a:schemeClr val="accent2"/>
                </a:solidFill>
                <a:latin typeface="Barlow" pitchFamily="2" charset="77"/>
              </a:defRPr>
            </a:lvl3pPr>
            <a:lvl4pPr marL="0">
              <a:defRPr sz="1600" b="0" i="0">
                <a:solidFill>
                  <a:schemeClr val="accent2"/>
                </a:solidFill>
                <a:latin typeface="Barlow" pitchFamily="2" charset="77"/>
              </a:defRPr>
            </a:lvl4pPr>
            <a:lvl5pPr marL="0">
              <a:defRPr sz="1600" b="0" i="0">
                <a:solidFill>
                  <a:schemeClr val="accent2"/>
                </a:solidFill>
                <a:latin typeface="Barlow" pitchFamily="2" charset="77"/>
              </a:defRPr>
            </a:lvl5pPr>
            <a:lvl6pPr marL="0">
              <a:defRPr sz="1600" b="0" i="0">
                <a:solidFill>
                  <a:schemeClr val="accent2"/>
                </a:solidFill>
                <a:latin typeface="Barlow" pitchFamily="2" charset="77"/>
              </a:defRPr>
            </a:lvl6pPr>
            <a:lvl7pPr marL="0">
              <a:defRPr sz="1600" b="0" i="0">
                <a:solidFill>
                  <a:schemeClr val="accent2"/>
                </a:solidFill>
                <a:latin typeface="Barlow" pitchFamily="2" charset="77"/>
              </a:defRPr>
            </a:lvl7pPr>
            <a:lvl8pPr marL="0">
              <a:defRPr sz="1600">
                <a:solidFill>
                  <a:schemeClr val="accent2"/>
                </a:solidFill>
                <a:latin typeface="Barlow" pitchFamily="2" charset="77"/>
              </a:defRPr>
            </a:lvl8pPr>
            <a:lvl9pPr marL="0">
              <a:defRPr sz="1600" b="0" i="0">
                <a:solidFill>
                  <a:schemeClr val="accent2"/>
                </a:solidFill>
                <a:latin typeface="Barlow" pitchFamily="2" charset="77"/>
              </a:defRPr>
            </a:lvl9pPr>
          </a:lstStyle>
          <a:p>
            <a:pPr lvl="8"/>
            <a:r>
              <a:rPr lang="en-US"/>
              <a:t>Date</a:t>
            </a:r>
          </a:p>
        </p:txBody>
      </p:sp>
      <p:sp>
        <p:nvSpPr>
          <p:cNvPr id="15" name="Text Placeholder 6">
            <a:extLst>
              <a:ext uri="{FF2B5EF4-FFF2-40B4-BE49-F238E27FC236}">
                <a16:creationId xmlns:a16="http://schemas.microsoft.com/office/drawing/2014/main" id="{B4522E7B-9AC7-9547-85E6-CD5A41A4D9A2}"/>
              </a:ext>
            </a:extLst>
          </p:cNvPr>
          <p:cNvSpPr>
            <a:spLocks noGrp="1"/>
          </p:cNvSpPr>
          <p:nvPr>
            <p:ph type="body" sz="quarter" idx="14" hasCustomPrompt="1"/>
          </p:nvPr>
        </p:nvSpPr>
        <p:spPr>
          <a:xfrm>
            <a:off x="457319" y="2509603"/>
            <a:ext cx="5525939" cy="919398"/>
          </a:xfrm>
          <a:prstGeom prst="rect">
            <a:avLst/>
          </a:prstGeom>
        </p:spPr>
        <p:txBody>
          <a:bodyPr lIns="0" tIns="182880" anchor="b" anchorCtr="0">
            <a:noAutofit/>
          </a:bodyPr>
          <a:lstStyle>
            <a:lvl1pPr>
              <a:lnSpc>
                <a:spcPts val="2300"/>
              </a:lnSpc>
              <a:spcAft>
                <a:spcPts val="0"/>
              </a:spcAft>
              <a:defRPr sz="20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Optional service or offering name here</a:t>
            </a:r>
          </a:p>
        </p:txBody>
      </p:sp>
      <p:sp>
        <p:nvSpPr>
          <p:cNvPr id="16" name="Picture Placeholder 16">
            <a:extLst>
              <a:ext uri="{FF2B5EF4-FFF2-40B4-BE49-F238E27FC236}">
                <a16:creationId xmlns:a16="http://schemas.microsoft.com/office/drawing/2014/main" id="{7E010F64-5C6D-7249-A211-796843E9185E}"/>
              </a:ext>
            </a:extLst>
          </p:cNvPr>
          <p:cNvSpPr>
            <a:spLocks noGrp="1"/>
          </p:cNvSpPr>
          <p:nvPr>
            <p:ph type="pic" sz="quarter" idx="17" hasCustomPrompt="1"/>
          </p:nvPr>
        </p:nvSpPr>
        <p:spPr>
          <a:xfrm>
            <a:off x="474482" y="460375"/>
            <a:ext cx="2431521" cy="876300"/>
          </a:xfrm>
          <a:solidFill>
            <a:schemeClr val="bg1"/>
          </a:solidFill>
        </p:spPr>
        <p:txBody>
          <a:bodyPr tIns="0" anchor="t" anchorCtr="0"/>
          <a:lstStyle>
            <a:lvl1pPr algn="ctr">
              <a:spcAft>
                <a:spcPts val="0"/>
              </a:spcAft>
              <a:defRPr sz="800">
                <a:solidFill>
                  <a:schemeClr val="tx2"/>
                </a:solidFill>
              </a:defRPr>
            </a:lvl1pPr>
          </a:lstStyle>
          <a:p>
            <a:r>
              <a:rPr lang="en-US" dirty="0"/>
              <a:t>Insert entity logo or delete box for default logo</a:t>
            </a:r>
          </a:p>
        </p:txBody>
      </p:sp>
    </p:spTree>
    <p:extLst>
      <p:ext uri="{BB962C8B-B14F-4D97-AF65-F5344CB8AC3E}">
        <p14:creationId xmlns:p14="http://schemas.microsoft.com/office/powerpoint/2010/main" val="279690576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9618A2A-DF5D-E94F-AE1B-05869B8CDF0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7" y="4466"/>
            <a:ext cx="12179296" cy="6856212"/>
          </a:xfrm>
          <a:prstGeom prst="rect">
            <a:avLst/>
          </a:prstGeom>
        </p:spPr>
      </p:pic>
      <p:sp>
        <p:nvSpPr>
          <p:cNvPr id="2" name="TextBox 1">
            <a:extLst>
              <a:ext uri="{FF2B5EF4-FFF2-40B4-BE49-F238E27FC236}">
                <a16:creationId xmlns:a16="http://schemas.microsoft.com/office/drawing/2014/main" id="{96C6DFFD-D32D-F046-95A8-4D7002C62042}"/>
              </a:ext>
            </a:extLst>
          </p:cNvPr>
          <p:cNvSpPr txBox="1"/>
          <p:nvPr userDrawn="1"/>
        </p:nvSpPr>
        <p:spPr>
          <a:xfrm>
            <a:off x="463671" y="460375"/>
            <a:ext cx="3604564" cy="1104900"/>
          </a:xfrm>
          <a:prstGeom prst="rect">
            <a:avLst/>
          </a:prstGeom>
          <a:noFill/>
        </p:spPr>
        <p:txBody>
          <a:bodyPr wrap="square" lIns="0" tIns="0" rIns="0" bIns="137160" rtlCol="0" anchor="b" anchorCtr="0">
            <a:noAutofit/>
          </a:bodyPr>
          <a:lstStyle/>
          <a:p>
            <a:pPr marL="0" lvl="0" indent="-3657235" algn="l">
              <a:lnSpc>
                <a:spcPts val="3400"/>
              </a:lnSpc>
              <a:spcAft>
                <a:spcPts val="0"/>
              </a:spcAft>
            </a:pPr>
            <a:r>
              <a:rPr lang="en-US" sz="3600" b="0">
                <a:solidFill>
                  <a:schemeClr val="bg1"/>
                </a:solidFill>
                <a:latin typeface="Lora" pitchFamily="2" charset="77"/>
              </a:rPr>
              <a:t>Agenda</a:t>
            </a:r>
          </a:p>
        </p:txBody>
      </p:sp>
      <p:sp>
        <p:nvSpPr>
          <p:cNvPr id="14" name="Footer Placeholder 13">
            <a:extLst>
              <a:ext uri="{FF2B5EF4-FFF2-40B4-BE49-F238E27FC236}">
                <a16:creationId xmlns:a16="http://schemas.microsoft.com/office/drawing/2014/main" id="{E8F47C92-6270-F544-B541-A469D4A5DA9A}"/>
              </a:ext>
            </a:extLst>
          </p:cNvPr>
          <p:cNvSpPr>
            <a:spLocks noGrp="1"/>
          </p:cNvSpPr>
          <p:nvPr>
            <p:ph type="ftr" sz="quarter" idx="15"/>
          </p:nvPr>
        </p:nvSpPr>
        <p:spPr>
          <a:xfrm>
            <a:off x="4298483" y="6432562"/>
            <a:ext cx="6937594" cy="234938"/>
          </a:xfrm>
        </p:spPr>
        <p:txBody>
          <a:bodyPr/>
          <a:lstStyle/>
          <a:p>
            <a:pPr lvl="8"/>
            <a:r>
              <a:rPr lang="en-US"/>
              <a:t>Presentation Title Here &gt; Insert &gt; Header &amp; Footer</a:t>
            </a:r>
          </a:p>
        </p:txBody>
      </p:sp>
      <p:sp>
        <p:nvSpPr>
          <p:cNvPr id="15" name="Slide Number Placeholder 14">
            <a:extLst>
              <a:ext uri="{FF2B5EF4-FFF2-40B4-BE49-F238E27FC236}">
                <a16:creationId xmlns:a16="http://schemas.microsoft.com/office/drawing/2014/main" id="{9AFAAF2F-5C32-014B-B859-13C713ABBAE0}"/>
              </a:ext>
            </a:extLst>
          </p:cNvPr>
          <p:cNvSpPr>
            <a:spLocks noGrp="1"/>
          </p:cNvSpPr>
          <p:nvPr>
            <p:ph type="sldNum" sz="quarter" idx="16"/>
          </p:nvPr>
        </p:nvSpPr>
        <p:spPr/>
        <p:txBody>
          <a:bodyPr/>
          <a:lstStyle/>
          <a:p>
            <a:fld id="{1E3D5677-3D20-0C46-8497-54D73E689044}" type="slidenum">
              <a:rPr lang="en-US"/>
              <a:pPr/>
              <a:t>‹#›</a:t>
            </a:fld>
            <a:endParaRPr lang="en-US"/>
          </a:p>
        </p:txBody>
      </p:sp>
      <p:pic>
        <p:nvPicPr>
          <p:cNvPr id="12" name="Picture 11">
            <a:extLst>
              <a:ext uri="{FF2B5EF4-FFF2-40B4-BE49-F238E27FC236}">
                <a16:creationId xmlns:a16="http://schemas.microsoft.com/office/drawing/2014/main" id="{A3B34E8E-34B1-5048-94AE-5C770B84AE5A}"/>
              </a:ext>
            </a:extLst>
          </p:cNvPr>
          <p:cNvPicPr>
            <a:picLocks noChangeAspect="1"/>
          </p:cNvPicPr>
          <p:nvPr userDrawn="1"/>
        </p:nvPicPr>
        <p:blipFill>
          <a:blip r:embed="rId3"/>
          <a:srcRect/>
          <a:stretch/>
        </p:blipFill>
        <p:spPr>
          <a:xfrm>
            <a:off x="472868" y="6412434"/>
            <a:ext cx="1497466" cy="285488"/>
          </a:xfrm>
          <a:prstGeom prst="rect">
            <a:avLst/>
          </a:prstGeom>
        </p:spPr>
      </p:pic>
      <p:sp>
        <p:nvSpPr>
          <p:cNvPr id="8" name="Text Placeholder 6">
            <a:extLst>
              <a:ext uri="{FF2B5EF4-FFF2-40B4-BE49-F238E27FC236}">
                <a16:creationId xmlns:a16="http://schemas.microsoft.com/office/drawing/2014/main" id="{DB8C8CFC-BE13-AC4B-A5EC-B789B27C8395}"/>
              </a:ext>
            </a:extLst>
          </p:cNvPr>
          <p:cNvSpPr>
            <a:spLocks noGrp="1"/>
          </p:cNvSpPr>
          <p:nvPr>
            <p:ph type="body" sz="quarter" idx="13" hasCustomPrompt="1"/>
          </p:nvPr>
        </p:nvSpPr>
        <p:spPr>
          <a:xfrm>
            <a:off x="472870" y="2336801"/>
            <a:ext cx="1497465" cy="3526971"/>
          </a:xfrm>
          <a:prstGeom prst="rect">
            <a:avLst/>
          </a:prstGeom>
        </p:spPr>
        <p:txBody>
          <a:bodyPr lIns="0" tIns="0" rIns="0" anchor="t" anchorCtr="0">
            <a:noAutofit/>
          </a:bodyPr>
          <a:lstStyle>
            <a:lvl1pPr marL="0" indent="0">
              <a:lnSpc>
                <a:spcPts val="2100"/>
              </a:lnSpc>
              <a:spcAft>
                <a:spcPts val="1600"/>
              </a:spcAft>
              <a:buClr>
                <a:schemeClr val="bg1"/>
              </a:buClr>
              <a:buFontTx/>
              <a:buNone/>
              <a:defRPr sz="1800" b="0">
                <a:solidFill>
                  <a:schemeClr val="bg1"/>
                </a:solidFill>
              </a:defRPr>
            </a:lvl1pPr>
            <a:lvl2pPr marL="0" indent="0">
              <a:lnSpc>
                <a:spcPts val="2100"/>
              </a:lnSpc>
              <a:spcAft>
                <a:spcPts val="1600"/>
              </a:spcAft>
              <a:buClr>
                <a:schemeClr val="bg1"/>
              </a:buClr>
              <a:buFontTx/>
              <a:buNone/>
              <a:defRPr sz="1800" b="0">
                <a:solidFill>
                  <a:schemeClr val="bg1"/>
                </a:solidFill>
              </a:defRPr>
            </a:lvl2pPr>
            <a:lvl3pPr marL="0" indent="0">
              <a:lnSpc>
                <a:spcPts val="2100"/>
              </a:lnSpc>
              <a:spcAft>
                <a:spcPts val="1600"/>
              </a:spcAft>
              <a:buClr>
                <a:schemeClr val="bg1"/>
              </a:buClr>
              <a:buFontTx/>
              <a:buNone/>
              <a:defRPr sz="1800" b="0">
                <a:solidFill>
                  <a:schemeClr val="bg1"/>
                </a:solidFill>
              </a:defRPr>
            </a:lvl3pPr>
            <a:lvl4pPr marL="0" indent="0">
              <a:lnSpc>
                <a:spcPts val="2100"/>
              </a:lnSpc>
              <a:spcAft>
                <a:spcPts val="1600"/>
              </a:spcAft>
              <a:buClr>
                <a:schemeClr val="bg1"/>
              </a:buClr>
              <a:buFontTx/>
              <a:buNone/>
              <a:defRPr sz="1800" b="0">
                <a:solidFill>
                  <a:schemeClr val="bg1"/>
                </a:solidFill>
              </a:defRPr>
            </a:lvl4pPr>
            <a:lvl5pPr marL="0" indent="0">
              <a:lnSpc>
                <a:spcPts val="2100"/>
              </a:lnSpc>
              <a:spcAft>
                <a:spcPts val="1600"/>
              </a:spcAft>
              <a:buClr>
                <a:schemeClr val="bg1"/>
              </a:buClr>
              <a:buFontTx/>
              <a:buNone/>
              <a:defRPr sz="1800" b="0">
                <a:solidFill>
                  <a:schemeClr val="bg1"/>
                </a:solidFill>
              </a:defRPr>
            </a:lvl5pPr>
            <a:lvl6pPr marL="0" indent="0">
              <a:lnSpc>
                <a:spcPts val="2100"/>
              </a:lnSpc>
              <a:spcAft>
                <a:spcPts val="1600"/>
              </a:spcAft>
              <a:buClr>
                <a:schemeClr val="bg1"/>
              </a:buClr>
              <a:buFontTx/>
              <a:buNone/>
              <a:defRPr sz="1800" b="0">
                <a:solidFill>
                  <a:schemeClr val="bg1"/>
                </a:solidFill>
              </a:defRPr>
            </a:lvl6pPr>
            <a:lvl7pPr marL="0" indent="0">
              <a:lnSpc>
                <a:spcPts val="2100"/>
              </a:lnSpc>
              <a:spcAft>
                <a:spcPts val="1600"/>
              </a:spcAft>
              <a:buClr>
                <a:schemeClr val="bg1"/>
              </a:buClr>
              <a:buFontTx/>
              <a:buNone/>
              <a:defRPr sz="1800" b="0">
                <a:solidFill>
                  <a:schemeClr val="bg1"/>
                </a:solidFill>
              </a:defRPr>
            </a:lvl7pPr>
            <a:lvl8pPr marL="0" indent="0">
              <a:lnSpc>
                <a:spcPts val="2100"/>
              </a:lnSpc>
              <a:spcAft>
                <a:spcPts val="1600"/>
              </a:spcAft>
              <a:buClr>
                <a:schemeClr val="bg1"/>
              </a:buClr>
              <a:buFontTx/>
              <a:buNone/>
              <a:defRPr sz="1800" b="0">
                <a:solidFill>
                  <a:schemeClr val="bg1"/>
                </a:solidFill>
              </a:defRPr>
            </a:lvl8pPr>
            <a:lvl9pPr marL="0" indent="0">
              <a:lnSpc>
                <a:spcPts val="2100"/>
              </a:lnSpc>
              <a:spcAft>
                <a:spcPts val="1600"/>
              </a:spcAft>
              <a:buClr>
                <a:schemeClr val="bg1"/>
              </a:buClr>
              <a:buFontTx/>
              <a:buNone/>
              <a:defRPr sz="1800" b="0">
                <a:solidFill>
                  <a:schemeClr val="bg1"/>
                </a:solidFill>
              </a:defRPr>
            </a:lvl9pPr>
          </a:lstStyle>
          <a:p>
            <a:pPr lvl="0"/>
            <a:r>
              <a:rPr lang="en-US" dirty="0"/>
              <a:t>TIME</a:t>
            </a:r>
          </a:p>
        </p:txBody>
      </p:sp>
      <p:sp>
        <p:nvSpPr>
          <p:cNvPr id="10" name="Text Placeholder 6">
            <a:extLst>
              <a:ext uri="{FF2B5EF4-FFF2-40B4-BE49-F238E27FC236}">
                <a16:creationId xmlns:a16="http://schemas.microsoft.com/office/drawing/2014/main" id="{AD5C48A9-DB02-6644-AA7A-0B977622F799}"/>
              </a:ext>
            </a:extLst>
          </p:cNvPr>
          <p:cNvSpPr>
            <a:spLocks noGrp="1"/>
          </p:cNvSpPr>
          <p:nvPr>
            <p:ph type="body" sz="quarter" idx="17" hasCustomPrompt="1"/>
          </p:nvPr>
        </p:nvSpPr>
        <p:spPr>
          <a:xfrm>
            <a:off x="2227699" y="2336801"/>
            <a:ext cx="5672172" cy="3526971"/>
          </a:xfrm>
          <a:prstGeom prst="rect">
            <a:avLst/>
          </a:prstGeom>
        </p:spPr>
        <p:txBody>
          <a:bodyPr lIns="0" tIns="0" rIns="0" anchor="t" anchorCtr="0">
            <a:noAutofit/>
          </a:bodyPr>
          <a:lstStyle>
            <a:lvl1pPr marL="0" indent="0">
              <a:lnSpc>
                <a:spcPts val="2100"/>
              </a:lnSpc>
              <a:spcAft>
                <a:spcPts val="1600"/>
              </a:spcAft>
              <a:buClr>
                <a:schemeClr val="bg1"/>
              </a:buClr>
              <a:buFontTx/>
              <a:buNone/>
              <a:defRPr sz="1800" b="0">
                <a:solidFill>
                  <a:schemeClr val="bg1"/>
                </a:solidFill>
              </a:defRPr>
            </a:lvl1pPr>
            <a:lvl2pPr marL="0" indent="0">
              <a:lnSpc>
                <a:spcPts val="2100"/>
              </a:lnSpc>
              <a:spcAft>
                <a:spcPts val="1600"/>
              </a:spcAft>
              <a:buClr>
                <a:schemeClr val="bg1"/>
              </a:buClr>
              <a:buFontTx/>
              <a:buNone/>
              <a:defRPr sz="1800" b="0">
                <a:solidFill>
                  <a:schemeClr val="bg1"/>
                </a:solidFill>
              </a:defRPr>
            </a:lvl2pPr>
            <a:lvl3pPr marL="0" indent="0">
              <a:lnSpc>
                <a:spcPts val="2100"/>
              </a:lnSpc>
              <a:spcAft>
                <a:spcPts val="1600"/>
              </a:spcAft>
              <a:buClr>
                <a:schemeClr val="bg1"/>
              </a:buClr>
              <a:buFontTx/>
              <a:buNone/>
              <a:defRPr sz="1800" b="0">
                <a:solidFill>
                  <a:schemeClr val="bg1"/>
                </a:solidFill>
              </a:defRPr>
            </a:lvl3pPr>
            <a:lvl4pPr marL="0" indent="0">
              <a:lnSpc>
                <a:spcPts val="2100"/>
              </a:lnSpc>
              <a:spcAft>
                <a:spcPts val="1600"/>
              </a:spcAft>
              <a:buClr>
                <a:schemeClr val="bg1"/>
              </a:buClr>
              <a:buFontTx/>
              <a:buNone/>
              <a:defRPr sz="1800" b="0">
                <a:solidFill>
                  <a:schemeClr val="bg1"/>
                </a:solidFill>
              </a:defRPr>
            </a:lvl4pPr>
            <a:lvl5pPr marL="0" indent="0">
              <a:lnSpc>
                <a:spcPts val="2100"/>
              </a:lnSpc>
              <a:spcAft>
                <a:spcPts val="1600"/>
              </a:spcAft>
              <a:buClr>
                <a:schemeClr val="bg1"/>
              </a:buClr>
              <a:buFontTx/>
              <a:buNone/>
              <a:defRPr sz="1800" b="0">
                <a:solidFill>
                  <a:schemeClr val="bg1"/>
                </a:solidFill>
              </a:defRPr>
            </a:lvl5pPr>
            <a:lvl6pPr marL="0" indent="0">
              <a:lnSpc>
                <a:spcPts val="2100"/>
              </a:lnSpc>
              <a:spcAft>
                <a:spcPts val="1600"/>
              </a:spcAft>
              <a:buClr>
                <a:schemeClr val="bg1"/>
              </a:buClr>
              <a:buFontTx/>
              <a:buNone/>
              <a:defRPr sz="1800" b="0">
                <a:solidFill>
                  <a:schemeClr val="bg1"/>
                </a:solidFill>
              </a:defRPr>
            </a:lvl6pPr>
            <a:lvl7pPr marL="0" indent="0">
              <a:lnSpc>
                <a:spcPts val="2100"/>
              </a:lnSpc>
              <a:spcAft>
                <a:spcPts val="1600"/>
              </a:spcAft>
              <a:buClr>
                <a:schemeClr val="bg1"/>
              </a:buClr>
              <a:buFontTx/>
              <a:buNone/>
              <a:defRPr sz="1800" b="0">
                <a:solidFill>
                  <a:schemeClr val="bg1"/>
                </a:solidFill>
              </a:defRPr>
            </a:lvl7pPr>
            <a:lvl8pPr marL="0" indent="0">
              <a:lnSpc>
                <a:spcPts val="2100"/>
              </a:lnSpc>
              <a:spcAft>
                <a:spcPts val="1600"/>
              </a:spcAft>
              <a:buClr>
                <a:schemeClr val="bg1"/>
              </a:buClr>
              <a:buFontTx/>
              <a:buNone/>
              <a:defRPr sz="1800" b="0">
                <a:solidFill>
                  <a:schemeClr val="bg1"/>
                </a:solidFill>
              </a:defRPr>
            </a:lvl8pPr>
            <a:lvl9pPr marL="0" indent="0">
              <a:lnSpc>
                <a:spcPts val="2100"/>
              </a:lnSpc>
              <a:spcAft>
                <a:spcPts val="1600"/>
              </a:spcAft>
              <a:buClr>
                <a:schemeClr val="bg1"/>
              </a:buClr>
              <a:buFontTx/>
              <a:buNone/>
              <a:defRPr sz="1800" b="0">
                <a:solidFill>
                  <a:schemeClr val="bg1"/>
                </a:solidFill>
              </a:defRPr>
            </a:lvl9pPr>
          </a:lstStyle>
          <a:p>
            <a:pPr lvl="0"/>
            <a:r>
              <a:rPr lang="en-US" dirty="0"/>
              <a:t>Topic</a:t>
            </a:r>
          </a:p>
        </p:txBody>
      </p:sp>
      <p:sp>
        <p:nvSpPr>
          <p:cNvPr id="13" name="Text Placeholder 6">
            <a:extLst>
              <a:ext uri="{FF2B5EF4-FFF2-40B4-BE49-F238E27FC236}">
                <a16:creationId xmlns:a16="http://schemas.microsoft.com/office/drawing/2014/main" id="{89115212-75FE-AB42-9E22-73B8612CBD19}"/>
              </a:ext>
            </a:extLst>
          </p:cNvPr>
          <p:cNvSpPr>
            <a:spLocks noGrp="1"/>
          </p:cNvSpPr>
          <p:nvPr>
            <p:ph type="body" sz="quarter" idx="18" hasCustomPrompt="1"/>
          </p:nvPr>
        </p:nvSpPr>
        <p:spPr>
          <a:xfrm>
            <a:off x="8125354" y="2336801"/>
            <a:ext cx="3593777" cy="3526971"/>
          </a:xfrm>
          <a:prstGeom prst="rect">
            <a:avLst/>
          </a:prstGeom>
        </p:spPr>
        <p:txBody>
          <a:bodyPr lIns="0" tIns="0" rIns="0" anchor="t" anchorCtr="0">
            <a:noAutofit/>
          </a:bodyPr>
          <a:lstStyle>
            <a:lvl1pPr marL="0" indent="0">
              <a:lnSpc>
                <a:spcPts val="2100"/>
              </a:lnSpc>
              <a:spcAft>
                <a:spcPts val="1600"/>
              </a:spcAft>
              <a:buClr>
                <a:schemeClr val="bg1"/>
              </a:buClr>
              <a:buFontTx/>
              <a:buNone/>
              <a:defRPr sz="1800" b="0">
                <a:solidFill>
                  <a:schemeClr val="bg1"/>
                </a:solidFill>
              </a:defRPr>
            </a:lvl1pPr>
            <a:lvl2pPr marL="0" indent="0">
              <a:lnSpc>
                <a:spcPts val="2100"/>
              </a:lnSpc>
              <a:spcAft>
                <a:spcPts val="1600"/>
              </a:spcAft>
              <a:buClr>
                <a:schemeClr val="bg1"/>
              </a:buClr>
              <a:buFontTx/>
              <a:buNone/>
              <a:defRPr sz="1800" b="0">
                <a:solidFill>
                  <a:schemeClr val="bg1"/>
                </a:solidFill>
              </a:defRPr>
            </a:lvl2pPr>
            <a:lvl3pPr marL="0" indent="0">
              <a:lnSpc>
                <a:spcPts val="2100"/>
              </a:lnSpc>
              <a:spcAft>
                <a:spcPts val="1600"/>
              </a:spcAft>
              <a:buClr>
                <a:schemeClr val="bg1"/>
              </a:buClr>
              <a:buFontTx/>
              <a:buNone/>
              <a:defRPr sz="1800" b="0">
                <a:solidFill>
                  <a:schemeClr val="bg1"/>
                </a:solidFill>
              </a:defRPr>
            </a:lvl3pPr>
            <a:lvl4pPr marL="0" indent="0">
              <a:lnSpc>
                <a:spcPts val="2100"/>
              </a:lnSpc>
              <a:spcAft>
                <a:spcPts val="1600"/>
              </a:spcAft>
              <a:buClr>
                <a:schemeClr val="bg1"/>
              </a:buClr>
              <a:buFontTx/>
              <a:buNone/>
              <a:defRPr sz="1800" b="0">
                <a:solidFill>
                  <a:schemeClr val="bg1"/>
                </a:solidFill>
              </a:defRPr>
            </a:lvl4pPr>
            <a:lvl5pPr marL="0" indent="0">
              <a:lnSpc>
                <a:spcPts val="2100"/>
              </a:lnSpc>
              <a:spcAft>
                <a:spcPts val="1600"/>
              </a:spcAft>
              <a:buClr>
                <a:schemeClr val="bg1"/>
              </a:buClr>
              <a:buFontTx/>
              <a:buNone/>
              <a:defRPr sz="1800" b="0">
                <a:solidFill>
                  <a:schemeClr val="bg1"/>
                </a:solidFill>
              </a:defRPr>
            </a:lvl5pPr>
            <a:lvl6pPr marL="0" indent="0">
              <a:lnSpc>
                <a:spcPts val="2100"/>
              </a:lnSpc>
              <a:spcAft>
                <a:spcPts val="1600"/>
              </a:spcAft>
              <a:buClr>
                <a:schemeClr val="bg1"/>
              </a:buClr>
              <a:buFontTx/>
              <a:buNone/>
              <a:defRPr sz="1800" b="0">
                <a:solidFill>
                  <a:schemeClr val="bg1"/>
                </a:solidFill>
              </a:defRPr>
            </a:lvl6pPr>
            <a:lvl7pPr marL="0" indent="0">
              <a:lnSpc>
                <a:spcPts val="2100"/>
              </a:lnSpc>
              <a:spcAft>
                <a:spcPts val="1600"/>
              </a:spcAft>
              <a:buClr>
                <a:schemeClr val="bg1"/>
              </a:buClr>
              <a:buFontTx/>
              <a:buNone/>
              <a:defRPr sz="1800" b="0">
                <a:solidFill>
                  <a:schemeClr val="bg1"/>
                </a:solidFill>
              </a:defRPr>
            </a:lvl7pPr>
            <a:lvl8pPr marL="0" indent="0">
              <a:lnSpc>
                <a:spcPts val="2100"/>
              </a:lnSpc>
              <a:spcAft>
                <a:spcPts val="1600"/>
              </a:spcAft>
              <a:buClr>
                <a:schemeClr val="bg1"/>
              </a:buClr>
              <a:buFontTx/>
              <a:buNone/>
              <a:defRPr sz="1800" b="0">
                <a:solidFill>
                  <a:schemeClr val="bg1"/>
                </a:solidFill>
              </a:defRPr>
            </a:lvl8pPr>
            <a:lvl9pPr marL="0" indent="0">
              <a:lnSpc>
                <a:spcPts val="2100"/>
              </a:lnSpc>
              <a:spcAft>
                <a:spcPts val="1600"/>
              </a:spcAft>
              <a:buClr>
                <a:schemeClr val="bg1"/>
              </a:buClr>
              <a:buFontTx/>
              <a:buNone/>
              <a:defRPr sz="1800" b="0">
                <a:solidFill>
                  <a:schemeClr val="bg1"/>
                </a:solidFill>
              </a:defRPr>
            </a:lvl9pPr>
          </a:lstStyle>
          <a:p>
            <a:pPr lvl="0"/>
            <a:r>
              <a:rPr lang="en-US" dirty="0"/>
              <a:t>Name</a:t>
            </a:r>
          </a:p>
        </p:txBody>
      </p:sp>
    </p:spTree>
    <p:extLst>
      <p:ext uri="{BB962C8B-B14F-4D97-AF65-F5344CB8AC3E}">
        <p14:creationId xmlns:p14="http://schemas.microsoft.com/office/powerpoint/2010/main" val="10286945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682858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_of_contents">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B217E96-41B0-6043-94A0-7958ABA0E39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7" y="4467"/>
            <a:ext cx="12179296" cy="6856211"/>
          </a:xfrm>
          <a:prstGeom prst="rect">
            <a:avLst/>
          </a:prstGeom>
        </p:spPr>
      </p:pic>
      <p:sp>
        <p:nvSpPr>
          <p:cNvPr id="3" name="Footer Placeholder 2">
            <a:extLst>
              <a:ext uri="{FF2B5EF4-FFF2-40B4-BE49-F238E27FC236}">
                <a16:creationId xmlns:a16="http://schemas.microsoft.com/office/drawing/2014/main" id="{E8D17CCE-4148-054E-BC25-74B1DEEB2364}"/>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9" name="Text Placeholder 6">
            <a:extLst>
              <a:ext uri="{FF2B5EF4-FFF2-40B4-BE49-F238E27FC236}">
                <a16:creationId xmlns:a16="http://schemas.microsoft.com/office/drawing/2014/main" id="{2690C1FD-1E6B-BB44-8213-7BF2FC4D2537}"/>
              </a:ext>
            </a:extLst>
          </p:cNvPr>
          <p:cNvSpPr>
            <a:spLocks noGrp="1"/>
          </p:cNvSpPr>
          <p:nvPr>
            <p:ph type="body" sz="quarter" idx="13"/>
          </p:nvPr>
        </p:nvSpPr>
        <p:spPr>
          <a:xfrm>
            <a:off x="472869" y="2336801"/>
            <a:ext cx="5510389" cy="3526971"/>
          </a:xfrm>
          <a:prstGeom prst="rect">
            <a:avLst/>
          </a:prstGeom>
        </p:spPr>
        <p:txBody>
          <a:bodyPr lIns="0" tIns="0" rIns="0" anchor="t" anchorCtr="0">
            <a:noAutofit/>
          </a:bodyPr>
          <a:lstStyle>
            <a:lvl1pPr marL="0" indent="0">
              <a:lnSpc>
                <a:spcPts val="2100"/>
              </a:lnSpc>
              <a:spcAft>
                <a:spcPts val="1600"/>
              </a:spcAft>
              <a:buClr>
                <a:schemeClr val="bg1"/>
              </a:buClr>
              <a:buFontTx/>
              <a:buNone/>
              <a:defRPr sz="1800" b="0">
                <a:solidFill>
                  <a:schemeClr val="bg1"/>
                </a:solidFill>
              </a:defRPr>
            </a:lvl1pPr>
            <a:lvl2pPr marL="0" indent="0">
              <a:lnSpc>
                <a:spcPts val="2100"/>
              </a:lnSpc>
              <a:spcAft>
                <a:spcPts val="1600"/>
              </a:spcAft>
              <a:buClr>
                <a:schemeClr val="bg1"/>
              </a:buClr>
              <a:buFontTx/>
              <a:buNone/>
              <a:defRPr sz="1800" b="0">
                <a:solidFill>
                  <a:schemeClr val="bg1"/>
                </a:solidFill>
              </a:defRPr>
            </a:lvl2pPr>
            <a:lvl3pPr marL="0" indent="0">
              <a:lnSpc>
                <a:spcPts val="2100"/>
              </a:lnSpc>
              <a:spcAft>
                <a:spcPts val="1600"/>
              </a:spcAft>
              <a:buClr>
                <a:schemeClr val="bg1"/>
              </a:buClr>
              <a:buFontTx/>
              <a:buNone/>
              <a:defRPr sz="1800" b="0">
                <a:solidFill>
                  <a:schemeClr val="bg1"/>
                </a:solidFill>
              </a:defRPr>
            </a:lvl3pPr>
            <a:lvl4pPr marL="0" indent="0">
              <a:lnSpc>
                <a:spcPts val="2100"/>
              </a:lnSpc>
              <a:spcAft>
                <a:spcPts val="1600"/>
              </a:spcAft>
              <a:buClr>
                <a:schemeClr val="bg1"/>
              </a:buClr>
              <a:buFontTx/>
              <a:buNone/>
              <a:defRPr sz="1800" b="0">
                <a:solidFill>
                  <a:schemeClr val="bg1"/>
                </a:solidFill>
              </a:defRPr>
            </a:lvl4pPr>
            <a:lvl5pPr marL="0" indent="0">
              <a:lnSpc>
                <a:spcPts val="2100"/>
              </a:lnSpc>
              <a:spcAft>
                <a:spcPts val="1600"/>
              </a:spcAft>
              <a:buClr>
                <a:schemeClr val="bg1"/>
              </a:buClr>
              <a:buFontTx/>
              <a:buNone/>
              <a:defRPr sz="1800" b="0">
                <a:solidFill>
                  <a:schemeClr val="bg1"/>
                </a:solidFill>
              </a:defRPr>
            </a:lvl5pPr>
            <a:lvl6pPr marL="0" indent="0">
              <a:lnSpc>
                <a:spcPts val="2100"/>
              </a:lnSpc>
              <a:spcAft>
                <a:spcPts val="1600"/>
              </a:spcAft>
              <a:buClr>
                <a:schemeClr val="bg1"/>
              </a:buClr>
              <a:buFontTx/>
              <a:buNone/>
              <a:defRPr sz="1800" b="0">
                <a:solidFill>
                  <a:schemeClr val="bg1"/>
                </a:solidFill>
              </a:defRPr>
            </a:lvl6pPr>
            <a:lvl7pPr marL="0" indent="0">
              <a:lnSpc>
                <a:spcPts val="2100"/>
              </a:lnSpc>
              <a:spcAft>
                <a:spcPts val="1600"/>
              </a:spcAft>
              <a:buClr>
                <a:schemeClr val="bg1"/>
              </a:buClr>
              <a:buFontTx/>
              <a:buNone/>
              <a:defRPr sz="1800" b="0">
                <a:solidFill>
                  <a:schemeClr val="bg1"/>
                </a:solidFill>
              </a:defRPr>
            </a:lvl7pPr>
            <a:lvl8pPr marL="0" indent="0">
              <a:lnSpc>
                <a:spcPts val="2100"/>
              </a:lnSpc>
              <a:spcAft>
                <a:spcPts val="1600"/>
              </a:spcAft>
              <a:buClr>
                <a:schemeClr val="bg1"/>
              </a:buClr>
              <a:buFontTx/>
              <a:buNone/>
              <a:defRPr sz="1800" b="0">
                <a:solidFill>
                  <a:schemeClr val="bg1"/>
                </a:solidFill>
              </a:defRPr>
            </a:lvl8pPr>
            <a:lvl9pPr marL="0" indent="0">
              <a:lnSpc>
                <a:spcPts val="2100"/>
              </a:lnSpc>
              <a:spcAft>
                <a:spcPts val="1600"/>
              </a:spcAft>
              <a:buClr>
                <a:schemeClr val="bg1"/>
              </a:buClr>
              <a:buFontTx/>
              <a:buNone/>
              <a:defRPr sz="1800" b="0">
                <a:solidFill>
                  <a:schemeClr val="bg1"/>
                </a:solidFill>
              </a:defRPr>
            </a:lvl9pPr>
          </a:lstStyle>
          <a:p>
            <a:pPr lvl="0"/>
            <a:r>
              <a:rPr lang="en-US"/>
              <a:t>Edit Master text styles</a:t>
            </a:r>
          </a:p>
          <a:p>
            <a:pPr lvl="1"/>
            <a:r>
              <a:rPr lang="en-US"/>
              <a:t>Second level</a:t>
            </a:r>
          </a:p>
        </p:txBody>
      </p:sp>
      <p:sp>
        <p:nvSpPr>
          <p:cNvPr id="11" name="TextBox 10">
            <a:extLst>
              <a:ext uri="{FF2B5EF4-FFF2-40B4-BE49-F238E27FC236}">
                <a16:creationId xmlns:a16="http://schemas.microsoft.com/office/drawing/2014/main" id="{F2E50D81-674E-4040-9072-21F6A9509BA9}"/>
              </a:ext>
            </a:extLst>
          </p:cNvPr>
          <p:cNvSpPr txBox="1"/>
          <p:nvPr userDrawn="1"/>
        </p:nvSpPr>
        <p:spPr>
          <a:xfrm>
            <a:off x="463671" y="460375"/>
            <a:ext cx="7512825" cy="1104900"/>
          </a:xfrm>
          <a:prstGeom prst="rect">
            <a:avLst/>
          </a:prstGeom>
          <a:noFill/>
        </p:spPr>
        <p:txBody>
          <a:bodyPr wrap="square" lIns="0" tIns="0" rIns="0" bIns="137160" rtlCol="0" anchor="b" anchorCtr="0">
            <a:noAutofit/>
          </a:bodyPr>
          <a:lstStyle/>
          <a:p>
            <a:pPr marL="0" lvl="0" indent="-3657235" algn="l">
              <a:lnSpc>
                <a:spcPts val="3400"/>
              </a:lnSpc>
              <a:spcAft>
                <a:spcPts val="0"/>
              </a:spcAft>
            </a:pPr>
            <a:r>
              <a:rPr lang="en-US" sz="3600" b="0">
                <a:solidFill>
                  <a:schemeClr val="bg1"/>
                </a:solidFill>
                <a:latin typeface="Lora" pitchFamily="2" charset="77"/>
              </a:rPr>
              <a:t>Table of Contents</a:t>
            </a:r>
          </a:p>
        </p:txBody>
      </p:sp>
      <p:sp>
        <p:nvSpPr>
          <p:cNvPr id="12" name="Text Placeholder 6">
            <a:extLst>
              <a:ext uri="{FF2B5EF4-FFF2-40B4-BE49-F238E27FC236}">
                <a16:creationId xmlns:a16="http://schemas.microsoft.com/office/drawing/2014/main" id="{ADE15E06-9D52-994F-A080-6FA9BEED598D}"/>
              </a:ext>
            </a:extLst>
          </p:cNvPr>
          <p:cNvSpPr>
            <a:spLocks noGrp="1"/>
          </p:cNvSpPr>
          <p:nvPr>
            <p:ph type="body" sz="quarter" idx="17" hasCustomPrompt="1"/>
          </p:nvPr>
        </p:nvSpPr>
        <p:spPr>
          <a:xfrm>
            <a:off x="6205567" y="2336801"/>
            <a:ext cx="1694304" cy="3526971"/>
          </a:xfrm>
          <a:prstGeom prst="rect">
            <a:avLst/>
          </a:prstGeom>
        </p:spPr>
        <p:txBody>
          <a:bodyPr lIns="0" tIns="0" rIns="0" anchor="t" anchorCtr="0">
            <a:noAutofit/>
          </a:bodyPr>
          <a:lstStyle>
            <a:lvl1pPr marL="0" indent="0">
              <a:lnSpc>
                <a:spcPts val="2100"/>
              </a:lnSpc>
              <a:spcAft>
                <a:spcPts val="1600"/>
              </a:spcAft>
              <a:buClr>
                <a:schemeClr val="bg1"/>
              </a:buClr>
              <a:buFontTx/>
              <a:buNone/>
              <a:defRPr sz="1800" b="0">
                <a:solidFill>
                  <a:schemeClr val="bg1"/>
                </a:solidFill>
              </a:defRPr>
            </a:lvl1pPr>
            <a:lvl2pPr marL="0" indent="0">
              <a:lnSpc>
                <a:spcPts val="2100"/>
              </a:lnSpc>
              <a:spcAft>
                <a:spcPts val="1600"/>
              </a:spcAft>
              <a:buClr>
                <a:schemeClr val="bg1"/>
              </a:buClr>
              <a:buFontTx/>
              <a:buNone/>
              <a:defRPr sz="1800" b="0">
                <a:solidFill>
                  <a:schemeClr val="bg1"/>
                </a:solidFill>
              </a:defRPr>
            </a:lvl2pPr>
            <a:lvl3pPr marL="0" indent="0">
              <a:lnSpc>
                <a:spcPts val="2100"/>
              </a:lnSpc>
              <a:spcAft>
                <a:spcPts val="1600"/>
              </a:spcAft>
              <a:buClr>
                <a:schemeClr val="bg1"/>
              </a:buClr>
              <a:buFontTx/>
              <a:buNone/>
              <a:defRPr sz="1800" b="0">
                <a:solidFill>
                  <a:schemeClr val="bg1"/>
                </a:solidFill>
              </a:defRPr>
            </a:lvl3pPr>
            <a:lvl4pPr marL="0" indent="0">
              <a:lnSpc>
                <a:spcPts val="2100"/>
              </a:lnSpc>
              <a:spcAft>
                <a:spcPts val="1600"/>
              </a:spcAft>
              <a:buClr>
                <a:schemeClr val="bg1"/>
              </a:buClr>
              <a:buFontTx/>
              <a:buNone/>
              <a:defRPr sz="1800" b="0">
                <a:solidFill>
                  <a:schemeClr val="bg1"/>
                </a:solidFill>
              </a:defRPr>
            </a:lvl4pPr>
            <a:lvl5pPr marL="0" indent="0">
              <a:lnSpc>
                <a:spcPts val="2100"/>
              </a:lnSpc>
              <a:spcAft>
                <a:spcPts val="1600"/>
              </a:spcAft>
              <a:buClr>
                <a:schemeClr val="bg1"/>
              </a:buClr>
              <a:buFontTx/>
              <a:buNone/>
              <a:defRPr sz="1800" b="0">
                <a:solidFill>
                  <a:schemeClr val="bg1"/>
                </a:solidFill>
              </a:defRPr>
            </a:lvl5pPr>
            <a:lvl6pPr marL="0" indent="0">
              <a:lnSpc>
                <a:spcPts val="2100"/>
              </a:lnSpc>
              <a:spcAft>
                <a:spcPts val="1600"/>
              </a:spcAft>
              <a:buClr>
                <a:schemeClr val="bg1"/>
              </a:buClr>
              <a:buFontTx/>
              <a:buNone/>
              <a:defRPr sz="1800" b="0">
                <a:solidFill>
                  <a:schemeClr val="bg1"/>
                </a:solidFill>
              </a:defRPr>
            </a:lvl6pPr>
            <a:lvl7pPr marL="0" indent="0">
              <a:lnSpc>
                <a:spcPts val="2100"/>
              </a:lnSpc>
              <a:spcAft>
                <a:spcPts val="1600"/>
              </a:spcAft>
              <a:buClr>
                <a:schemeClr val="bg1"/>
              </a:buClr>
              <a:buFontTx/>
              <a:buNone/>
              <a:defRPr sz="1800" b="0">
                <a:solidFill>
                  <a:schemeClr val="bg1"/>
                </a:solidFill>
              </a:defRPr>
            </a:lvl7pPr>
            <a:lvl8pPr marL="0" indent="0">
              <a:lnSpc>
                <a:spcPts val="2100"/>
              </a:lnSpc>
              <a:spcAft>
                <a:spcPts val="1600"/>
              </a:spcAft>
              <a:buClr>
                <a:schemeClr val="bg1"/>
              </a:buClr>
              <a:buFontTx/>
              <a:buNone/>
              <a:defRPr sz="1800" b="0">
                <a:solidFill>
                  <a:schemeClr val="bg1"/>
                </a:solidFill>
              </a:defRPr>
            </a:lvl8pPr>
            <a:lvl9pPr marL="0" indent="0">
              <a:lnSpc>
                <a:spcPts val="2100"/>
              </a:lnSpc>
              <a:spcAft>
                <a:spcPts val="1600"/>
              </a:spcAft>
              <a:buClr>
                <a:schemeClr val="bg1"/>
              </a:buClr>
              <a:buFontTx/>
              <a:buNone/>
              <a:defRPr sz="1800" b="0">
                <a:solidFill>
                  <a:schemeClr val="bg1"/>
                </a:solidFill>
              </a:defRPr>
            </a:lvl9pPr>
          </a:lstStyle>
          <a:p>
            <a:pPr lvl="0"/>
            <a:r>
              <a:rPr lang="en-US" dirty="0"/>
              <a:t>#</a:t>
            </a:r>
          </a:p>
          <a:p>
            <a:pPr lvl="0"/>
            <a:r>
              <a:rPr lang="en-US" dirty="0"/>
              <a:t>#</a:t>
            </a:r>
          </a:p>
          <a:p>
            <a:pPr lvl="0"/>
            <a:r>
              <a:rPr lang="en-US" dirty="0"/>
              <a:t>#</a:t>
            </a:r>
          </a:p>
          <a:p>
            <a:pPr lvl="0"/>
            <a:r>
              <a:rPr lang="en-US" dirty="0"/>
              <a:t>#</a:t>
            </a:r>
          </a:p>
        </p:txBody>
      </p:sp>
      <p:pic>
        <p:nvPicPr>
          <p:cNvPr id="13" name="Picture 12">
            <a:extLst>
              <a:ext uri="{FF2B5EF4-FFF2-40B4-BE49-F238E27FC236}">
                <a16:creationId xmlns:a16="http://schemas.microsoft.com/office/drawing/2014/main" id="{3B3F9B7F-101D-4042-9754-4089F14D0D7B}"/>
              </a:ext>
            </a:extLst>
          </p:cNvPr>
          <p:cNvPicPr>
            <a:picLocks noChangeAspect="1"/>
          </p:cNvPicPr>
          <p:nvPr userDrawn="1"/>
        </p:nvPicPr>
        <p:blipFill>
          <a:blip r:embed="rId3"/>
          <a:srcRect/>
          <a:stretch/>
        </p:blipFill>
        <p:spPr>
          <a:xfrm>
            <a:off x="472868" y="6412434"/>
            <a:ext cx="1497466" cy="285488"/>
          </a:xfrm>
          <a:prstGeom prst="rect">
            <a:avLst/>
          </a:prstGeom>
        </p:spPr>
      </p:pic>
    </p:spTree>
    <p:extLst>
      <p:ext uri="{BB962C8B-B14F-4D97-AF65-F5344CB8AC3E}">
        <p14:creationId xmlns:p14="http://schemas.microsoft.com/office/powerpoint/2010/main" val="253063172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_green">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0388F1F-89A3-6047-AB03-4B98F573986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49" y="0"/>
            <a:ext cx="12179300" cy="6856214"/>
          </a:xfrm>
          <a:prstGeom prst="rect">
            <a:avLst/>
          </a:prstGeom>
        </p:spPr>
      </p:pic>
      <p:sp>
        <p:nvSpPr>
          <p:cNvPr id="2" name="Title 1">
            <a:extLst>
              <a:ext uri="{FF2B5EF4-FFF2-40B4-BE49-F238E27FC236}">
                <a16:creationId xmlns:a16="http://schemas.microsoft.com/office/drawing/2014/main" id="{BCFE9681-4657-7A44-8303-6BC8A656563F}"/>
              </a:ext>
            </a:extLst>
          </p:cNvPr>
          <p:cNvSpPr>
            <a:spLocks noGrp="1"/>
          </p:cNvSpPr>
          <p:nvPr>
            <p:ph type="title"/>
          </p:nvPr>
        </p:nvSpPr>
        <p:spPr>
          <a:xfrm>
            <a:off x="462084" y="1565275"/>
            <a:ext cx="7437787" cy="4625975"/>
          </a:xfrm>
        </p:spPr>
        <p:txBody>
          <a:bodyPr lIns="0" tIns="1920240" rIns="457200" bIns="457200" anchor="ctr" anchorCtr="0">
            <a:noAutofit/>
          </a:bodyPr>
          <a:lstStyle>
            <a:lvl1pPr>
              <a:lnSpc>
                <a:spcPts val="4000"/>
              </a:lnSpc>
              <a:defRPr sz="3600" b="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62CAEFEC-CCEF-C446-BDD9-1EE123D918BC}"/>
              </a:ext>
            </a:extLst>
          </p:cNvPr>
          <p:cNvSpPr>
            <a:spLocks noGrp="1"/>
          </p:cNvSpPr>
          <p:nvPr>
            <p:ph type="ftr" sz="quarter" idx="10"/>
          </p:nvPr>
        </p:nvSpPr>
        <p:spPr/>
        <p:txBody>
          <a:bodyPr/>
          <a:lstStyle/>
          <a:p>
            <a:r>
              <a:rPr lang="en-US"/>
              <a:t>Presentation Title Here &gt; Insert &gt; Header &amp; Footer</a:t>
            </a:r>
          </a:p>
        </p:txBody>
      </p:sp>
      <p:sp>
        <p:nvSpPr>
          <p:cNvPr id="6" name="Slide Number Placeholder 5">
            <a:extLst>
              <a:ext uri="{FF2B5EF4-FFF2-40B4-BE49-F238E27FC236}">
                <a16:creationId xmlns:a16="http://schemas.microsoft.com/office/drawing/2014/main" id="{5CD875A0-E175-554A-97C1-BFE158BA51CD}"/>
              </a:ext>
            </a:extLst>
          </p:cNvPr>
          <p:cNvSpPr>
            <a:spLocks noGrp="1"/>
          </p:cNvSpPr>
          <p:nvPr>
            <p:ph type="sldNum" sz="quarter" idx="11"/>
          </p:nvPr>
        </p:nvSpPr>
        <p:spPr/>
        <p:txBody>
          <a:bodyPr/>
          <a:lstStyle/>
          <a:p>
            <a:pPr lvl="8"/>
            <a:fld id="{1E3D5677-3D20-0C46-8497-54D73E689044}" type="slidenum">
              <a:rPr lang="en-US"/>
              <a:pPr lvl="8"/>
              <a:t>‹#›</a:t>
            </a:fld>
            <a:endParaRPr lang="en-US"/>
          </a:p>
        </p:txBody>
      </p:sp>
      <p:pic>
        <p:nvPicPr>
          <p:cNvPr id="7" name="Picture 6">
            <a:extLst>
              <a:ext uri="{FF2B5EF4-FFF2-40B4-BE49-F238E27FC236}">
                <a16:creationId xmlns:a16="http://schemas.microsoft.com/office/drawing/2014/main" id="{80F0D7B2-01C7-D843-BF02-4F657ED99951}"/>
              </a:ext>
            </a:extLst>
          </p:cNvPr>
          <p:cNvPicPr>
            <a:picLocks noChangeAspect="1"/>
          </p:cNvPicPr>
          <p:nvPr userDrawn="1"/>
        </p:nvPicPr>
        <p:blipFill>
          <a:blip r:embed="rId3"/>
          <a:srcRect/>
          <a:stretch/>
        </p:blipFill>
        <p:spPr>
          <a:xfrm>
            <a:off x="472868" y="6412434"/>
            <a:ext cx="1497466" cy="285488"/>
          </a:xfrm>
          <a:prstGeom prst="rect">
            <a:avLst/>
          </a:prstGeom>
        </p:spPr>
      </p:pic>
    </p:spTree>
    <p:extLst>
      <p:ext uri="{BB962C8B-B14F-4D97-AF65-F5344CB8AC3E}">
        <p14:creationId xmlns:p14="http://schemas.microsoft.com/office/powerpoint/2010/main" val="422631302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vider_blue">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0388F1F-89A3-6047-AB03-4B98F573986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4466"/>
            <a:ext cx="12179298" cy="6856213"/>
          </a:xfrm>
          <a:prstGeom prst="rect">
            <a:avLst/>
          </a:prstGeom>
        </p:spPr>
      </p:pic>
      <p:sp>
        <p:nvSpPr>
          <p:cNvPr id="2" name="Title 1">
            <a:extLst>
              <a:ext uri="{FF2B5EF4-FFF2-40B4-BE49-F238E27FC236}">
                <a16:creationId xmlns:a16="http://schemas.microsoft.com/office/drawing/2014/main" id="{BCFE9681-4657-7A44-8303-6BC8A656563F}"/>
              </a:ext>
            </a:extLst>
          </p:cNvPr>
          <p:cNvSpPr>
            <a:spLocks noGrp="1"/>
          </p:cNvSpPr>
          <p:nvPr>
            <p:ph type="title"/>
          </p:nvPr>
        </p:nvSpPr>
        <p:spPr>
          <a:xfrm>
            <a:off x="462084" y="1565275"/>
            <a:ext cx="7437787" cy="4625975"/>
          </a:xfrm>
        </p:spPr>
        <p:txBody>
          <a:bodyPr lIns="0" tIns="1920240" rIns="457200" bIns="457200" anchor="ctr" anchorCtr="0">
            <a:noAutofit/>
          </a:bodyPr>
          <a:lstStyle>
            <a:lvl1pPr>
              <a:lnSpc>
                <a:spcPts val="4000"/>
              </a:lnSpc>
              <a:defRPr sz="3600" b="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62CAEFEC-CCEF-C446-BDD9-1EE123D918BC}"/>
              </a:ext>
            </a:extLst>
          </p:cNvPr>
          <p:cNvSpPr>
            <a:spLocks noGrp="1"/>
          </p:cNvSpPr>
          <p:nvPr>
            <p:ph type="ftr" sz="quarter" idx="10"/>
          </p:nvPr>
        </p:nvSpPr>
        <p:spPr/>
        <p:txBody>
          <a:bodyPr/>
          <a:lstStyle/>
          <a:p>
            <a:r>
              <a:rPr lang="en-US"/>
              <a:t>Presentation Title Here &gt; Insert &gt; Header &amp; Footer</a:t>
            </a:r>
          </a:p>
        </p:txBody>
      </p:sp>
      <p:sp>
        <p:nvSpPr>
          <p:cNvPr id="6" name="Slide Number Placeholder 5">
            <a:extLst>
              <a:ext uri="{FF2B5EF4-FFF2-40B4-BE49-F238E27FC236}">
                <a16:creationId xmlns:a16="http://schemas.microsoft.com/office/drawing/2014/main" id="{5CD875A0-E175-554A-97C1-BFE158BA51CD}"/>
              </a:ext>
            </a:extLst>
          </p:cNvPr>
          <p:cNvSpPr>
            <a:spLocks noGrp="1"/>
          </p:cNvSpPr>
          <p:nvPr>
            <p:ph type="sldNum" sz="quarter" idx="11"/>
          </p:nvPr>
        </p:nvSpPr>
        <p:spPr/>
        <p:txBody>
          <a:bodyPr/>
          <a:lstStyle/>
          <a:p>
            <a:pPr lvl="8"/>
            <a:fld id="{1E3D5677-3D20-0C46-8497-54D73E689044}" type="slidenum">
              <a:rPr lang="en-US"/>
              <a:pPr lvl="8"/>
              <a:t>‹#›</a:t>
            </a:fld>
            <a:endParaRPr lang="en-US"/>
          </a:p>
        </p:txBody>
      </p:sp>
      <p:pic>
        <p:nvPicPr>
          <p:cNvPr id="7" name="Picture 6">
            <a:extLst>
              <a:ext uri="{FF2B5EF4-FFF2-40B4-BE49-F238E27FC236}">
                <a16:creationId xmlns:a16="http://schemas.microsoft.com/office/drawing/2014/main" id="{08EB2922-F983-7243-A523-435E555F2DE4}"/>
              </a:ext>
            </a:extLst>
          </p:cNvPr>
          <p:cNvPicPr>
            <a:picLocks noChangeAspect="1"/>
          </p:cNvPicPr>
          <p:nvPr userDrawn="1"/>
        </p:nvPicPr>
        <p:blipFill>
          <a:blip r:embed="rId3"/>
          <a:srcRect/>
          <a:stretch/>
        </p:blipFill>
        <p:spPr>
          <a:xfrm>
            <a:off x="472868" y="6412434"/>
            <a:ext cx="1497466" cy="285488"/>
          </a:xfrm>
          <a:prstGeom prst="rect">
            <a:avLst/>
          </a:prstGeom>
        </p:spPr>
      </p:pic>
    </p:spTree>
    <p:extLst>
      <p:ext uri="{BB962C8B-B14F-4D97-AF65-F5344CB8AC3E}">
        <p14:creationId xmlns:p14="http://schemas.microsoft.com/office/powerpoint/2010/main" val="164875949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tatement_green">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725D62E-358E-F644-9F7A-8E4D8564B5A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
            <a:ext cx="12191999" cy="6856213"/>
          </a:xfrm>
          <a:prstGeom prst="rect">
            <a:avLst/>
          </a:prstGeom>
        </p:spPr>
      </p:pic>
      <p:sp>
        <p:nvSpPr>
          <p:cNvPr id="9" name="Text Placeholder 6">
            <a:extLst>
              <a:ext uri="{FF2B5EF4-FFF2-40B4-BE49-F238E27FC236}">
                <a16:creationId xmlns:a16="http://schemas.microsoft.com/office/drawing/2014/main" id="{489AE93C-FA65-F14F-B25D-B2CD0F91B287}"/>
              </a:ext>
            </a:extLst>
          </p:cNvPr>
          <p:cNvSpPr>
            <a:spLocks noGrp="1"/>
          </p:cNvSpPr>
          <p:nvPr>
            <p:ph type="body" sz="quarter" idx="13"/>
          </p:nvPr>
        </p:nvSpPr>
        <p:spPr>
          <a:xfrm>
            <a:off x="460496" y="460376"/>
            <a:ext cx="11267834" cy="5730875"/>
          </a:xfrm>
          <a:prstGeom prst="rect">
            <a:avLst/>
          </a:prstGeom>
        </p:spPr>
        <p:txBody>
          <a:bodyPr lIns="0" tIns="0" rIns="457200" bIns="640080" anchor="ctr" anchorCtr="0">
            <a:noAutofit/>
          </a:bodyPr>
          <a:lstStyle>
            <a:lvl1pPr marL="0" indent="0">
              <a:lnSpc>
                <a:spcPts val="3600"/>
              </a:lnSpc>
              <a:spcAft>
                <a:spcPts val="800"/>
              </a:spcAft>
              <a:buFontTx/>
              <a:buNone/>
              <a:defRPr sz="2800" b="0">
                <a:solidFill>
                  <a:schemeClr val="bg1"/>
                </a:solidFill>
              </a:defRPr>
            </a:lvl1pPr>
            <a:lvl2pPr marL="0" indent="0">
              <a:lnSpc>
                <a:spcPts val="2100"/>
              </a:lnSpc>
              <a:spcAft>
                <a:spcPts val="0"/>
              </a:spcAft>
              <a:buFontTx/>
              <a:buNone/>
              <a:defRPr sz="1200" b="1">
                <a:solidFill>
                  <a:schemeClr val="bg1"/>
                </a:solidFill>
              </a:defRPr>
            </a:lvl2pPr>
            <a:lvl3pPr marL="0" indent="0">
              <a:lnSpc>
                <a:spcPts val="2100"/>
              </a:lnSpc>
              <a:spcAft>
                <a:spcPts val="0"/>
              </a:spcAft>
              <a:buFontTx/>
              <a:buNone/>
              <a:defRPr sz="1200" b="1">
                <a:solidFill>
                  <a:schemeClr val="bg1"/>
                </a:solidFill>
              </a:defRPr>
            </a:lvl3pPr>
            <a:lvl4pPr marL="0" indent="0">
              <a:lnSpc>
                <a:spcPts val="2100"/>
              </a:lnSpc>
              <a:spcAft>
                <a:spcPts val="0"/>
              </a:spcAft>
              <a:buFontTx/>
              <a:buNone/>
              <a:defRPr sz="1200" b="1">
                <a:solidFill>
                  <a:schemeClr val="bg1"/>
                </a:solidFill>
              </a:defRPr>
            </a:lvl4pPr>
            <a:lvl5pPr marL="0" indent="0">
              <a:lnSpc>
                <a:spcPts val="2100"/>
              </a:lnSpc>
              <a:spcAft>
                <a:spcPts val="0"/>
              </a:spcAft>
              <a:buFontTx/>
              <a:buNone/>
              <a:defRPr sz="1200" b="1">
                <a:solidFill>
                  <a:schemeClr val="bg1"/>
                </a:solidFill>
              </a:defRPr>
            </a:lvl5pPr>
            <a:lvl6pPr marL="0" indent="0">
              <a:lnSpc>
                <a:spcPts val="2100"/>
              </a:lnSpc>
              <a:spcAft>
                <a:spcPts val="0"/>
              </a:spcAft>
              <a:buFontTx/>
              <a:buNone/>
              <a:defRPr sz="1200" b="1">
                <a:solidFill>
                  <a:schemeClr val="bg1"/>
                </a:solidFill>
              </a:defRPr>
            </a:lvl6pPr>
            <a:lvl7pPr marL="0" indent="0">
              <a:lnSpc>
                <a:spcPts val="2100"/>
              </a:lnSpc>
              <a:spcAft>
                <a:spcPts val="0"/>
              </a:spcAft>
              <a:buFontTx/>
              <a:buNone/>
              <a:defRPr sz="1200" b="1">
                <a:solidFill>
                  <a:schemeClr val="bg1"/>
                </a:solidFill>
              </a:defRPr>
            </a:lvl7pPr>
            <a:lvl8pPr marL="0" indent="0">
              <a:lnSpc>
                <a:spcPts val="2100"/>
              </a:lnSpc>
              <a:spcAft>
                <a:spcPts val="0"/>
              </a:spcAft>
              <a:buFontTx/>
              <a:buNone/>
              <a:defRPr sz="1200" b="1">
                <a:solidFill>
                  <a:schemeClr val="bg1"/>
                </a:solidFill>
              </a:defRPr>
            </a:lvl8pPr>
            <a:lvl9pPr marL="0" indent="0">
              <a:lnSpc>
                <a:spcPts val="2100"/>
              </a:lnSpc>
              <a:spcAft>
                <a:spcPts val="0"/>
              </a:spcAft>
              <a:buFontTx/>
              <a:buNone/>
              <a:defRPr sz="1200" b="1">
                <a:solidFill>
                  <a:schemeClr val="bg1"/>
                </a:solidFill>
              </a:defRPr>
            </a:lvl9pPr>
          </a:lstStyle>
          <a:p>
            <a:pPr lvl="0"/>
            <a:r>
              <a:rPr lang="en-US"/>
              <a:t>Edit Master text styles</a:t>
            </a:r>
          </a:p>
          <a:p>
            <a:pPr lvl="1"/>
            <a:r>
              <a:rPr lang="en-US"/>
              <a:t>Second level</a:t>
            </a:r>
          </a:p>
        </p:txBody>
      </p:sp>
      <p:sp>
        <p:nvSpPr>
          <p:cNvPr id="16" name="Footer Placeholder 15">
            <a:extLst>
              <a:ext uri="{FF2B5EF4-FFF2-40B4-BE49-F238E27FC236}">
                <a16:creationId xmlns:a16="http://schemas.microsoft.com/office/drawing/2014/main" id="{6BD32850-7970-AB4E-92E1-DD43E6EAB69D}"/>
              </a:ext>
            </a:extLst>
          </p:cNvPr>
          <p:cNvSpPr>
            <a:spLocks noGrp="1"/>
          </p:cNvSpPr>
          <p:nvPr>
            <p:ph type="ftr" sz="quarter" idx="15"/>
          </p:nvPr>
        </p:nvSpPr>
        <p:spPr>
          <a:xfrm>
            <a:off x="4298483" y="6432562"/>
            <a:ext cx="6937594" cy="234939"/>
          </a:xfrm>
        </p:spPr>
        <p:txBody>
          <a:bodyPr/>
          <a:lstStyle/>
          <a:p>
            <a:pPr lvl="8"/>
            <a:r>
              <a:rPr lang="en-US"/>
              <a:t>Presentation Title Here &gt; Insert &gt; Header &amp; Footer</a:t>
            </a:r>
          </a:p>
        </p:txBody>
      </p:sp>
      <p:sp>
        <p:nvSpPr>
          <p:cNvPr id="17" name="Slide Number Placeholder 16">
            <a:extLst>
              <a:ext uri="{FF2B5EF4-FFF2-40B4-BE49-F238E27FC236}">
                <a16:creationId xmlns:a16="http://schemas.microsoft.com/office/drawing/2014/main" id="{64793BD6-EC93-CA47-B8B3-1B1860223FD7}"/>
              </a:ext>
            </a:extLst>
          </p:cNvPr>
          <p:cNvSpPr>
            <a:spLocks noGrp="1"/>
          </p:cNvSpPr>
          <p:nvPr>
            <p:ph type="sldNum" sz="quarter" idx="16"/>
          </p:nvPr>
        </p:nvSpPr>
        <p:spPr/>
        <p:txBody>
          <a:bodyPr/>
          <a:lstStyle/>
          <a:p>
            <a:fld id="{1E3D5677-3D20-0C46-8497-54D73E689044}" type="slidenum">
              <a:rPr lang="en-US"/>
              <a:pPr/>
              <a:t>‹#›</a:t>
            </a:fld>
            <a:endParaRPr lang="en-US"/>
          </a:p>
        </p:txBody>
      </p:sp>
      <p:pic>
        <p:nvPicPr>
          <p:cNvPr id="7" name="Picture 6">
            <a:extLst>
              <a:ext uri="{FF2B5EF4-FFF2-40B4-BE49-F238E27FC236}">
                <a16:creationId xmlns:a16="http://schemas.microsoft.com/office/drawing/2014/main" id="{1113D6E2-55E1-354D-9B33-5A200D7130E8}"/>
              </a:ext>
            </a:extLst>
          </p:cNvPr>
          <p:cNvPicPr>
            <a:picLocks noChangeAspect="1"/>
          </p:cNvPicPr>
          <p:nvPr userDrawn="1"/>
        </p:nvPicPr>
        <p:blipFill>
          <a:blip r:embed="rId3"/>
          <a:srcRect/>
          <a:stretch/>
        </p:blipFill>
        <p:spPr>
          <a:xfrm>
            <a:off x="472868" y="6412434"/>
            <a:ext cx="1497466" cy="285488"/>
          </a:xfrm>
          <a:prstGeom prst="rect">
            <a:avLst/>
          </a:prstGeom>
        </p:spPr>
      </p:pic>
    </p:spTree>
    <p:extLst>
      <p:ext uri="{BB962C8B-B14F-4D97-AF65-F5344CB8AC3E}">
        <p14:creationId xmlns:p14="http://schemas.microsoft.com/office/powerpoint/2010/main" val="378140668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tatement_blue">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AF911EC-0F07-C443-9215-7922DA1927F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
            <a:ext cx="12191999" cy="6856213"/>
          </a:xfrm>
          <a:prstGeom prst="rect">
            <a:avLst/>
          </a:prstGeom>
        </p:spPr>
      </p:pic>
      <p:sp>
        <p:nvSpPr>
          <p:cNvPr id="9" name="Text Placeholder 6">
            <a:extLst>
              <a:ext uri="{FF2B5EF4-FFF2-40B4-BE49-F238E27FC236}">
                <a16:creationId xmlns:a16="http://schemas.microsoft.com/office/drawing/2014/main" id="{489AE93C-FA65-F14F-B25D-B2CD0F91B287}"/>
              </a:ext>
            </a:extLst>
          </p:cNvPr>
          <p:cNvSpPr>
            <a:spLocks noGrp="1"/>
          </p:cNvSpPr>
          <p:nvPr>
            <p:ph type="body" sz="quarter" idx="13"/>
          </p:nvPr>
        </p:nvSpPr>
        <p:spPr>
          <a:xfrm>
            <a:off x="460496" y="460376"/>
            <a:ext cx="11267834" cy="5730875"/>
          </a:xfrm>
          <a:prstGeom prst="rect">
            <a:avLst/>
          </a:prstGeom>
        </p:spPr>
        <p:txBody>
          <a:bodyPr lIns="0" tIns="0" rIns="457200" bIns="640080" anchor="ctr" anchorCtr="0">
            <a:noAutofit/>
          </a:bodyPr>
          <a:lstStyle>
            <a:lvl1pPr marL="0" indent="0">
              <a:lnSpc>
                <a:spcPts val="3600"/>
              </a:lnSpc>
              <a:spcAft>
                <a:spcPts val="800"/>
              </a:spcAft>
              <a:buFontTx/>
              <a:buNone/>
              <a:defRPr sz="2800" b="0">
                <a:solidFill>
                  <a:schemeClr val="bg1"/>
                </a:solidFill>
              </a:defRPr>
            </a:lvl1pPr>
            <a:lvl2pPr marL="0" indent="0">
              <a:lnSpc>
                <a:spcPts val="2100"/>
              </a:lnSpc>
              <a:spcAft>
                <a:spcPts val="0"/>
              </a:spcAft>
              <a:buFontTx/>
              <a:buNone/>
              <a:defRPr sz="1200" b="1">
                <a:solidFill>
                  <a:schemeClr val="bg1"/>
                </a:solidFill>
              </a:defRPr>
            </a:lvl2pPr>
            <a:lvl3pPr marL="0" indent="0">
              <a:lnSpc>
                <a:spcPts val="2100"/>
              </a:lnSpc>
              <a:spcAft>
                <a:spcPts val="0"/>
              </a:spcAft>
              <a:buFontTx/>
              <a:buNone/>
              <a:defRPr sz="1200" b="1">
                <a:solidFill>
                  <a:schemeClr val="bg1"/>
                </a:solidFill>
              </a:defRPr>
            </a:lvl3pPr>
            <a:lvl4pPr marL="0" indent="0">
              <a:lnSpc>
                <a:spcPts val="2100"/>
              </a:lnSpc>
              <a:spcAft>
                <a:spcPts val="0"/>
              </a:spcAft>
              <a:buFontTx/>
              <a:buNone/>
              <a:defRPr sz="1200" b="1">
                <a:solidFill>
                  <a:schemeClr val="bg1"/>
                </a:solidFill>
              </a:defRPr>
            </a:lvl4pPr>
            <a:lvl5pPr marL="0" indent="0">
              <a:lnSpc>
                <a:spcPts val="2100"/>
              </a:lnSpc>
              <a:spcAft>
                <a:spcPts val="0"/>
              </a:spcAft>
              <a:buFontTx/>
              <a:buNone/>
              <a:defRPr sz="1200" b="1">
                <a:solidFill>
                  <a:schemeClr val="bg1"/>
                </a:solidFill>
              </a:defRPr>
            </a:lvl5pPr>
            <a:lvl6pPr marL="0" indent="0">
              <a:lnSpc>
                <a:spcPts val="2100"/>
              </a:lnSpc>
              <a:spcAft>
                <a:spcPts val="0"/>
              </a:spcAft>
              <a:buFontTx/>
              <a:buNone/>
              <a:defRPr sz="1200" b="1">
                <a:solidFill>
                  <a:schemeClr val="bg1"/>
                </a:solidFill>
              </a:defRPr>
            </a:lvl6pPr>
            <a:lvl7pPr marL="0" indent="0">
              <a:lnSpc>
                <a:spcPts val="2100"/>
              </a:lnSpc>
              <a:spcAft>
                <a:spcPts val="0"/>
              </a:spcAft>
              <a:buFontTx/>
              <a:buNone/>
              <a:defRPr sz="1200" b="1">
                <a:solidFill>
                  <a:schemeClr val="bg1"/>
                </a:solidFill>
              </a:defRPr>
            </a:lvl7pPr>
            <a:lvl8pPr marL="0" indent="0">
              <a:lnSpc>
                <a:spcPts val="2100"/>
              </a:lnSpc>
              <a:spcAft>
                <a:spcPts val="0"/>
              </a:spcAft>
              <a:buFontTx/>
              <a:buNone/>
              <a:defRPr sz="1200" b="1">
                <a:solidFill>
                  <a:schemeClr val="bg1"/>
                </a:solidFill>
              </a:defRPr>
            </a:lvl8pPr>
            <a:lvl9pPr marL="0" indent="0">
              <a:lnSpc>
                <a:spcPts val="2100"/>
              </a:lnSpc>
              <a:spcAft>
                <a:spcPts val="0"/>
              </a:spcAft>
              <a:buFontTx/>
              <a:buNone/>
              <a:defRPr sz="1200" b="1">
                <a:solidFill>
                  <a:schemeClr val="bg1"/>
                </a:solidFill>
              </a:defRPr>
            </a:lvl9pPr>
          </a:lstStyle>
          <a:p>
            <a:pPr lvl="0"/>
            <a:r>
              <a:rPr lang="en-US"/>
              <a:t>Edit Master text styles</a:t>
            </a:r>
          </a:p>
          <a:p>
            <a:pPr lvl="1"/>
            <a:r>
              <a:rPr lang="en-US"/>
              <a:t>Second level</a:t>
            </a:r>
          </a:p>
        </p:txBody>
      </p:sp>
      <p:sp>
        <p:nvSpPr>
          <p:cNvPr id="16" name="Footer Placeholder 15">
            <a:extLst>
              <a:ext uri="{FF2B5EF4-FFF2-40B4-BE49-F238E27FC236}">
                <a16:creationId xmlns:a16="http://schemas.microsoft.com/office/drawing/2014/main" id="{6BD32850-7970-AB4E-92E1-DD43E6EAB69D}"/>
              </a:ext>
            </a:extLst>
          </p:cNvPr>
          <p:cNvSpPr>
            <a:spLocks noGrp="1"/>
          </p:cNvSpPr>
          <p:nvPr>
            <p:ph type="ftr" sz="quarter" idx="15"/>
          </p:nvPr>
        </p:nvSpPr>
        <p:spPr>
          <a:xfrm>
            <a:off x="4298483" y="6432562"/>
            <a:ext cx="6937594" cy="234939"/>
          </a:xfrm>
        </p:spPr>
        <p:txBody>
          <a:bodyPr/>
          <a:lstStyle/>
          <a:p>
            <a:pPr lvl="8"/>
            <a:r>
              <a:rPr lang="en-US"/>
              <a:t>Presentation Title Here &gt; Insert &gt; Header &amp; Footer</a:t>
            </a:r>
          </a:p>
        </p:txBody>
      </p:sp>
      <p:sp>
        <p:nvSpPr>
          <p:cNvPr id="17" name="Slide Number Placeholder 16">
            <a:extLst>
              <a:ext uri="{FF2B5EF4-FFF2-40B4-BE49-F238E27FC236}">
                <a16:creationId xmlns:a16="http://schemas.microsoft.com/office/drawing/2014/main" id="{64793BD6-EC93-CA47-B8B3-1B1860223FD7}"/>
              </a:ext>
            </a:extLst>
          </p:cNvPr>
          <p:cNvSpPr>
            <a:spLocks noGrp="1"/>
          </p:cNvSpPr>
          <p:nvPr>
            <p:ph type="sldNum" sz="quarter" idx="16"/>
          </p:nvPr>
        </p:nvSpPr>
        <p:spPr/>
        <p:txBody>
          <a:bodyPr/>
          <a:lstStyle/>
          <a:p>
            <a:fld id="{1E3D5677-3D20-0C46-8497-54D73E689044}" type="slidenum">
              <a:rPr lang="en-US"/>
              <a:pPr/>
              <a:t>‹#›</a:t>
            </a:fld>
            <a:endParaRPr lang="en-US"/>
          </a:p>
        </p:txBody>
      </p:sp>
      <p:pic>
        <p:nvPicPr>
          <p:cNvPr id="8" name="Picture 7">
            <a:extLst>
              <a:ext uri="{FF2B5EF4-FFF2-40B4-BE49-F238E27FC236}">
                <a16:creationId xmlns:a16="http://schemas.microsoft.com/office/drawing/2014/main" id="{4004B519-F17C-FE49-9B1A-C9EEE429DE9B}"/>
              </a:ext>
            </a:extLst>
          </p:cNvPr>
          <p:cNvPicPr>
            <a:picLocks noChangeAspect="1"/>
          </p:cNvPicPr>
          <p:nvPr userDrawn="1"/>
        </p:nvPicPr>
        <p:blipFill>
          <a:blip r:embed="rId3"/>
          <a:srcRect/>
          <a:stretch/>
        </p:blipFill>
        <p:spPr>
          <a:xfrm>
            <a:off x="472868" y="6412434"/>
            <a:ext cx="1497466" cy="285488"/>
          </a:xfrm>
          <a:prstGeom prst="rect">
            <a:avLst/>
          </a:prstGeom>
        </p:spPr>
      </p:pic>
    </p:spTree>
    <p:extLst>
      <p:ext uri="{BB962C8B-B14F-4D97-AF65-F5344CB8AC3E}">
        <p14:creationId xmlns:p14="http://schemas.microsoft.com/office/powerpoint/2010/main" val="105323316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_1_column">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462083" y="1565274"/>
            <a:ext cx="11266246" cy="4670426"/>
          </a:xfrm>
          <a:prstGeom prst="rect">
            <a:avLst/>
          </a:prstGeom>
        </p:spPr>
        <p:txBody>
          <a:bodyPr tIns="0" rIns="2560320">
            <a:noAutofit/>
          </a:bodyPr>
          <a:lstStyle>
            <a:lvl1pPr>
              <a:spcAft>
                <a:spcPts val="900"/>
              </a:spcAft>
              <a:defRPr/>
            </a:lvl1pPr>
            <a:lvl2pPr>
              <a:spcAft>
                <a:spcPts val="900"/>
              </a:spcAft>
              <a:defRPr/>
            </a:lvl2pPr>
            <a:lvl3pPr>
              <a:spcAft>
                <a:spcPts val="900"/>
              </a:spcAft>
              <a:defRPr/>
            </a:lvl3pPr>
            <a:lvl4pPr>
              <a:spcAft>
                <a:spcPts val="900"/>
              </a:spcAft>
              <a:defRPr/>
            </a:lvl4pPr>
            <a:lvl5pPr>
              <a:spcAft>
                <a:spcPts val="900"/>
              </a:spcAft>
              <a:defRPr/>
            </a:lvl5pPr>
            <a:lvl6pPr>
              <a:spcAft>
                <a:spcPts val="900"/>
              </a:spcAft>
              <a:defRPr/>
            </a:lvl6pPr>
            <a:lvl7pPr>
              <a:spcAft>
                <a:spcPts val="900"/>
              </a:spcAft>
              <a:defRPr/>
            </a:lvl7pPr>
            <a:lvl8pPr>
              <a:spcAft>
                <a:spcPts val="900"/>
              </a:spcAft>
              <a:defRPr/>
            </a:lvl8pPr>
            <a:lvl9pPr>
              <a:spcAft>
                <a:spcPts val="9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9">
            <a:extLst>
              <a:ext uri="{FF2B5EF4-FFF2-40B4-BE49-F238E27FC236}">
                <a16:creationId xmlns:a16="http://schemas.microsoft.com/office/drawing/2014/main" id="{CC47485A-0FFB-6E43-9C4B-661F7544E552}"/>
              </a:ext>
            </a:extLst>
          </p:cNvPr>
          <p:cNvSpPr>
            <a:spLocks noGrp="1"/>
          </p:cNvSpPr>
          <p:nvPr>
            <p:ph type="ftr" sz="quarter" idx="15"/>
          </p:nvPr>
        </p:nvSpPr>
        <p:spPr/>
        <p:txBody>
          <a:bodyPr/>
          <a:lstStyle/>
          <a:p>
            <a:pPr lvl="8"/>
            <a:r>
              <a:rPr lang="en-US"/>
              <a:t>Presentation Title Here &gt; Insert &gt; Header &amp; Footer</a:t>
            </a:r>
          </a:p>
        </p:txBody>
      </p:sp>
      <p:sp>
        <p:nvSpPr>
          <p:cNvPr id="11" name="Slide Number Placeholder 10">
            <a:extLst>
              <a:ext uri="{FF2B5EF4-FFF2-40B4-BE49-F238E27FC236}">
                <a16:creationId xmlns:a16="http://schemas.microsoft.com/office/drawing/2014/main" id="{CA080C6C-DD3D-FE49-ACFE-18F1ACCE577B}"/>
              </a:ext>
            </a:extLst>
          </p:cNvPr>
          <p:cNvSpPr>
            <a:spLocks noGrp="1"/>
          </p:cNvSpPr>
          <p:nvPr>
            <p:ph type="sldNum" sz="quarter" idx="16"/>
          </p:nvPr>
        </p:nvSpPr>
        <p:spPr/>
        <p:txBody>
          <a:bodyPr/>
          <a:lstStyle/>
          <a:p>
            <a:fld id="{1E3D5677-3D20-0C46-8497-54D73E689044}" type="slidenum">
              <a:rPr lang="en-US"/>
              <a:pPr/>
              <a:t>‹#›</a:t>
            </a:fld>
            <a:endParaRPr lang="en-US"/>
          </a:p>
        </p:txBody>
      </p:sp>
      <p:sp>
        <p:nvSpPr>
          <p:cNvPr id="3" name="Title 2">
            <a:extLst>
              <a:ext uri="{FF2B5EF4-FFF2-40B4-BE49-F238E27FC236}">
                <a16:creationId xmlns:a16="http://schemas.microsoft.com/office/drawing/2014/main" id="{A14A1257-D244-A74E-A109-73B6780C82AA}"/>
              </a:ext>
            </a:extLst>
          </p:cNvPr>
          <p:cNvSpPr>
            <a:spLocks noGrp="1"/>
          </p:cNvSpPr>
          <p:nvPr>
            <p:ph type="title"/>
          </p:nvPr>
        </p:nvSpPr>
        <p:spPr/>
        <p:txBody>
          <a:bodyPr/>
          <a:lstStyle/>
          <a:p>
            <a:r>
              <a:rPr lang="en-US"/>
              <a:t>Click to edit Master title style</a:t>
            </a:r>
          </a:p>
        </p:txBody>
      </p:sp>
      <p:pic>
        <p:nvPicPr>
          <p:cNvPr id="9" name="Picture 8">
            <a:extLst>
              <a:ext uri="{FF2B5EF4-FFF2-40B4-BE49-F238E27FC236}">
                <a16:creationId xmlns:a16="http://schemas.microsoft.com/office/drawing/2014/main" id="{793053BA-ED70-EB48-98AE-BC5E471EA085}"/>
              </a:ext>
            </a:extLst>
          </p:cNvPr>
          <p:cNvPicPr>
            <a:picLocks noChangeAspect="1"/>
          </p:cNvPicPr>
          <p:nvPr userDrawn="1"/>
        </p:nvPicPr>
        <p:blipFill>
          <a:blip r:embed="rId2"/>
          <a:srcRect/>
          <a:stretch/>
        </p:blipFill>
        <p:spPr>
          <a:xfrm>
            <a:off x="472868" y="6412434"/>
            <a:ext cx="1497466" cy="285488"/>
          </a:xfrm>
          <a:prstGeom prst="rect">
            <a:avLst/>
          </a:prstGeom>
        </p:spPr>
      </p:pic>
      <p:sp>
        <p:nvSpPr>
          <p:cNvPr id="12" name="Text Placeholder 6">
            <a:extLst>
              <a:ext uri="{FF2B5EF4-FFF2-40B4-BE49-F238E27FC236}">
                <a16:creationId xmlns:a16="http://schemas.microsoft.com/office/drawing/2014/main" id="{F47C43D2-9302-4340-936F-671BAD9988C3}"/>
              </a:ext>
            </a:extLst>
          </p:cNvPr>
          <p:cNvSpPr>
            <a:spLocks noGrp="1"/>
          </p:cNvSpPr>
          <p:nvPr>
            <p:ph type="body" sz="quarter" idx="17" hasCustomPrompt="1"/>
          </p:nvPr>
        </p:nvSpPr>
        <p:spPr>
          <a:xfrm>
            <a:off x="460495" y="6026150"/>
            <a:ext cx="11266246" cy="209550"/>
          </a:xfrm>
          <a:prstGeom prst="rect">
            <a:avLst/>
          </a:prstGeom>
        </p:spPr>
        <p:txBody>
          <a:bodyPr tIns="0" rIns="2560320">
            <a:noAutofit/>
          </a:bodyPr>
          <a:lstStyle>
            <a:lvl1pPr>
              <a:spcAft>
                <a:spcPts val="900"/>
              </a:spcAft>
              <a:defRPr sz="1000">
                <a:solidFill>
                  <a:schemeClr val="tx2"/>
                </a:solidFill>
              </a:defRPr>
            </a:lvl1pPr>
            <a:lvl2pPr>
              <a:spcAft>
                <a:spcPts val="900"/>
              </a:spcAft>
              <a:defRPr sz="1000" b="0">
                <a:solidFill>
                  <a:schemeClr val="tx2"/>
                </a:solidFill>
              </a:defRPr>
            </a:lvl2pPr>
            <a:lvl3pPr marL="0" indent="0">
              <a:spcAft>
                <a:spcPts val="900"/>
              </a:spcAft>
              <a:buFontTx/>
              <a:buNone/>
              <a:defRPr sz="1000">
                <a:solidFill>
                  <a:schemeClr val="tx2"/>
                </a:solidFill>
              </a:defRPr>
            </a:lvl3pPr>
            <a:lvl4pPr marL="0" indent="0">
              <a:spcAft>
                <a:spcPts val="900"/>
              </a:spcAft>
              <a:buFontTx/>
              <a:buNone/>
              <a:defRPr sz="1000">
                <a:solidFill>
                  <a:schemeClr val="tx2"/>
                </a:solidFill>
              </a:defRPr>
            </a:lvl4pPr>
            <a:lvl5pPr marL="22" indent="0">
              <a:spcAft>
                <a:spcPts val="900"/>
              </a:spcAft>
              <a:buFontTx/>
              <a:buNone/>
              <a:defRPr sz="1000">
                <a:solidFill>
                  <a:schemeClr val="tx2"/>
                </a:solidFill>
              </a:defRPr>
            </a:lvl5pPr>
            <a:lvl6pPr marL="0" indent="0">
              <a:spcAft>
                <a:spcPts val="900"/>
              </a:spcAft>
              <a:buFontTx/>
              <a:buNone/>
              <a:defRPr sz="1000">
                <a:solidFill>
                  <a:schemeClr val="tx2"/>
                </a:solidFill>
              </a:defRPr>
            </a:lvl6pPr>
            <a:lvl7pPr marL="0" indent="0">
              <a:spcAft>
                <a:spcPts val="900"/>
              </a:spcAft>
              <a:buFontTx/>
              <a:buNone/>
              <a:defRPr sz="1000">
                <a:solidFill>
                  <a:schemeClr val="tx2"/>
                </a:solidFill>
              </a:defRPr>
            </a:lvl7pPr>
            <a:lvl8pPr marL="0" indent="0">
              <a:spcAft>
                <a:spcPts val="900"/>
              </a:spcAft>
              <a:buFontTx/>
              <a:buNone/>
              <a:defRPr sz="1000">
                <a:solidFill>
                  <a:schemeClr val="tx2"/>
                </a:solidFill>
              </a:defRPr>
            </a:lvl8pPr>
            <a:lvl9pPr marL="0" indent="0">
              <a:spcAft>
                <a:spcPts val="900"/>
              </a:spcAft>
              <a:buFontTx/>
              <a:buNone/>
              <a:defRPr sz="100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17553216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_1/3_image_R">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460495" y="1565274"/>
            <a:ext cx="7439375" cy="4460876"/>
          </a:xfrm>
          <a:prstGeom prst="rect">
            <a:avLst/>
          </a:prstGeom>
        </p:spPr>
        <p:txBody>
          <a:bodyPr tIns="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62BEC4C-31C0-5C45-8EBF-3D715F38A17B}"/>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CC83CF7C-AEED-9442-BF77-97C8CDF2A7B3}"/>
              </a:ext>
            </a:extLst>
          </p:cNvPr>
          <p:cNvSpPr>
            <a:spLocks noGrp="1"/>
          </p:cNvSpPr>
          <p:nvPr>
            <p:ph type="ftr" sz="quarter" idx="19"/>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748D69AC-1AD2-4B4F-889E-14CA97CA3163}"/>
              </a:ext>
            </a:extLst>
          </p:cNvPr>
          <p:cNvSpPr>
            <a:spLocks noGrp="1"/>
          </p:cNvSpPr>
          <p:nvPr>
            <p:ph type="sldNum" sz="quarter" idx="20"/>
          </p:nvPr>
        </p:nvSpPr>
        <p:spPr/>
        <p:txBody>
          <a:bodyPr/>
          <a:lstStyle/>
          <a:p>
            <a:pPr lvl="8"/>
            <a:fld id="{1E3D5677-3D20-0C46-8497-54D73E689044}" type="slidenum">
              <a:rPr lang="en-US"/>
              <a:pPr lvl="8"/>
              <a:t>‹#›</a:t>
            </a:fld>
            <a:endParaRPr lang="en-US"/>
          </a:p>
        </p:txBody>
      </p:sp>
      <p:sp>
        <p:nvSpPr>
          <p:cNvPr id="6" name="Picture Placeholder 5">
            <a:extLst>
              <a:ext uri="{FF2B5EF4-FFF2-40B4-BE49-F238E27FC236}">
                <a16:creationId xmlns:a16="http://schemas.microsoft.com/office/drawing/2014/main" id="{7617A45A-2B90-3C40-A814-D8341AF927C1}"/>
              </a:ext>
            </a:extLst>
          </p:cNvPr>
          <p:cNvSpPr>
            <a:spLocks noGrp="1"/>
          </p:cNvSpPr>
          <p:nvPr>
            <p:ph type="pic" sz="quarter" idx="21"/>
          </p:nvPr>
        </p:nvSpPr>
        <p:spPr>
          <a:xfrm>
            <a:off x="8125354" y="1565276"/>
            <a:ext cx="3601388" cy="4670425"/>
          </a:xfrm>
          <a:solidFill>
            <a:schemeClr val="bg2"/>
          </a:solidFill>
        </p:spPr>
        <p:txBody>
          <a:bodyPr tIns="1737360"/>
          <a:lstStyle>
            <a:lvl1pPr algn="ctr">
              <a:defRPr/>
            </a:lvl1pPr>
          </a:lstStyle>
          <a:p>
            <a:r>
              <a:rPr lang="en-US"/>
              <a:t>Click icon to add picture</a:t>
            </a:r>
          </a:p>
        </p:txBody>
      </p:sp>
      <p:pic>
        <p:nvPicPr>
          <p:cNvPr id="8" name="Picture 7">
            <a:extLst>
              <a:ext uri="{FF2B5EF4-FFF2-40B4-BE49-F238E27FC236}">
                <a16:creationId xmlns:a16="http://schemas.microsoft.com/office/drawing/2014/main" id="{FA85E63D-A9C5-214C-9EE8-8EF5B0657C54}"/>
              </a:ext>
            </a:extLst>
          </p:cNvPr>
          <p:cNvPicPr>
            <a:picLocks noChangeAspect="1"/>
          </p:cNvPicPr>
          <p:nvPr userDrawn="1"/>
        </p:nvPicPr>
        <p:blipFill>
          <a:blip r:embed="rId2"/>
          <a:srcRect/>
          <a:stretch/>
        </p:blipFill>
        <p:spPr>
          <a:xfrm>
            <a:off x="472868" y="6412434"/>
            <a:ext cx="1497466" cy="285488"/>
          </a:xfrm>
          <a:prstGeom prst="rect">
            <a:avLst/>
          </a:prstGeom>
        </p:spPr>
      </p:pic>
      <p:sp>
        <p:nvSpPr>
          <p:cNvPr id="9" name="Text Placeholder 6">
            <a:extLst>
              <a:ext uri="{FF2B5EF4-FFF2-40B4-BE49-F238E27FC236}">
                <a16:creationId xmlns:a16="http://schemas.microsoft.com/office/drawing/2014/main" id="{E2C92AF3-CE56-204D-ADAA-C210A8935A17}"/>
              </a:ext>
            </a:extLst>
          </p:cNvPr>
          <p:cNvSpPr>
            <a:spLocks noGrp="1"/>
          </p:cNvSpPr>
          <p:nvPr>
            <p:ph type="body" sz="quarter" idx="17" hasCustomPrompt="1"/>
          </p:nvPr>
        </p:nvSpPr>
        <p:spPr>
          <a:xfrm>
            <a:off x="460495" y="6026150"/>
            <a:ext cx="7439375" cy="209550"/>
          </a:xfrm>
          <a:prstGeom prst="rect">
            <a:avLst/>
          </a:prstGeom>
        </p:spPr>
        <p:txBody>
          <a:bodyPr tIns="0" rIns="2560320">
            <a:noAutofit/>
          </a:bodyPr>
          <a:lstStyle>
            <a:lvl1pPr>
              <a:spcAft>
                <a:spcPts val="900"/>
              </a:spcAft>
              <a:defRPr sz="1000">
                <a:solidFill>
                  <a:schemeClr val="tx2"/>
                </a:solidFill>
              </a:defRPr>
            </a:lvl1pPr>
            <a:lvl2pPr>
              <a:spcAft>
                <a:spcPts val="900"/>
              </a:spcAft>
              <a:defRPr sz="1000" b="0">
                <a:solidFill>
                  <a:schemeClr val="tx2"/>
                </a:solidFill>
              </a:defRPr>
            </a:lvl2pPr>
            <a:lvl3pPr marL="0" indent="0">
              <a:spcAft>
                <a:spcPts val="900"/>
              </a:spcAft>
              <a:buFontTx/>
              <a:buNone/>
              <a:defRPr sz="1000">
                <a:solidFill>
                  <a:schemeClr val="tx2"/>
                </a:solidFill>
              </a:defRPr>
            </a:lvl3pPr>
            <a:lvl4pPr marL="0" indent="0">
              <a:spcAft>
                <a:spcPts val="900"/>
              </a:spcAft>
              <a:buFontTx/>
              <a:buNone/>
              <a:defRPr sz="1000">
                <a:solidFill>
                  <a:schemeClr val="tx2"/>
                </a:solidFill>
              </a:defRPr>
            </a:lvl4pPr>
            <a:lvl5pPr marL="22" indent="0">
              <a:spcAft>
                <a:spcPts val="900"/>
              </a:spcAft>
              <a:buFontTx/>
              <a:buNone/>
              <a:defRPr sz="1000">
                <a:solidFill>
                  <a:schemeClr val="tx2"/>
                </a:solidFill>
              </a:defRPr>
            </a:lvl5pPr>
            <a:lvl6pPr marL="0" indent="0">
              <a:spcAft>
                <a:spcPts val="900"/>
              </a:spcAft>
              <a:buFontTx/>
              <a:buNone/>
              <a:defRPr sz="1000">
                <a:solidFill>
                  <a:schemeClr val="tx2"/>
                </a:solidFill>
              </a:defRPr>
            </a:lvl6pPr>
            <a:lvl7pPr marL="0" indent="0">
              <a:spcAft>
                <a:spcPts val="900"/>
              </a:spcAft>
              <a:buFontTx/>
              <a:buNone/>
              <a:defRPr sz="1000">
                <a:solidFill>
                  <a:schemeClr val="tx2"/>
                </a:solidFill>
              </a:defRPr>
            </a:lvl7pPr>
            <a:lvl8pPr marL="0" indent="0">
              <a:spcAft>
                <a:spcPts val="900"/>
              </a:spcAft>
              <a:buFontTx/>
              <a:buNone/>
              <a:defRPr sz="1000">
                <a:solidFill>
                  <a:schemeClr val="tx2"/>
                </a:solidFill>
              </a:defRPr>
            </a:lvl8pPr>
            <a:lvl9pPr marL="0" indent="0">
              <a:spcAft>
                <a:spcPts val="900"/>
              </a:spcAft>
              <a:buFontTx/>
              <a:buNone/>
              <a:defRPr sz="100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37838769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_1/3_chart">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460496" y="1565274"/>
            <a:ext cx="7439374" cy="4460876"/>
          </a:xfrm>
          <a:prstGeom prst="rect">
            <a:avLst/>
          </a:prstGeom>
        </p:spPr>
        <p:txBody>
          <a:bodyPr tIns="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hart Placeholder 7">
            <a:extLst>
              <a:ext uri="{FF2B5EF4-FFF2-40B4-BE49-F238E27FC236}">
                <a16:creationId xmlns:a16="http://schemas.microsoft.com/office/drawing/2014/main" id="{64EEA21B-C8A4-CC4F-BBD2-4F30B712F0E4}"/>
              </a:ext>
            </a:extLst>
          </p:cNvPr>
          <p:cNvSpPr>
            <a:spLocks noGrp="1"/>
          </p:cNvSpPr>
          <p:nvPr>
            <p:ph type="chart" sz="quarter" idx="14"/>
          </p:nvPr>
        </p:nvSpPr>
        <p:spPr>
          <a:xfrm>
            <a:off x="8125354" y="1565276"/>
            <a:ext cx="3601388" cy="4670425"/>
          </a:xfrm>
          <a:noFill/>
        </p:spPr>
        <p:txBody>
          <a:bodyPr tIns="1645920"/>
          <a:lstStyle>
            <a:lvl1pPr algn="ctr">
              <a:defRPr/>
            </a:lvl1pPr>
          </a:lstStyle>
          <a:p>
            <a:r>
              <a:rPr lang="en-US"/>
              <a:t>Click icon to add chart</a:t>
            </a:r>
          </a:p>
        </p:txBody>
      </p:sp>
      <p:sp>
        <p:nvSpPr>
          <p:cNvPr id="3" name="Title 2">
            <a:extLst>
              <a:ext uri="{FF2B5EF4-FFF2-40B4-BE49-F238E27FC236}">
                <a16:creationId xmlns:a16="http://schemas.microsoft.com/office/drawing/2014/main" id="{9B99F403-8A76-3041-9EBD-D42DD6A0960E}"/>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6C63619C-DDCB-D447-AB2E-B38F2AF52D4C}"/>
              </a:ext>
            </a:extLst>
          </p:cNvPr>
          <p:cNvSpPr>
            <a:spLocks noGrp="1"/>
          </p:cNvSpPr>
          <p:nvPr>
            <p:ph type="ftr" sz="quarter" idx="15"/>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6C4953C7-9993-2D49-B25D-1D99D8229DD8}"/>
              </a:ext>
            </a:extLst>
          </p:cNvPr>
          <p:cNvSpPr>
            <a:spLocks noGrp="1"/>
          </p:cNvSpPr>
          <p:nvPr>
            <p:ph type="sldNum" sz="quarter" idx="16"/>
          </p:nvPr>
        </p:nvSpPr>
        <p:spPr/>
        <p:txBody>
          <a:bodyPr/>
          <a:lstStyle/>
          <a:p>
            <a:pPr lvl="8"/>
            <a:fld id="{1E3D5677-3D20-0C46-8497-54D73E689044}" type="slidenum">
              <a:rPr lang="en-US"/>
              <a:pPr lvl="8"/>
              <a:t>‹#›</a:t>
            </a:fld>
            <a:endParaRPr lang="en-US"/>
          </a:p>
        </p:txBody>
      </p:sp>
      <p:pic>
        <p:nvPicPr>
          <p:cNvPr id="9" name="Picture 8">
            <a:extLst>
              <a:ext uri="{FF2B5EF4-FFF2-40B4-BE49-F238E27FC236}">
                <a16:creationId xmlns:a16="http://schemas.microsoft.com/office/drawing/2014/main" id="{EBCF6235-B9A1-4C40-AE65-F2BBE0CAB705}"/>
              </a:ext>
            </a:extLst>
          </p:cNvPr>
          <p:cNvPicPr>
            <a:picLocks noChangeAspect="1"/>
          </p:cNvPicPr>
          <p:nvPr userDrawn="1"/>
        </p:nvPicPr>
        <p:blipFill>
          <a:blip r:embed="rId2"/>
          <a:srcRect/>
          <a:stretch/>
        </p:blipFill>
        <p:spPr>
          <a:xfrm>
            <a:off x="472868" y="6412434"/>
            <a:ext cx="1497466" cy="285488"/>
          </a:xfrm>
          <a:prstGeom prst="rect">
            <a:avLst/>
          </a:prstGeom>
        </p:spPr>
      </p:pic>
      <p:sp>
        <p:nvSpPr>
          <p:cNvPr id="11" name="Text Placeholder 6">
            <a:extLst>
              <a:ext uri="{FF2B5EF4-FFF2-40B4-BE49-F238E27FC236}">
                <a16:creationId xmlns:a16="http://schemas.microsoft.com/office/drawing/2014/main" id="{8C9D6D5D-A833-9049-810F-6E3112E2BC6B}"/>
              </a:ext>
            </a:extLst>
          </p:cNvPr>
          <p:cNvSpPr>
            <a:spLocks noGrp="1"/>
          </p:cNvSpPr>
          <p:nvPr>
            <p:ph type="body" sz="quarter" idx="17" hasCustomPrompt="1"/>
          </p:nvPr>
        </p:nvSpPr>
        <p:spPr>
          <a:xfrm>
            <a:off x="460496" y="6026150"/>
            <a:ext cx="7439374" cy="209550"/>
          </a:xfrm>
          <a:prstGeom prst="rect">
            <a:avLst/>
          </a:prstGeom>
        </p:spPr>
        <p:txBody>
          <a:bodyPr tIns="0" rIns="2560320">
            <a:noAutofit/>
          </a:bodyPr>
          <a:lstStyle>
            <a:lvl1pPr>
              <a:spcAft>
                <a:spcPts val="900"/>
              </a:spcAft>
              <a:defRPr sz="1000">
                <a:solidFill>
                  <a:schemeClr val="tx2"/>
                </a:solidFill>
              </a:defRPr>
            </a:lvl1pPr>
            <a:lvl2pPr>
              <a:spcAft>
                <a:spcPts val="900"/>
              </a:spcAft>
              <a:defRPr sz="1000" b="0">
                <a:solidFill>
                  <a:schemeClr val="tx2"/>
                </a:solidFill>
              </a:defRPr>
            </a:lvl2pPr>
            <a:lvl3pPr marL="0" indent="0">
              <a:spcAft>
                <a:spcPts val="900"/>
              </a:spcAft>
              <a:buFontTx/>
              <a:buNone/>
              <a:defRPr sz="1000">
                <a:solidFill>
                  <a:schemeClr val="tx2"/>
                </a:solidFill>
              </a:defRPr>
            </a:lvl3pPr>
            <a:lvl4pPr marL="0" indent="0">
              <a:spcAft>
                <a:spcPts val="900"/>
              </a:spcAft>
              <a:buFontTx/>
              <a:buNone/>
              <a:defRPr sz="1000">
                <a:solidFill>
                  <a:schemeClr val="tx2"/>
                </a:solidFill>
              </a:defRPr>
            </a:lvl4pPr>
            <a:lvl5pPr marL="22" indent="0">
              <a:spcAft>
                <a:spcPts val="900"/>
              </a:spcAft>
              <a:buFontTx/>
              <a:buNone/>
              <a:defRPr sz="1000">
                <a:solidFill>
                  <a:schemeClr val="tx2"/>
                </a:solidFill>
              </a:defRPr>
            </a:lvl5pPr>
            <a:lvl6pPr marL="0" indent="0">
              <a:spcAft>
                <a:spcPts val="900"/>
              </a:spcAft>
              <a:buFontTx/>
              <a:buNone/>
              <a:defRPr sz="1000">
                <a:solidFill>
                  <a:schemeClr val="tx2"/>
                </a:solidFill>
              </a:defRPr>
            </a:lvl6pPr>
            <a:lvl7pPr marL="0" indent="0">
              <a:spcAft>
                <a:spcPts val="900"/>
              </a:spcAft>
              <a:buFontTx/>
              <a:buNone/>
              <a:defRPr sz="1000">
                <a:solidFill>
                  <a:schemeClr val="tx2"/>
                </a:solidFill>
              </a:defRPr>
            </a:lvl7pPr>
            <a:lvl8pPr marL="0" indent="0">
              <a:spcAft>
                <a:spcPts val="900"/>
              </a:spcAft>
              <a:buFontTx/>
              <a:buNone/>
              <a:defRPr sz="1000">
                <a:solidFill>
                  <a:schemeClr val="tx2"/>
                </a:solidFill>
              </a:defRPr>
            </a:lvl8pPr>
            <a:lvl9pPr marL="0" indent="0">
              <a:spcAft>
                <a:spcPts val="900"/>
              </a:spcAft>
              <a:buFontTx/>
              <a:buNone/>
              <a:defRPr sz="100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50304981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_1/3_tab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462084" y="1565274"/>
            <a:ext cx="7437786" cy="4460876"/>
          </a:xfrm>
          <a:prstGeom prst="rect">
            <a:avLst/>
          </a:prstGeom>
        </p:spPr>
        <p:txBody>
          <a:bodyPr tIns="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able Placeholder 11">
            <a:extLst>
              <a:ext uri="{FF2B5EF4-FFF2-40B4-BE49-F238E27FC236}">
                <a16:creationId xmlns:a16="http://schemas.microsoft.com/office/drawing/2014/main" id="{D3F4E4CF-00FB-2840-B337-631C2E32848C}"/>
              </a:ext>
            </a:extLst>
          </p:cNvPr>
          <p:cNvSpPr>
            <a:spLocks noGrp="1"/>
          </p:cNvSpPr>
          <p:nvPr>
            <p:ph type="tbl" sz="quarter" idx="14"/>
          </p:nvPr>
        </p:nvSpPr>
        <p:spPr>
          <a:xfrm>
            <a:off x="8125354" y="1565276"/>
            <a:ext cx="3601388" cy="4670425"/>
          </a:xfrm>
          <a:noFill/>
        </p:spPr>
        <p:txBody>
          <a:bodyPr tIns="1645920"/>
          <a:lstStyle>
            <a:lvl1pPr algn="ctr">
              <a:defRPr/>
            </a:lvl1pPr>
          </a:lstStyle>
          <a:p>
            <a:r>
              <a:rPr lang="en-US"/>
              <a:t>Click icon to add table</a:t>
            </a:r>
          </a:p>
        </p:txBody>
      </p:sp>
      <p:sp>
        <p:nvSpPr>
          <p:cNvPr id="3" name="Title 2">
            <a:extLst>
              <a:ext uri="{FF2B5EF4-FFF2-40B4-BE49-F238E27FC236}">
                <a16:creationId xmlns:a16="http://schemas.microsoft.com/office/drawing/2014/main" id="{1B00B7BE-3463-484E-9D3C-74D6D678D66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37182A4F-356C-BF46-9CDC-9F4C22050507}"/>
              </a:ext>
            </a:extLst>
          </p:cNvPr>
          <p:cNvSpPr>
            <a:spLocks noGrp="1"/>
          </p:cNvSpPr>
          <p:nvPr>
            <p:ph type="ftr" sz="quarter" idx="15"/>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1A1492D2-C982-9D40-9EE7-012C8B2D0FDB}"/>
              </a:ext>
            </a:extLst>
          </p:cNvPr>
          <p:cNvSpPr>
            <a:spLocks noGrp="1"/>
          </p:cNvSpPr>
          <p:nvPr>
            <p:ph type="sldNum" sz="quarter" idx="16"/>
          </p:nvPr>
        </p:nvSpPr>
        <p:spPr/>
        <p:txBody>
          <a:bodyPr/>
          <a:lstStyle/>
          <a:p>
            <a:pPr lvl="8"/>
            <a:fld id="{1E3D5677-3D20-0C46-8497-54D73E689044}" type="slidenum">
              <a:rPr lang="en-US"/>
              <a:pPr lvl="8"/>
              <a:t>‹#›</a:t>
            </a:fld>
            <a:endParaRPr lang="en-US"/>
          </a:p>
        </p:txBody>
      </p:sp>
      <p:pic>
        <p:nvPicPr>
          <p:cNvPr id="8" name="Picture 7">
            <a:extLst>
              <a:ext uri="{FF2B5EF4-FFF2-40B4-BE49-F238E27FC236}">
                <a16:creationId xmlns:a16="http://schemas.microsoft.com/office/drawing/2014/main" id="{C2FEEB6F-76C3-7B4A-A8FD-CBB82236CCBA}"/>
              </a:ext>
            </a:extLst>
          </p:cNvPr>
          <p:cNvPicPr>
            <a:picLocks noChangeAspect="1"/>
          </p:cNvPicPr>
          <p:nvPr userDrawn="1"/>
        </p:nvPicPr>
        <p:blipFill>
          <a:blip r:embed="rId2"/>
          <a:srcRect/>
          <a:stretch/>
        </p:blipFill>
        <p:spPr>
          <a:xfrm>
            <a:off x="472868" y="6412434"/>
            <a:ext cx="1497466" cy="285488"/>
          </a:xfrm>
          <a:prstGeom prst="rect">
            <a:avLst/>
          </a:prstGeom>
        </p:spPr>
      </p:pic>
      <p:sp>
        <p:nvSpPr>
          <p:cNvPr id="9" name="Text Placeholder 6">
            <a:extLst>
              <a:ext uri="{FF2B5EF4-FFF2-40B4-BE49-F238E27FC236}">
                <a16:creationId xmlns:a16="http://schemas.microsoft.com/office/drawing/2014/main" id="{FBCD185C-29F9-B046-A597-075B3319BE18}"/>
              </a:ext>
            </a:extLst>
          </p:cNvPr>
          <p:cNvSpPr>
            <a:spLocks noGrp="1"/>
          </p:cNvSpPr>
          <p:nvPr>
            <p:ph type="body" sz="quarter" idx="17" hasCustomPrompt="1"/>
          </p:nvPr>
        </p:nvSpPr>
        <p:spPr>
          <a:xfrm>
            <a:off x="460496" y="6026150"/>
            <a:ext cx="7439374" cy="209550"/>
          </a:xfrm>
          <a:prstGeom prst="rect">
            <a:avLst/>
          </a:prstGeom>
        </p:spPr>
        <p:txBody>
          <a:bodyPr tIns="0" rIns="2560320">
            <a:noAutofit/>
          </a:bodyPr>
          <a:lstStyle>
            <a:lvl1pPr>
              <a:spcAft>
                <a:spcPts val="900"/>
              </a:spcAft>
              <a:defRPr sz="1000">
                <a:solidFill>
                  <a:schemeClr val="tx2"/>
                </a:solidFill>
              </a:defRPr>
            </a:lvl1pPr>
            <a:lvl2pPr>
              <a:spcAft>
                <a:spcPts val="900"/>
              </a:spcAft>
              <a:defRPr sz="1000" b="0">
                <a:solidFill>
                  <a:schemeClr val="tx2"/>
                </a:solidFill>
              </a:defRPr>
            </a:lvl2pPr>
            <a:lvl3pPr marL="0" indent="0">
              <a:spcAft>
                <a:spcPts val="900"/>
              </a:spcAft>
              <a:buFontTx/>
              <a:buNone/>
              <a:defRPr sz="1000">
                <a:solidFill>
                  <a:schemeClr val="tx2"/>
                </a:solidFill>
              </a:defRPr>
            </a:lvl3pPr>
            <a:lvl4pPr marL="0" indent="0">
              <a:spcAft>
                <a:spcPts val="900"/>
              </a:spcAft>
              <a:buFontTx/>
              <a:buNone/>
              <a:defRPr sz="1000">
                <a:solidFill>
                  <a:schemeClr val="tx2"/>
                </a:solidFill>
              </a:defRPr>
            </a:lvl4pPr>
            <a:lvl5pPr marL="22" indent="0">
              <a:spcAft>
                <a:spcPts val="900"/>
              </a:spcAft>
              <a:buFontTx/>
              <a:buNone/>
              <a:defRPr sz="1000">
                <a:solidFill>
                  <a:schemeClr val="tx2"/>
                </a:solidFill>
              </a:defRPr>
            </a:lvl5pPr>
            <a:lvl6pPr marL="0" indent="0">
              <a:spcAft>
                <a:spcPts val="900"/>
              </a:spcAft>
              <a:buFontTx/>
              <a:buNone/>
              <a:defRPr sz="1000">
                <a:solidFill>
                  <a:schemeClr val="tx2"/>
                </a:solidFill>
              </a:defRPr>
            </a:lvl6pPr>
            <a:lvl7pPr marL="0" indent="0">
              <a:spcAft>
                <a:spcPts val="900"/>
              </a:spcAft>
              <a:buFontTx/>
              <a:buNone/>
              <a:defRPr sz="1000">
                <a:solidFill>
                  <a:schemeClr val="tx2"/>
                </a:solidFill>
              </a:defRPr>
            </a:lvl7pPr>
            <a:lvl8pPr marL="0" indent="0">
              <a:spcAft>
                <a:spcPts val="900"/>
              </a:spcAft>
              <a:buFontTx/>
              <a:buNone/>
              <a:defRPr sz="1000">
                <a:solidFill>
                  <a:schemeClr val="tx2"/>
                </a:solidFill>
              </a:defRPr>
            </a:lvl8pPr>
            <a:lvl9pPr marL="0" indent="0">
              <a:spcAft>
                <a:spcPts val="900"/>
              </a:spcAft>
              <a:buFontTx/>
              <a:buNone/>
              <a:defRPr sz="100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30907872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_2_colum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ADFC3-0EA2-484B-91B3-4624904B3EA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E8D17CCE-4148-054E-BC25-74B1DEEB2364}"/>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6" name="Content Placeholder 5">
            <a:extLst>
              <a:ext uri="{FF2B5EF4-FFF2-40B4-BE49-F238E27FC236}">
                <a16:creationId xmlns:a16="http://schemas.microsoft.com/office/drawing/2014/main" id="{43F8D8A9-EA01-D644-896A-9C8B48D82E4B}"/>
              </a:ext>
            </a:extLst>
          </p:cNvPr>
          <p:cNvSpPr>
            <a:spLocks noGrp="1"/>
          </p:cNvSpPr>
          <p:nvPr>
            <p:ph sz="quarter" idx="17"/>
          </p:nvPr>
        </p:nvSpPr>
        <p:spPr>
          <a:xfrm>
            <a:off x="473199" y="1565276"/>
            <a:ext cx="5510060" cy="4460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28F11314-FE33-0741-BC75-8FADD2AA01BA}"/>
              </a:ext>
            </a:extLst>
          </p:cNvPr>
          <p:cNvSpPr>
            <a:spLocks noGrp="1"/>
          </p:cNvSpPr>
          <p:nvPr>
            <p:ph sz="quarter" idx="18"/>
          </p:nvPr>
        </p:nvSpPr>
        <p:spPr>
          <a:xfrm>
            <a:off x="6205566" y="1565276"/>
            <a:ext cx="5521176" cy="4460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9821D7EA-52AC-124E-B1BF-496BEE76E9AF}"/>
              </a:ext>
            </a:extLst>
          </p:cNvPr>
          <p:cNvPicPr>
            <a:picLocks noChangeAspect="1"/>
          </p:cNvPicPr>
          <p:nvPr userDrawn="1"/>
        </p:nvPicPr>
        <p:blipFill>
          <a:blip r:embed="rId2"/>
          <a:srcRect/>
          <a:stretch/>
        </p:blipFill>
        <p:spPr>
          <a:xfrm>
            <a:off x="472868" y="6412434"/>
            <a:ext cx="1497466" cy="285488"/>
          </a:xfrm>
          <a:prstGeom prst="rect">
            <a:avLst/>
          </a:prstGeom>
        </p:spPr>
      </p:pic>
      <p:sp>
        <p:nvSpPr>
          <p:cNvPr id="9" name="Text Placeholder 6">
            <a:extLst>
              <a:ext uri="{FF2B5EF4-FFF2-40B4-BE49-F238E27FC236}">
                <a16:creationId xmlns:a16="http://schemas.microsoft.com/office/drawing/2014/main" id="{04482540-A651-6644-821A-C86BE0111821}"/>
              </a:ext>
            </a:extLst>
          </p:cNvPr>
          <p:cNvSpPr>
            <a:spLocks noGrp="1"/>
          </p:cNvSpPr>
          <p:nvPr>
            <p:ph type="body" sz="quarter" idx="19" hasCustomPrompt="1"/>
          </p:nvPr>
        </p:nvSpPr>
        <p:spPr>
          <a:xfrm>
            <a:off x="460495" y="6026150"/>
            <a:ext cx="11258307" cy="209551"/>
          </a:xfrm>
          <a:prstGeom prst="rect">
            <a:avLst/>
          </a:prstGeom>
        </p:spPr>
        <p:txBody>
          <a:bodyPr tIns="0" rIns="2560320">
            <a:noAutofit/>
          </a:bodyPr>
          <a:lstStyle>
            <a:lvl1pPr>
              <a:spcAft>
                <a:spcPts val="900"/>
              </a:spcAft>
              <a:defRPr sz="1000">
                <a:solidFill>
                  <a:schemeClr val="tx2"/>
                </a:solidFill>
              </a:defRPr>
            </a:lvl1pPr>
            <a:lvl2pPr>
              <a:spcAft>
                <a:spcPts val="900"/>
              </a:spcAft>
              <a:defRPr sz="1000" b="0">
                <a:solidFill>
                  <a:schemeClr val="tx2"/>
                </a:solidFill>
              </a:defRPr>
            </a:lvl2pPr>
            <a:lvl3pPr marL="0" indent="0">
              <a:spcAft>
                <a:spcPts val="900"/>
              </a:spcAft>
              <a:buFontTx/>
              <a:buNone/>
              <a:defRPr sz="1000">
                <a:solidFill>
                  <a:schemeClr val="tx2"/>
                </a:solidFill>
              </a:defRPr>
            </a:lvl3pPr>
            <a:lvl4pPr marL="0" indent="0">
              <a:spcAft>
                <a:spcPts val="900"/>
              </a:spcAft>
              <a:buFontTx/>
              <a:buNone/>
              <a:defRPr sz="1000">
                <a:solidFill>
                  <a:schemeClr val="tx2"/>
                </a:solidFill>
              </a:defRPr>
            </a:lvl4pPr>
            <a:lvl5pPr marL="22" indent="0">
              <a:spcAft>
                <a:spcPts val="900"/>
              </a:spcAft>
              <a:buFontTx/>
              <a:buNone/>
              <a:defRPr sz="1000">
                <a:solidFill>
                  <a:schemeClr val="tx2"/>
                </a:solidFill>
              </a:defRPr>
            </a:lvl5pPr>
            <a:lvl6pPr marL="0" indent="0">
              <a:spcAft>
                <a:spcPts val="900"/>
              </a:spcAft>
              <a:buFontTx/>
              <a:buNone/>
              <a:defRPr sz="1000">
                <a:solidFill>
                  <a:schemeClr val="tx2"/>
                </a:solidFill>
              </a:defRPr>
            </a:lvl6pPr>
            <a:lvl7pPr marL="0" indent="0">
              <a:spcAft>
                <a:spcPts val="900"/>
              </a:spcAft>
              <a:buFontTx/>
              <a:buNone/>
              <a:defRPr sz="1000">
                <a:solidFill>
                  <a:schemeClr val="tx2"/>
                </a:solidFill>
              </a:defRPr>
            </a:lvl7pPr>
            <a:lvl8pPr marL="0" indent="0">
              <a:spcAft>
                <a:spcPts val="900"/>
              </a:spcAft>
              <a:buFontTx/>
              <a:buNone/>
              <a:defRPr sz="1000">
                <a:solidFill>
                  <a:schemeClr val="tx2"/>
                </a:solidFill>
              </a:defRPr>
            </a:lvl8pPr>
            <a:lvl9pPr marL="0" indent="0">
              <a:spcAft>
                <a:spcPts val="900"/>
              </a:spcAft>
              <a:buFontTx/>
              <a:buNone/>
              <a:defRPr sz="100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31237463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955931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_compar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ADFC3-0EA2-484B-91B3-4624904B3EA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E8D17CCE-4148-054E-BC25-74B1DEEB2364}"/>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6" name="Content Placeholder 5">
            <a:extLst>
              <a:ext uri="{FF2B5EF4-FFF2-40B4-BE49-F238E27FC236}">
                <a16:creationId xmlns:a16="http://schemas.microsoft.com/office/drawing/2014/main" id="{43F8D8A9-EA01-D644-896A-9C8B48D82E4B}"/>
              </a:ext>
            </a:extLst>
          </p:cNvPr>
          <p:cNvSpPr>
            <a:spLocks noGrp="1"/>
          </p:cNvSpPr>
          <p:nvPr>
            <p:ph sz="quarter" idx="17"/>
          </p:nvPr>
        </p:nvSpPr>
        <p:spPr>
          <a:xfrm>
            <a:off x="473199" y="1565276"/>
            <a:ext cx="5249570" cy="4460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28F11314-FE33-0741-BC75-8FADD2AA01BA}"/>
              </a:ext>
            </a:extLst>
          </p:cNvPr>
          <p:cNvSpPr>
            <a:spLocks noGrp="1"/>
          </p:cNvSpPr>
          <p:nvPr>
            <p:ph sz="quarter" idx="18"/>
          </p:nvPr>
        </p:nvSpPr>
        <p:spPr>
          <a:xfrm>
            <a:off x="6464722" y="1565276"/>
            <a:ext cx="5262020" cy="4460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9821D7EA-52AC-124E-B1BF-496BEE76E9AF}"/>
              </a:ext>
            </a:extLst>
          </p:cNvPr>
          <p:cNvPicPr>
            <a:picLocks noChangeAspect="1"/>
          </p:cNvPicPr>
          <p:nvPr userDrawn="1"/>
        </p:nvPicPr>
        <p:blipFill>
          <a:blip r:embed="rId2"/>
          <a:srcRect/>
          <a:stretch/>
        </p:blipFill>
        <p:spPr>
          <a:xfrm>
            <a:off x="472868" y="6412434"/>
            <a:ext cx="1497466" cy="285488"/>
          </a:xfrm>
          <a:prstGeom prst="rect">
            <a:avLst/>
          </a:prstGeom>
        </p:spPr>
      </p:pic>
      <p:grpSp>
        <p:nvGrpSpPr>
          <p:cNvPr id="9" name="Group 8">
            <a:extLst>
              <a:ext uri="{FF2B5EF4-FFF2-40B4-BE49-F238E27FC236}">
                <a16:creationId xmlns:a16="http://schemas.microsoft.com/office/drawing/2014/main" id="{C32C2CE8-EFEE-CD4D-9F7A-8F814C65D488}"/>
              </a:ext>
            </a:extLst>
          </p:cNvPr>
          <p:cNvGrpSpPr/>
          <p:nvPr userDrawn="1"/>
        </p:nvGrpSpPr>
        <p:grpSpPr>
          <a:xfrm>
            <a:off x="5983258" y="2300287"/>
            <a:ext cx="220974" cy="3200400"/>
            <a:chOff x="3313099" y="1275353"/>
            <a:chExt cx="220916" cy="3200400"/>
          </a:xfrm>
        </p:grpSpPr>
        <p:cxnSp>
          <p:nvCxnSpPr>
            <p:cNvPr id="10" name="Straight Connector 9">
              <a:extLst>
                <a:ext uri="{FF2B5EF4-FFF2-40B4-BE49-F238E27FC236}">
                  <a16:creationId xmlns:a16="http://schemas.microsoft.com/office/drawing/2014/main" id="{FEE21523-0773-8448-BBE7-842B0EB85CCC}"/>
                </a:ext>
              </a:extLst>
            </p:cNvPr>
            <p:cNvCxnSpPr/>
            <p:nvPr/>
          </p:nvCxnSpPr>
          <p:spPr>
            <a:xfrm>
              <a:off x="3423557" y="1275353"/>
              <a:ext cx="0" cy="3200400"/>
            </a:xfrm>
            <a:prstGeom prst="line">
              <a:avLst/>
            </a:prstGeom>
            <a:ln w="19050" cap="rnd" cmpd="sng" algn="ctr">
              <a:solidFill>
                <a:srgbClr val="1F497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81B7E47A-97E3-E24D-B81A-E76313621332}"/>
                </a:ext>
              </a:extLst>
            </p:cNvPr>
            <p:cNvGrpSpPr/>
            <p:nvPr/>
          </p:nvGrpSpPr>
          <p:grpSpPr>
            <a:xfrm>
              <a:off x="3313099" y="2761253"/>
              <a:ext cx="220916" cy="228601"/>
              <a:chOff x="4378684" y="648989"/>
              <a:chExt cx="244638" cy="246222"/>
            </a:xfrm>
          </p:grpSpPr>
          <p:sp>
            <p:nvSpPr>
              <p:cNvPr id="13" name="Chevron 12">
                <a:extLst>
                  <a:ext uri="{FF2B5EF4-FFF2-40B4-BE49-F238E27FC236}">
                    <a16:creationId xmlns:a16="http://schemas.microsoft.com/office/drawing/2014/main" id="{A2947867-90B1-0349-8276-C0CDD1000071}"/>
                  </a:ext>
                </a:extLst>
              </p:cNvPr>
              <p:cNvSpPr/>
              <p:nvPr/>
            </p:nvSpPr>
            <p:spPr>
              <a:xfrm>
                <a:off x="4378684" y="648990"/>
                <a:ext cx="164592" cy="246221"/>
              </a:xfrm>
              <a:prstGeom prst="chevron">
                <a:avLst/>
              </a:prstGeom>
              <a:solidFill>
                <a:srgbClr val="00539B"/>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chemeClr val="tx1"/>
                  </a:solidFill>
                </a:endParaRPr>
              </a:p>
            </p:txBody>
          </p:sp>
          <p:sp>
            <p:nvSpPr>
              <p:cNvPr id="14" name="Chevron 13">
                <a:extLst>
                  <a:ext uri="{FF2B5EF4-FFF2-40B4-BE49-F238E27FC236}">
                    <a16:creationId xmlns:a16="http://schemas.microsoft.com/office/drawing/2014/main" id="{06F0CFD7-88FE-EF4A-8A44-46A3EA942967}"/>
                  </a:ext>
                </a:extLst>
              </p:cNvPr>
              <p:cNvSpPr/>
              <p:nvPr/>
            </p:nvSpPr>
            <p:spPr>
              <a:xfrm>
                <a:off x="4458730" y="648989"/>
                <a:ext cx="164592" cy="246221"/>
              </a:xfrm>
              <a:prstGeom prst="chevron">
                <a:avLst/>
              </a:prstGeom>
              <a:solidFill>
                <a:srgbClr val="42964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chemeClr val="tx1"/>
                  </a:solidFill>
                </a:endParaRPr>
              </a:p>
            </p:txBody>
          </p:sp>
        </p:grpSp>
      </p:grpSp>
      <p:sp>
        <p:nvSpPr>
          <p:cNvPr id="15" name="Text Placeholder 6">
            <a:extLst>
              <a:ext uri="{FF2B5EF4-FFF2-40B4-BE49-F238E27FC236}">
                <a16:creationId xmlns:a16="http://schemas.microsoft.com/office/drawing/2014/main" id="{A4CB2129-0503-DB47-90B1-AFA35A72C6C4}"/>
              </a:ext>
            </a:extLst>
          </p:cNvPr>
          <p:cNvSpPr>
            <a:spLocks noGrp="1"/>
          </p:cNvSpPr>
          <p:nvPr>
            <p:ph type="body" sz="quarter" idx="19" hasCustomPrompt="1"/>
          </p:nvPr>
        </p:nvSpPr>
        <p:spPr>
          <a:xfrm>
            <a:off x="460495" y="6026150"/>
            <a:ext cx="11258298" cy="209550"/>
          </a:xfrm>
          <a:prstGeom prst="rect">
            <a:avLst/>
          </a:prstGeom>
        </p:spPr>
        <p:txBody>
          <a:bodyPr tIns="0" rIns="2560320">
            <a:noAutofit/>
          </a:bodyPr>
          <a:lstStyle>
            <a:lvl1pPr>
              <a:spcAft>
                <a:spcPts val="900"/>
              </a:spcAft>
              <a:defRPr sz="1000">
                <a:solidFill>
                  <a:schemeClr val="tx2"/>
                </a:solidFill>
              </a:defRPr>
            </a:lvl1pPr>
            <a:lvl2pPr>
              <a:spcAft>
                <a:spcPts val="900"/>
              </a:spcAft>
              <a:defRPr sz="1000" b="0">
                <a:solidFill>
                  <a:schemeClr val="tx2"/>
                </a:solidFill>
              </a:defRPr>
            </a:lvl2pPr>
            <a:lvl3pPr marL="0" indent="0">
              <a:spcAft>
                <a:spcPts val="900"/>
              </a:spcAft>
              <a:buFontTx/>
              <a:buNone/>
              <a:defRPr sz="1000">
                <a:solidFill>
                  <a:schemeClr val="tx2"/>
                </a:solidFill>
              </a:defRPr>
            </a:lvl3pPr>
            <a:lvl4pPr marL="0" indent="0">
              <a:spcAft>
                <a:spcPts val="900"/>
              </a:spcAft>
              <a:buFontTx/>
              <a:buNone/>
              <a:defRPr sz="1000">
                <a:solidFill>
                  <a:schemeClr val="tx2"/>
                </a:solidFill>
              </a:defRPr>
            </a:lvl4pPr>
            <a:lvl5pPr marL="22" indent="0">
              <a:spcAft>
                <a:spcPts val="900"/>
              </a:spcAft>
              <a:buFontTx/>
              <a:buNone/>
              <a:defRPr sz="1000">
                <a:solidFill>
                  <a:schemeClr val="tx2"/>
                </a:solidFill>
              </a:defRPr>
            </a:lvl5pPr>
            <a:lvl6pPr marL="0" indent="0">
              <a:spcAft>
                <a:spcPts val="900"/>
              </a:spcAft>
              <a:buFontTx/>
              <a:buNone/>
              <a:defRPr sz="1000">
                <a:solidFill>
                  <a:schemeClr val="tx2"/>
                </a:solidFill>
              </a:defRPr>
            </a:lvl6pPr>
            <a:lvl7pPr marL="0" indent="0">
              <a:spcAft>
                <a:spcPts val="900"/>
              </a:spcAft>
              <a:buFontTx/>
              <a:buNone/>
              <a:defRPr sz="1000">
                <a:solidFill>
                  <a:schemeClr val="tx2"/>
                </a:solidFill>
              </a:defRPr>
            </a:lvl7pPr>
            <a:lvl8pPr marL="0" indent="0">
              <a:spcAft>
                <a:spcPts val="900"/>
              </a:spcAft>
              <a:buFontTx/>
              <a:buNone/>
              <a:defRPr sz="1000">
                <a:solidFill>
                  <a:schemeClr val="tx2"/>
                </a:solidFill>
              </a:defRPr>
            </a:lvl8pPr>
            <a:lvl9pPr marL="0" indent="0">
              <a:spcAft>
                <a:spcPts val="900"/>
              </a:spcAft>
              <a:buFontTx/>
              <a:buNone/>
              <a:defRPr sz="100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114998255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_2_column_im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ADFC3-0EA2-484B-91B3-4624904B3EA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E8D17CCE-4148-054E-BC25-74B1DEEB2364}"/>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6" name="Content Placeholder 5">
            <a:extLst>
              <a:ext uri="{FF2B5EF4-FFF2-40B4-BE49-F238E27FC236}">
                <a16:creationId xmlns:a16="http://schemas.microsoft.com/office/drawing/2014/main" id="{43F8D8A9-EA01-D644-896A-9C8B48D82E4B}"/>
              </a:ext>
            </a:extLst>
          </p:cNvPr>
          <p:cNvSpPr>
            <a:spLocks noGrp="1"/>
          </p:cNvSpPr>
          <p:nvPr>
            <p:ph sz="quarter" idx="17"/>
          </p:nvPr>
        </p:nvSpPr>
        <p:spPr>
          <a:xfrm>
            <a:off x="473199" y="1565276"/>
            <a:ext cx="5510060" cy="4460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19E3EAC2-B124-7241-A76C-C15FC8C2B5D4}"/>
              </a:ext>
            </a:extLst>
          </p:cNvPr>
          <p:cNvSpPr>
            <a:spLocks noGrp="1"/>
          </p:cNvSpPr>
          <p:nvPr>
            <p:ph type="pic" sz="quarter" idx="18"/>
          </p:nvPr>
        </p:nvSpPr>
        <p:spPr>
          <a:xfrm>
            <a:off x="6205567" y="1565276"/>
            <a:ext cx="5522763" cy="4670425"/>
          </a:xfrm>
          <a:solidFill>
            <a:schemeClr val="bg2"/>
          </a:solidFill>
        </p:spPr>
        <p:txBody>
          <a:bodyPr tIns="1645920"/>
          <a:lstStyle>
            <a:lvl1pPr algn="ctr">
              <a:defRPr/>
            </a:lvl1pPr>
          </a:lstStyle>
          <a:p>
            <a:r>
              <a:rPr lang="en-US"/>
              <a:t>Click icon to add picture</a:t>
            </a:r>
          </a:p>
        </p:txBody>
      </p:sp>
      <p:pic>
        <p:nvPicPr>
          <p:cNvPr id="8" name="Picture 7">
            <a:extLst>
              <a:ext uri="{FF2B5EF4-FFF2-40B4-BE49-F238E27FC236}">
                <a16:creationId xmlns:a16="http://schemas.microsoft.com/office/drawing/2014/main" id="{DE7D5E30-60D9-FC42-8B8A-694A574E5EAF}"/>
              </a:ext>
            </a:extLst>
          </p:cNvPr>
          <p:cNvPicPr>
            <a:picLocks noChangeAspect="1"/>
          </p:cNvPicPr>
          <p:nvPr userDrawn="1"/>
        </p:nvPicPr>
        <p:blipFill>
          <a:blip r:embed="rId2"/>
          <a:srcRect/>
          <a:stretch/>
        </p:blipFill>
        <p:spPr>
          <a:xfrm>
            <a:off x="472868" y="6412434"/>
            <a:ext cx="1497466" cy="285488"/>
          </a:xfrm>
          <a:prstGeom prst="rect">
            <a:avLst/>
          </a:prstGeom>
        </p:spPr>
      </p:pic>
      <p:sp>
        <p:nvSpPr>
          <p:cNvPr id="9" name="Text Placeholder 6">
            <a:extLst>
              <a:ext uri="{FF2B5EF4-FFF2-40B4-BE49-F238E27FC236}">
                <a16:creationId xmlns:a16="http://schemas.microsoft.com/office/drawing/2014/main" id="{426A4FEB-16FA-5B47-8307-522D5CCBE214}"/>
              </a:ext>
            </a:extLst>
          </p:cNvPr>
          <p:cNvSpPr>
            <a:spLocks noGrp="1"/>
          </p:cNvSpPr>
          <p:nvPr>
            <p:ph type="body" sz="quarter" idx="19" hasCustomPrompt="1"/>
          </p:nvPr>
        </p:nvSpPr>
        <p:spPr>
          <a:xfrm>
            <a:off x="460496" y="6026150"/>
            <a:ext cx="5522763" cy="209550"/>
          </a:xfrm>
          <a:prstGeom prst="rect">
            <a:avLst/>
          </a:prstGeom>
        </p:spPr>
        <p:txBody>
          <a:bodyPr tIns="0" rIns="2560320">
            <a:noAutofit/>
          </a:bodyPr>
          <a:lstStyle>
            <a:lvl1pPr>
              <a:spcAft>
                <a:spcPts val="900"/>
              </a:spcAft>
              <a:defRPr sz="1000">
                <a:solidFill>
                  <a:schemeClr val="tx2"/>
                </a:solidFill>
              </a:defRPr>
            </a:lvl1pPr>
            <a:lvl2pPr>
              <a:spcAft>
                <a:spcPts val="900"/>
              </a:spcAft>
              <a:defRPr sz="1000" b="0">
                <a:solidFill>
                  <a:schemeClr val="tx2"/>
                </a:solidFill>
              </a:defRPr>
            </a:lvl2pPr>
            <a:lvl3pPr marL="0" indent="0">
              <a:spcAft>
                <a:spcPts val="900"/>
              </a:spcAft>
              <a:buFontTx/>
              <a:buNone/>
              <a:defRPr sz="1000">
                <a:solidFill>
                  <a:schemeClr val="tx2"/>
                </a:solidFill>
              </a:defRPr>
            </a:lvl3pPr>
            <a:lvl4pPr marL="0" indent="0">
              <a:spcAft>
                <a:spcPts val="900"/>
              </a:spcAft>
              <a:buFontTx/>
              <a:buNone/>
              <a:defRPr sz="1000">
                <a:solidFill>
                  <a:schemeClr val="tx2"/>
                </a:solidFill>
              </a:defRPr>
            </a:lvl4pPr>
            <a:lvl5pPr marL="22" indent="0">
              <a:spcAft>
                <a:spcPts val="900"/>
              </a:spcAft>
              <a:buFontTx/>
              <a:buNone/>
              <a:defRPr sz="1000">
                <a:solidFill>
                  <a:schemeClr val="tx2"/>
                </a:solidFill>
              </a:defRPr>
            </a:lvl5pPr>
            <a:lvl6pPr marL="0" indent="0">
              <a:spcAft>
                <a:spcPts val="900"/>
              </a:spcAft>
              <a:buFontTx/>
              <a:buNone/>
              <a:defRPr sz="1000">
                <a:solidFill>
                  <a:schemeClr val="tx2"/>
                </a:solidFill>
              </a:defRPr>
            </a:lvl6pPr>
            <a:lvl7pPr marL="0" indent="0">
              <a:spcAft>
                <a:spcPts val="900"/>
              </a:spcAft>
              <a:buFontTx/>
              <a:buNone/>
              <a:defRPr sz="1000">
                <a:solidFill>
                  <a:schemeClr val="tx2"/>
                </a:solidFill>
              </a:defRPr>
            </a:lvl7pPr>
            <a:lvl8pPr marL="0" indent="0">
              <a:spcAft>
                <a:spcPts val="900"/>
              </a:spcAft>
              <a:buFontTx/>
              <a:buNone/>
              <a:defRPr sz="1000">
                <a:solidFill>
                  <a:schemeClr val="tx2"/>
                </a:solidFill>
              </a:defRPr>
            </a:lvl8pPr>
            <a:lvl9pPr marL="0" indent="0">
              <a:spcAft>
                <a:spcPts val="900"/>
              </a:spcAft>
              <a:buFontTx/>
              <a:buNone/>
              <a:defRPr sz="100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18103244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_blue_emphasis_imag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D6B805C-4289-4A4F-A5CB-6D24B23192E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7" y="4466"/>
            <a:ext cx="12179296" cy="6856212"/>
          </a:xfrm>
          <a:prstGeom prst="rect">
            <a:avLst/>
          </a:prstGeom>
        </p:spPr>
      </p:pic>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460496" y="1565274"/>
            <a:ext cx="5522763" cy="4625975"/>
          </a:xfrm>
          <a:prstGeom prst="rect">
            <a:avLst/>
          </a:prstGeom>
        </p:spPr>
        <p:txBody>
          <a:bodyPr tIns="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7EADFC3-0EA2-484B-91B3-4624904B3EA0}"/>
              </a:ext>
            </a:extLst>
          </p:cNvPr>
          <p:cNvSpPr>
            <a:spLocks noGrp="1"/>
          </p:cNvSpPr>
          <p:nvPr>
            <p:ph type="title"/>
          </p:nvPr>
        </p:nvSpPr>
        <p:spPr>
          <a:xfrm>
            <a:off x="462083" y="460378"/>
            <a:ext cx="5521176" cy="876299"/>
          </a:xfrm>
        </p:spPr>
        <p:txBody>
          <a:bodyPr rIns="182880"/>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E8D17CCE-4148-054E-BC25-74B1DEEB2364}"/>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6" name="Picture Placeholder 5">
            <a:extLst>
              <a:ext uri="{FF2B5EF4-FFF2-40B4-BE49-F238E27FC236}">
                <a16:creationId xmlns:a16="http://schemas.microsoft.com/office/drawing/2014/main" id="{564D15A8-0DC5-1D44-871A-8715FE9075DA}"/>
              </a:ext>
            </a:extLst>
          </p:cNvPr>
          <p:cNvSpPr>
            <a:spLocks noGrp="1"/>
          </p:cNvSpPr>
          <p:nvPr>
            <p:ph type="pic" sz="quarter" idx="17"/>
          </p:nvPr>
        </p:nvSpPr>
        <p:spPr>
          <a:xfrm>
            <a:off x="6208742" y="0"/>
            <a:ext cx="5983258" cy="6235700"/>
          </a:xfrm>
          <a:solidFill>
            <a:schemeClr val="bg2"/>
          </a:solidFill>
        </p:spPr>
        <p:txBody>
          <a:bodyPr tIns="2468880"/>
          <a:lstStyle>
            <a:lvl1pPr algn="ctr">
              <a:defRPr/>
            </a:lvl1pPr>
          </a:lstStyle>
          <a:p>
            <a:r>
              <a:rPr lang="en-US"/>
              <a:t>Click icon to add picture</a:t>
            </a:r>
          </a:p>
        </p:txBody>
      </p:sp>
      <p:pic>
        <p:nvPicPr>
          <p:cNvPr id="9" name="Picture 8">
            <a:extLst>
              <a:ext uri="{FF2B5EF4-FFF2-40B4-BE49-F238E27FC236}">
                <a16:creationId xmlns:a16="http://schemas.microsoft.com/office/drawing/2014/main" id="{76967A81-D517-014E-978A-8C749887E581}"/>
              </a:ext>
            </a:extLst>
          </p:cNvPr>
          <p:cNvPicPr>
            <a:picLocks noChangeAspect="1"/>
          </p:cNvPicPr>
          <p:nvPr userDrawn="1"/>
        </p:nvPicPr>
        <p:blipFill>
          <a:blip r:embed="rId3"/>
          <a:srcRect/>
          <a:stretch/>
        </p:blipFill>
        <p:spPr>
          <a:xfrm>
            <a:off x="472868" y="6412434"/>
            <a:ext cx="1497466" cy="285488"/>
          </a:xfrm>
          <a:prstGeom prst="rect">
            <a:avLst/>
          </a:prstGeom>
        </p:spPr>
      </p:pic>
    </p:spTree>
    <p:extLst>
      <p:ext uri="{BB962C8B-B14F-4D97-AF65-F5344CB8AC3E}">
        <p14:creationId xmlns:p14="http://schemas.microsoft.com/office/powerpoint/2010/main" val="132157041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_green_emphasis_imag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B217E96-41B0-6043-94A0-7958ABA0E39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7" y="4467"/>
            <a:ext cx="12179296" cy="6856211"/>
          </a:xfrm>
          <a:prstGeom prst="rect">
            <a:avLst/>
          </a:prstGeom>
        </p:spPr>
      </p:pic>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460496" y="1565274"/>
            <a:ext cx="5522763" cy="4625975"/>
          </a:xfrm>
          <a:prstGeom prst="rect">
            <a:avLst/>
          </a:prstGeom>
        </p:spPr>
        <p:txBody>
          <a:bodyPr tIns="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7EADFC3-0EA2-484B-91B3-4624904B3EA0}"/>
              </a:ext>
            </a:extLst>
          </p:cNvPr>
          <p:cNvSpPr>
            <a:spLocks noGrp="1"/>
          </p:cNvSpPr>
          <p:nvPr>
            <p:ph type="title"/>
          </p:nvPr>
        </p:nvSpPr>
        <p:spPr>
          <a:xfrm>
            <a:off x="462083" y="460378"/>
            <a:ext cx="5521176" cy="876299"/>
          </a:xfrm>
        </p:spPr>
        <p:txBody>
          <a:bodyPr rIns="182880"/>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E8D17CCE-4148-054E-BC25-74B1DEEB2364}"/>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6" name="Picture Placeholder 5">
            <a:extLst>
              <a:ext uri="{FF2B5EF4-FFF2-40B4-BE49-F238E27FC236}">
                <a16:creationId xmlns:a16="http://schemas.microsoft.com/office/drawing/2014/main" id="{564D15A8-0DC5-1D44-871A-8715FE9075DA}"/>
              </a:ext>
            </a:extLst>
          </p:cNvPr>
          <p:cNvSpPr>
            <a:spLocks noGrp="1"/>
          </p:cNvSpPr>
          <p:nvPr>
            <p:ph type="pic" sz="quarter" idx="17"/>
          </p:nvPr>
        </p:nvSpPr>
        <p:spPr>
          <a:xfrm>
            <a:off x="6208742" y="0"/>
            <a:ext cx="5983258" cy="6235700"/>
          </a:xfrm>
          <a:solidFill>
            <a:schemeClr val="bg2"/>
          </a:solidFill>
        </p:spPr>
        <p:txBody>
          <a:bodyPr tIns="2468880"/>
          <a:lstStyle>
            <a:lvl1pPr algn="ctr">
              <a:defRPr/>
            </a:lvl1pPr>
          </a:lstStyle>
          <a:p>
            <a:r>
              <a:rPr lang="en-US"/>
              <a:t>Click icon to add picture</a:t>
            </a:r>
          </a:p>
        </p:txBody>
      </p:sp>
      <p:pic>
        <p:nvPicPr>
          <p:cNvPr id="9" name="Picture 8">
            <a:extLst>
              <a:ext uri="{FF2B5EF4-FFF2-40B4-BE49-F238E27FC236}">
                <a16:creationId xmlns:a16="http://schemas.microsoft.com/office/drawing/2014/main" id="{A6DCCD5D-2EBA-0247-95CF-0D7D7C946A5D}"/>
              </a:ext>
            </a:extLst>
          </p:cNvPr>
          <p:cNvPicPr>
            <a:picLocks noChangeAspect="1"/>
          </p:cNvPicPr>
          <p:nvPr userDrawn="1"/>
        </p:nvPicPr>
        <p:blipFill>
          <a:blip r:embed="rId3"/>
          <a:srcRect/>
          <a:stretch/>
        </p:blipFill>
        <p:spPr>
          <a:xfrm>
            <a:off x="472868" y="6412434"/>
            <a:ext cx="1497466" cy="285488"/>
          </a:xfrm>
          <a:prstGeom prst="rect">
            <a:avLst/>
          </a:prstGeom>
        </p:spPr>
      </p:pic>
    </p:spTree>
    <p:extLst>
      <p:ext uri="{BB962C8B-B14F-4D97-AF65-F5344CB8AC3E}">
        <p14:creationId xmlns:p14="http://schemas.microsoft.com/office/powerpoint/2010/main" val="194919414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_2_col_chart">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460496" y="1565274"/>
            <a:ext cx="5522763" cy="4460876"/>
          </a:xfrm>
          <a:prstGeom prst="rect">
            <a:avLst/>
          </a:prstGeom>
        </p:spPr>
        <p:txBody>
          <a:bodyPr t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hart Placeholder 8">
            <a:extLst>
              <a:ext uri="{FF2B5EF4-FFF2-40B4-BE49-F238E27FC236}">
                <a16:creationId xmlns:a16="http://schemas.microsoft.com/office/drawing/2014/main" id="{1585AACF-AC15-EB44-8BF3-EECB215C745A}"/>
              </a:ext>
            </a:extLst>
          </p:cNvPr>
          <p:cNvSpPr>
            <a:spLocks noGrp="1"/>
          </p:cNvSpPr>
          <p:nvPr>
            <p:ph type="chart" sz="quarter" idx="14"/>
          </p:nvPr>
        </p:nvSpPr>
        <p:spPr>
          <a:xfrm>
            <a:off x="6208742" y="1565276"/>
            <a:ext cx="5518000" cy="4670425"/>
          </a:xfrm>
          <a:noFill/>
        </p:spPr>
        <p:txBody>
          <a:bodyPr tIns="1645920"/>
          <a:lstStyle>
            <a:lvl1pPr algn="ctr">
              <a:defRPr/>
            </a:lvl1pPr>
          </a:lstStyle>
          <a:p>
            <a:r>
              <a:rPr lang="en-US"/>
              <a:t>Click icon to add chart</a:t>
            </a:r>
          </a:p>
        </p:txBody>
      </p:sp>
      <p:sp>
        <p:nvSpPr>
          <p:cNvPr id="2" name="Title 1">
            <a:extLst>
              <a:ext uri="{FF2B5EF4-FFF2-40B4-BE49-F238E27FC236}">
                <a16:creationId xmlns:a16="http://schemas.microsoft.com/office/drawing/2014/main" id="{36B9485F-2504-DB4F-8986-733F6BB66059}"/>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2C4FED05-9541-9E43-A9E9-F7AF3202050C}"/>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BA07E0CD-95EC-D64B-A5B4-7E6A4305F38C}"/>
              </a:ext>
            </a:extLst>
          </p:cNvPr>
          <p:cNvSpPr>
            <a:spLocks noGrp="1"/>
          </p:cNvSpPr>
          <p:nvPr>
            <p:ph type="sldNum" sz="quarter" idx="16"/>
          </p:nvPr>
        </p:nvSpPr>
        <p:spPr/>
        <p:txBody>
          <a:bodyPr/>
          <a:lstStyle/>
          <a:p>
            <a:pPr lvl="8"/>
            <a:fld id="{1E3D5677-3D20-0C46-8497-54D73E689044}" type="slidenum">
              <a:rPr lang="en-US"/>
              <a:pPr lvl="8"/>
              <a:t>‹#›</a:t>
            </a:fld>
            <a:endParaRPr lang="en-US"/>
          </a:p>
        </p:txBody>
      </p:sp>
      <p:pic>
        <p:nvPicPr>
          <p:cNvPr id="8" name="Picture 7">
            <a:extLst>
              <a:ext uri="{FF2B5EF4-FFF2-40B4-BE49-F238E27FC236}">
                <a16:creationId xmlns:a16="http://schemas.microsoft.com/office/drawing/2014/main" id="{01ADDD1B-B2E0-484A-BC70-D63ABDE0D7F1}"/>
              </a:ext>
            </a:extLst>
          </p:cNvPr>
          <p:cNvPicPr>
            <a:picLocks noChangeAspect="1"/>
          </p:cNvPicPr>
          <p:nvPr userDrawn="1"/>
        </p:nvPicPr>
        <p:blipFill>
          <a:blip r:embed="rId2"/>
          <a:srcRect/>
          <a:stretch/>
        </p:blipFill>
        <p:spPr>
          <a:xfrm>
            <a:off x="472868" y="6412434"/>
            <a:ext cx="1497466" cy="285488"/>
          </a:xfrm>
          <a:prstGeom prst="rect">
            <a:avLst/>
          </a:prstGeom>
        </p:spPr>
      </p:pic>
      <p:sp>
        <p:nvSpPr>
          <p:cNvPr id="11" name="Text Placeholder 6">
            <a:extLst>
              <a:ext uri="{FF2B5EF4-FFF2-40B4-BE49-F238E27FC236}">
                <a16:creationId xmlns:a16="http://schemas.microsoft.com/office/drawing/2014/main" id="{7AFEAAA4-A6C0-524F-B014-1359A37D24B6}"/>
              </a:ext>
            </a:extLst>
          </p:cNvPr>
          <p:cNvSpPr>
            <a:spLocks noGrp="1"/>
          </p:cNvSpPr>
          <p:nvPr>
            <p:ph type="body" sz="quarter" idx="19" hasCustomPrompt="1"/>
          </p:nvPr>
        </p:nvSpPr>
        <p:spPr>
          <a:xfrm>
            <a:off x="460496" y="6026150"/>
            <a:ext cx="5522763" cy="209550"/>
          </a:xfrm>
          <a:prstGeom prst="rect">
            <a:avLst/>
          </a:prstGeom>
        </p:spPr>
        <p:txBody>
          <a:bodyPr tIns="0" rIns="2560320">
            <a:noAutofit/>
          </a:bodyPr>
          <a:lstStyle>
            <a:lvl1pPr>
              <a:spcAft>
                <a:spcPts val="900"/>
              </a:spcAft>
              <a:defRPr sz="1000">
                <a:solidFill>
                  <a:schemeClr val="tx2"/>
                </a:solidFill>
              </a:defRPr>
            </a:lvl1pPr>
            <a:lvl2pPr>
              <a:spcAft>
                <a:spcPts val="900"/>
              </a:spcAft>
              <a:defRPr sz="1000" b="0">
                <a:solidFill>
                  <a:schemeClr val="tx2"/>
                </a:solidFill>
              </a:defRPr>
            </a:lvl2pPr>
            <a:lvl3pPr marL="0" indent="0">
              <a:spcAft>
                <a:spcPts val="900"/>
              </a:spcAft>
              <a:buFontTx/>
              <a:buNone/>
              <a:defRPr sz="1000">
                <a:solidFill>
                  <a:schemeClr val="tx2"/>
                </a:solidFill>
              </a:defRPr>
            </a:lvl3pPr>
            <a:lvl4pPr marL="0" indent="0">
              <a:spcAft>
                <a:spcPts val="900"/>
              </a:spcAft>
              <a:buFontTx/>
              <a:buNone/>
              <a:defRPr sz="1000">
                <a:solidFill>
                  <a:schemeClr val="tx2"/>
                </a:solidFill>
              </a:defRPr>
            </a:lvl4pPr>
            <a:lvl5pPr marL="22" indent="0">
              <a:spcAft>
                <a:spcPts val="900"/>
              </a:spcAft>
              <a:buFontTx/>
              <a:buNone/>
              <a:defRPr sz="1000">
                <a:solidFill>
                  <a:schemeClr val="tx2"/>
                </a:solidFill>
              </a:defRPr>
            </a:lvl5pPr>
            <a:lvl6pPr marL="0" indent="0">
              <a:spcAft>
                <a:spcPts val="900"/>
              </a:spcAft>
              <a:buFontTx/>
              <a:buNone/>
              <a:defRPr sz="1000">
                <a:solidFill>
                  <a:schemeClr val="tx2"/>
                </a:solidFill>
              </a:defRPr>
            </a:lvl6pPr>
            <a:lvl7pPr marL="0" indent="0">
              <a:spcAft>
                <a:spcPts val="900"/>
              </a:spcAft>
              <a:buFontTx/>
              <a:buNone/>
              <a:defRPr sz="1000">
                <a:solidFill>
                  <a:schemeClr val="tx2"/>
                </a:solidFill>
              </a:defRPr>
            </a:lvl7pPr>
            <a:lvl8pPr marL="0" indent="0">
              <a:spcAft>
                <a:spcPts val="900"/>
              </a:spcAft>
              <a:buFontTx/>
              <a:buNone/>
              <a:defRPr sz="1000">
                <a:solidFill>
                  <a:schemeClr val="tx2"/>
                </a:solidFill>
              </a:defRPr>
            </a:lvl8pPr>
            <a:lvl9pPr marL="0" indent="0">
              <a:spcAft>
                <a:spcPts val="900"/>
              </a:spcAft>
              <a:buFontTx/>
              <a:buNone/>
              <a:defRPr sz="100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167939676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_2_col_tab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460496" y="1565274"/>
            <a:ext cx="5522763" cy="4460876"/>
          </a:xfrm>
          <a:prstGeom prst="rect">
            <a:avLst/>
          </a:prstGeom>
        </p:spPr>
        <p:txBody>
          <a:bodyPr t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able Placeholder 8">
            <a:extLst>
              <a:ext uri="{FF2B5EF4-FFF2-40B4-BE49-F238E27FC236}">
                <a16:creationId xmlns:a16="http://schemas.microsoft.com/office/drawing/2014/main" id="{A405BF37-0F3C-A14F-A431-C0CF9B469A56}"/>
              </a:ext>
            </a:extLst>
          </p:cNvPr>
          <p:cNvSpPr>
            <a:spLocks noGrp="1"/>
          </p:cNvSpPr>
          <p:nvPr>
            <p:ph type="tbl" sz="quarter" idx="14"/>
          </p:nvPr>
        </p:nvSpPr>
        <p:spPr>
          <a:xfrm>
            <a:off x="6205566" y="1565276"/>
            <a:ext cx="5521175" cy="4670425"/>
          </a:xfrm>
          <a:noFill/>
        </p:spPr>
        <p:txBody>
          <a:bodyPr tIns="1645920"/>
          <a:lstStyle>
            <a:lvl1pPr algn="ctr">
              <a:defRPr/>
            </a:lvl1pPr>
          </a:lstStyle>
          <a:p>
            <a:r>
              <a:rPr lang="en-US"/>
              <a:t>Click icon to add table</a:t>
            </a:r>
          </a:p>
        </p:txBody>
      </p:sp>
      <p:sp>
        <p:nvSpPr>
          <p:cNvPr id="3" name="Title 2">
            <a:extLst>
              <a:ext uri="{FF2B5EF4-FFF2-40B4-BE49-F238E27FC236}">
                <a16:creationId xmlns:a16="http://schemas.microsoft.com/office/drawing/2014/main" id="{1E9980FA-94D4-B744-940F-1762A1F81745}"/>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E0894DC5-8B7A-D745-80AC-D8096EFBBC6B}"/>
              </a:ext>
            </a:extLst>
          </p:cNvPr>
          <p:cNvSpPr>
            <a:spLocks noGrp="1"/>
          </p:cNvSpPr>
          <p:nvPr>
            <p:ph type="ftr" sz="quarter" idx="15"/>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568CDEB6-DE13-5C42-9BA8-E0881A57A46E}"/>
              </a:ext>
            </a:extLst>
          </p:cNvPr>
          <p:cNvSpPr>
            <a:spLocks noGrp="1"/>
          </p:cNvSpPr>
          <p:nvPr>
            <p:ph type="sldNum" sz="quarter" idx="16"/>
          </p:nvPr>
        </p:nvSpPr>
        <p:spPr/>
        <p:txBody>
          <a:bodyPr/>
          <a:lstStyle/>
          <a:p>
            <a:pPr lvl="8"/>
            <a:fld id="{1E3D5677-3D20-0C46-8497-54D73E689044}" type="slidenum">
              <a:rPr lang="en-US"/>
              <a:pPr lvl="8"/>
              <a:t>‹#›</a:t>
            </a:fld>
            <a:endParaRPr lang="en-US"/>
          </a:p>
        </p:txBody>
      </p:sp>
      <p:pic>
        <p:nvPicPr>
          <p:cNvPr id="8" name="Picture 7">
            <a:extLst>
              <a:ext uri="{FF2B5EF4-FFF2-40B4-BE49-F238E27FC236}">
                <a16:creationId xmlns:a16="http://schemas.microsoft.com/office/drawing/2014/main" id="{0F2219F4-1FA5-1F4B-BD74-14CB3B45A46E}"/>
              </a:ext>
            </a:extLst>
          </p:cNvPr>
          <p:cNvPicPr>
            <a:picLocks noChangeAspect="1"/>
          </p:cNvPicPr>
          <p:nvPr userDrawn="1"/>
        </p:nvPicPr>
        <p:blipFill>
          <a:blip r:embed="rId2"/>
          <a:srcRect/>
          <a:stretch/>
        </p:blipFill>
        <p:spPr>
          <a:xfrm>
            <a:off x="472868" y="6412434"/>
            <a:ext cx="1497466" cy="285488"/>
          </a:xfrm>
          <a:prstGeom prst="rect">
            <a:avLst/>
          </a:prstGeom>
        </p:spPr>
      </p:pic>
      <p:sp>
        <p:nvSpPr>
          <p:cNvPr id="10" name="Text Placeholder 6">
            <a:extLst>
              <a:ext uri="{FF2B5EF4-FFF2-40B4-BE49-F238E27FC236}">
                <a16:creationId xmlns:a16="http://schemas.microsoft.com/office/drawing/2014/main" id="{88FD6382-9987-AD42-A0B6-F99B6DBA11E4}"/>
              </a:ext>
            </a:extLst>
          </p:cNvPr>
          <p:cNvSpPr>
            <a:spLocks noGrp="1"/>
          </p:cNvSpPr>
          <p:nvPr>
            <p:ph type="body" sz="quarter" idx="19" hasCustomPrompt="1"/>
          </p:nvPr>
        </p:nvSpPr>
        <p:spPr>
          <a:xfrm>
            <a:off x="460496" y="6026150"/>
            <a:ext cx="5522763" cy="209550"/>
          </a:xfrm>
          <a:prstGeom prst="rect">
            <a:avLst/>
          </a:prstGeom>
        </p:spPr>
        <p:txBody>
          <a:bodyPr tIns="0" rIns="2560320">
            <a:noAutofit/>
          </a:bodyPr>
          <a:lstStyle>
            <a:lvl1pPr>
              <a:spcAft>
                <a:spcPts val="900"/>
              </a:spcAft>
              <a:defRPr sz="1000">
                <a:solidFill>
                  <a:schemeClr val="tx2"/>
                </a:solidFill>
              </a:defRPr>
            </a:lvl1pPr>
            <a:lvl2pPr>
              <a:spcAft>
                <a:spcPts val="900"/>
              </a:spcAft>
              <a:defRPr sz="1000" b="0">
                <a:solidFill>
                  <a:schemeClr val="tx2"/>
                </a:solidFill>
              </a:defRPr>
            </a:lvl2pPr>
            <a:lvl3pPr marL="0" indent="0">
              <a:spcAft>
                <a:spcPts val="900"/>
              </a:spcAft>
              <a:buFontTx/>
              <a:buNone/>
              <a:defRPr sz="1000">
                <a:solidFill>
                  <a:schemeClr val="tx2"/>
                </a:solidFill>
              </a:defRPr>
            </a:lvl3pPr>
            <a:lvl4pPr marL="0" indent="0">
              <a:spcAft>
                <a:spcPts val="900"/>
              </a:spcAft>
              <a:buFontTx/>
              <a:buNone/>
              <a:defRPr sz="1000">
                <a:solidFill>
                  <a:schemeClr val="tx2"/>
                </a:solidFill>
              </a:defRPr>
            </a:lvl4pPr>
            <a:lvl5pPr marL="22" indent="0">
              <a:spcAft>
                <a:spcPts val="900"/>
              </a:spcAft>
              <a:buFontTx/>
              <a:buNone/>
              <a:defRPr sz="1000">
                <a:solidFill>
                  <a:schemeClr val="tx2"/>
                </a:solidFill>
              </a:defRPr>
            </a:lvl5pPr>
            <a:lvl6pPr marL="0" indent="0">
              <a:spcAft>
                <a:spcPts val="900"/>
              </a:spcAft>
              <a:buFontTx/>
              <a:buNone/>
              <a:defRPr sz="1000">
                <a:solidFill>
                  <a:schemeClr val="tx2"/>
                </a:solidFill>
              </a:defRPr>
            </a:lvl6pPr>
            <a:lvl7pPr marL="0" indent="0">
              <a:spcAft>
                <a:spcPts val="900"/>
              </a:spcAft>
              <a:buFontTx/>
              <a:buNone/>
              <a:defRPr sz="1000">
                <a:solidFill>
                  <a:schemeClr val="tx2"/>
                </a:solidFill>
              </a:defRPr>
            </a:lvl7pPr>
            <a:lvl8pPr marL="0" indent="0">
              <a:spcAft>
                <a:spcPts val="900"/>
              </a:spcAft>
              <a:buFontTx/>
              <a:buNone/>
              <a:defRPr sz="1000">
                <a:solidFill>
                  <a:schemeClr val="tx2"/>
                </a:solidFill>
              </a:defRPr>
            </a:lvl8pPr>
            <a:lvl9pPr marL="0" indent="0">
              <a:spcAft>
                <a:spcPts val="900"/>
              </a:spcAft>
              <a:buFontTx/>
              <a:buNone/>
              <a:defRPr sz="100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334917180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_3_column">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460495" y="1565274"/>
            <a:ext cx="3607740" cy="4460876"/>
          </a:xfrm>
          <a:prstGeom prst="rect">
            <a:avLst/>
          </a:prstGeom>
        </p:spPr>
        <p:txBody>
          <a:bodyPr t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0B58796C-0900-9A45-8B99-F3286607B6A5}"/>
              </a:ext>
            </a:extLst>
          </p:cNvPr>
          <p:cNvSpPr>
            <a:spLocks noGrp="1"/>
          </p:cNvSpPr>
          <p:nvPr>
            <p:ph type="body" sz="quarter" idx="14"/>
          </p:nvPr>
        </p:nvSpPr>
        <p:spPr>
          <a:xfrm>
            <a:off x="4298482" y="1565274"/>
            <a:ext cx="3601388" cy="4460876"/>
          </a:xfrm>
          <a:prstGeom prst="rect">
            <a:avLst/>
          </a:prstGeom>
        </p:spPr>
        <p:txBody>
          <a:bodyPr t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B10CEEE-44F4-A94D-887C-4BA6F4BD9C52}"/>
              </a:ext>
            </a:extLst>
          </p:cNvPr>
          <p:cNvSpPr>
            <a:spLocks noGrp="1"/>
          </p:cNvSpPr>
          <p:nvPr>
            <p:ph type="body" sz="quarter" idx="15"/>
          </p:nvPr>
        </p:nvSpPr>
        <p:spPr>
          <a:xfrm>
            <a:off x="8130118" y="1565274"/>
            <a:ext cx="3596624" cy="4460876"/>
          </a:xfrm>
          <a:prstGeom prst="rect">
            <a:avLst/>
          </a:prstGeom>
        </p:spPr>
        <p:txBody>
          <a:bodyPr t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39941B34-2ABC-8743-A1B0-F7820104DF6A}"/>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BCE3536D-2915-5449-B38E-6C7E34FF6BC4}"/>
              </a:ext>
            </a:extLst>
          </p:cNvPr>
          <p:cNvSpPr>
            <a:spLocks noGrp="1"/>
          </p:cNvSpPr>
          <p:nvPr>
            <p:ph type="ftr" sz="quarter" idx="16"/>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378C7ADC-D6FA-FF4F-B56A-83A137D17296}"/>
              </a:ext>
            </a:extLst>
          </p:cNvPr>
          <p:cNvSpPr>
            <a:spLocks noGrp="1"/>
          </p:cNvSpPr>
          <p:nvPr>
            <p:ph type="sldNum" sz="quarter" idx="17"/>
          </p:nvPr>
        </p:nvSpPr>
        <p:spPr/>
        <p:txBody>
          <a:bodyPr/>
          <a:lstStyle/>
          <a:p>
            <a:pPr lvl="8"/>
            <a:fld id="{1E3D5677-3D20-0C46-8497-54D73E689044}" type="slidenum">
              <a:rPr lang="en-US"/>
              <a:pPr lvl="8"/>
              <a:t>‹#›</a:t>
            </a:fld>
            <a:endParaRPr lang="en-US"/>
          </a:p>
        </p:txBody>
      </p:sp>
      <p:pic>
        <p:nvPicPr>
          <p:cNvPr id="12" name="Picture 11">
            <a:extLst>
              <a:ext uri="{FF2B5EF4-FFF2-40B4-BE49-F238E27FC236}">
                <a16:creationId xmlns:a16="http://schemas.microsoft.com/office/drawing/2014/main" id="{A3D9A816-8860-4448-B961-A8AB4320C38A}"/>
              </a:ext>
            </a:extLst>
          </p:cNvPr>
          <p:cNvPicPr>
            <a:picLocks noChangeAspect="1"/>
          </p:cNvPicPr>
          <p:nvPr userDrawn="1"/>
        </p:nvPicPr>
        <p:blipFill>
          <a:blip r:embed="rId2"/>
          <a:srcRect/>
          <a:stretch/>
        </p:blipFill>
        <p:spPr>
          <a:xfrm>
            <a:off x="472868" y="6412434"/>
            <a:ext cx="1497466" cy="285488"/>
          </a:xfrm>
          <a:prstGeom prst="rect">
            <a:avLst/>
          </a:prstGeom>
        </p:spPr>
      </p:pic>
      <p:sp>
        <p:nvSpPr>
          <p:cNvPr id="13" name="Text Placeholder 6">
            <a:extLst>
              <a:ext uri="{FF2B5EF4-FFF2-40B4-BE49-F238E27FC236}">
                <a16:creationId xmlns:a16="http://schemas.microsoft.com/office/drawing/2014/main" id="{08B7C91C-6D62-514E-9084-FFFBBCE36888}"/>
              </a:ext>
            </a:extLst>
          </p:cNvPr>
          <p:cNvSpPr>
            <a:spLocks noGrp="1"/>
          </p:cNvSpPr>
          <p:nvPr>
            <p:ph type="body" sz="quarter" idx="19" hasCustomPrompt="1"/>
          </p:nvPr>
        </p:nvSpPr>
        <p:spPr>
          <a:xfrm>
            <a:off x="460495" y="6026150"/>
            <a:ext cx="11266247" cy="209550"/>
          </a:xfrm>
          <a:prstGeom prst="rect">
            <a:avLst/>
          </a:prstGeom>
        </p:spPr>
        <p:txBody>
          <a:bodyPr tIns="0" rIns="2560320">
            <a:noAutofit/>
          </a:bodyPr>
          <a:lstStyle>
            <a:lvl1pPr>
              <a:spcAft>
                <a:spcPts val="900"/>
              </a:spcAft>
              <a:defRPr sz="1000">
                <a:solidFill>
                  <a:schemeClr val="tx2"/>
                </a:solidFill>
              </a:defRPr>
            </a:lvl1pPr>
            <a:lvl2pPr>
              <a:spcAft>
                <a:spcPts val="900"/>
              </a:spcAft>
              <a:defRPr sz="1000" b="0">
                <a:solidFill>
                  <a:schemeClr val="tx2"/>
                </a:solidFill>
              </a:defRPr>
            </a:lvl2pPr>
            <a:lvl3pPr marL="0" indent="0">
              <a:spcAft>
                <a:spcPts val="900"/>
              </a:spcAft>
              <a:buFontTx/>
              <a:buNone/>
              <a:defRPr sz="1000">
                <a:solidFill>
                  <a:schemeClr val="tx2"/>
                </a:solidFill>
              </a:defRPr>
            </a:lvl3pPr>
            <a:lvl4pPr marL="0" indent="0">
              <a:spcAft>
                <a:spcPts val="900"/>
              </a:spcAft>
              <a:buFontTx/>
              <a:buNone/>
              <a:defRPr sz="1000">
                <a:solidFill>
                  <a:schemeClr val="tx2"/>
                </a:solidFill>
              </a:defRPr>
            </a:lvl4pPr>
            <a:lvl5pPr marL="22" indent="0">
              <a:spcAft>
                <a:spcPts val="900"/>
              </a:spcAft>
              <a:buFontTx/>
              <a:buNone/>
              <a:defRPr sz="1000">
                <a:solidFill>
                  <a:schemeClr val="tx2"/>
                </a:solidFill>
              </a:defRPr>
            </a:lvl5pPr>
            <a:lvl6pPr marL="0" indent="0">
              <a:spcAft>
                <a:spcPts val="900"/>
              </a:spcAft>
              <a:buFontTx/>
              <a:buNone/>
              <a:defRPr sz="1000">
                <a:solidFill>
                  <a:schemeClr val="tx2"/>
                </a:solidFill>
              </a:defRPr>
            </a:lvl6pPr>
            <a:lvl7pPr marL="0" indent="0">
              <a:spcAft>
                <a:spcPts val="900"/>
              </a:spcAft>
              <a:buFontTx/>
              <a:buNone/>
              <a:defRPr sz="1000">
                <a:solidFill>
                  <a:schemeClr val="tx2"/>
                </a:solidFill>
              </a:defRPr>
            </a:lvl7pPr>
            <a:lvl8pPr marL="0" indent="0">
              <a:spcAft>
                <a:spcPts val="900"/>
              </a:spcAft>
              <a:buFontTx/>
              <a:buNone/>
              <a:defRPr sz="1000">
                <a:solidFill>
                  <a:schemeClr val="tx2"/>
                </a:solidFill>
              </a:defRPr>
            </a:lvl8pPr>
            <a:lvl9pPr marL="0" indent="0">
              <a:spcAft>
                <a:spcPts val="900"/>
              </a:spcAft>
              <a:buFontTx/>
              <a:buNone/>
              <a:defRPr sz="100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33765645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ull_image_headline">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A613816-4C81-B643-BB57-8793025BDCD0}"/>
              </a:ext>
            </a:extLst>
          </p:cNvPr>
          <p:cNvSpPr>
            <a:spLocks noGrp="1"/>
          </p:cNvSpPr>
          <p:nvPr>
            <p:ph type="pic" sz="quarter" idx="14" hasCustomPrompt="1"/>
          </p:nvPr>
        </p:nvSpPr>
        <p:spPr>
          <a:xfrm>
            <a:off x="1" y="1565276"/>
            <a:ext cx="12192000" cy="4670425"/>
          </a:xfrm>
          <a:prstGeom prst="rect">
            <a:avLst/>
          </a:prstGeom>
          <a:solidFill>
            <a:schemeClr val="bg2"/>
          </a:solidFill>
        </p:spPr>
        <p:txBody>
          <a:bodyPr tIns="2560320"/>
          <a:lstStyle>
            <a:lvl1pPr algn="ctr">
              <a:defRPr/>
            </a:lvl1pPr>
          </a:lstStyle>
          <a:p>
            <a:r>
              <a:rPr lang="en-US"/>
              <a:t>click</a:t>
            </a:r>
          </a:p>
        </p:txBody>
      </p:sp>
      <p:sp>
        <p:nvSpPr>
          <p:cNvPr id="2" name="Title 1">
            <a:extLst>
              <a:ext uri="{FF2B5EF4-FFF2-40B4-BE49-F238E27FC236}">
                <a16:creationId xmlns:a16="http://schemas.microsoft.com/office/drawing/2014/main" id="{823588A2-6DC7-F544-BC62-67B9BBAF51B8}"/>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DF18FA52-93AF-3647-8BCD-E2708C28996C}"/>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6436DAE5-69C4-904C-8E82-99AB49AF26D5}"/>
              </a:ext>
            </a:extLst>
          </p:cNvPr>
          <p:cNvSpPr>
            <a:spLocks noGrp="1"/>
          </p:cNvSpPr>
          <p:nvPr>
            <p:ph type="sldNum" sz="quarter" idx="16"/>
          </p:nvPr>
        </p:nvSpPr>
        <p:spPr/>
        <p:txBody>
          <a:bodyPr/>
          <a:lstStyle/>
          <a:p>
            <a:pPr lvl="8"/>
            <a:fld id="{1E3D5677-3D20-0C46-8497-54D73E689044}" type="slidenum">
              <a:rPr lang="en-US"/>
              <a:pPr lvl="8"/>
              <a:t>‹#›</a:t>
            </a:fld>
            <a:endParaRPr lang="en-US"/>
          </a:p>
        </p:txBody>
      </p:sp>
      <p:pic>
        <p:nvPicPr>
          <p:cNvPr id="7" name="Picture 6">
            <a:extLst>
              <a:ext uri="{FF2B5EF4-FFF2-40B4-BE49-F238E27FC236}">
                <a16:creationId xmlns:a16="http://schemas.microsoft.com/office/drawing/2014/main" id="{287CDC3E-AEFF-D84C-B380-C06A705ED77D}"/>
              </a:ext>
            </a:extLst>
          </p:cNvPr>
          <p:cNvPicPr>
            <a:picLocks noChangeAspect="1"/>
          </p:cNvPicPr>
          <p:nvPr userDrawn="1"/>
        </p:nvPicPr>
        <p:blipFill>
          <a:blip r:embed="rId2"/>
          <a:srcRect/>
          <a:stretch/>
        </p:blipFill>
        <p:spPr>
          <a:xfrm>
            <a:off x="472868" y="6412434"/>
            <a:ext cx="1497466" cy="285488"/>
          </a:xfrm>
          <a:prstGeom prst="rect">
            <a:avLst/>
          </a:prstGeom>
        </p:spPr>
      </p:pic>
    </p:spTree>
    <p:extLst>
      <p:ext uri="{BB962C8B-B14F-4D97-AF65-F5344CB8AC3E}">
        <p14:creationId xmlns:p14="http://schemas.microsoft.com/office/powerpoint/2010/main" val="222398472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images_2">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A613816-4C81-B643-BB57-8793025BDCD0}"/>
              </a:ext>
            </a:extLst>
          </p:cNvPr>
          <p:cNvSpPr>
            <a:spLocks noGrp="1"/>
          </p:cNvSpPr>
          <p:nvPr>
            <p:ph type="pic" sz="quarter" idx="14" hasCustomPrompt="1"/>
          </p:nvPr>
        </p:nvSpPr>
        <p:spPr>
          <a:xfrm>
            <a:off x="460495" y="1565276"/>
            <a:ext cx="5522764" cy="4670425"/>
          </a:xfrm>
          <a:prstGeom prst="rect">
            <a:avLst/>
          </a:prstGeom>
          <a:solidFill>
            <a:schemeClr val="bg2"/>
          </a:solidFill>
        </p:spPr>
        <p:txBody>
          <a:bodyPr tIns="2560320"/>
          <a:lstStyle>
            <a:lvl1pPr algn="ctr">
              <a:defRPr/>
            </a:lvl1pPr>
          </a:lstStyle>
          <a:p>
            <a:r>
              <a:rPr lang="en-US"/>
              <a:t>click</a:t>
            </a:r>
          </a:p>
        </p:txBody>
      </p:sp>
      <p:sp>
        <p:nvSpPr>
          <p:cNvPr id="2" name="Title 1">
            <a:extLst>
              <a:ext uri="{FF2B5EF4-FFF2-40B4-BE49-F238E27FC236}">
                <a16:creationId xmlns:a16="http://schemas.microsoft.com/office/drawing/2014/main" id="{823588A2-6DC7-F544-BC62-67B9BBAF51B8}"/>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DF18FA52-93AF-3647-8BCD-E2708C28996C}"/>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6436DAE5-69C4-904C-8E82-99AB49AF26D5}"/>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7" name="Picture Placeholder 9">
            <a:extLst>
              <a:ext uri="{FF2B5EF4-FFF2-40B4-BE49-F238E27FC236}">
                <a16:creationId xmlns:a16="http://schemas.microsoft.com/office/drawing/2014/main" id="{1A70471A-2483-834A-B4BF-95CCD4F1DDD8}"/>
              </a:ext>
            </a:extLst>
          </p:cNvPr>
          <p:cNvSpPr>
            <a:spLocks noGrp="1"/>
          </p:cNvSpPr>
          <p:nvPr>
            <p:ph type="pic" sz="quarter" idx="17" hasCustomPrompt="1"/>
          </p:nvPr>
        </p:nvSpPr>
        <p:spPr>
          <a:xfrm>
            <a:off x="6208742" y="1565276"/>
            <a:ext cx="5519585" cy="4670425"/>
          </a:xfrm>
          <a:prstGeom prst="rect">
            <a:avLst/>
          </a:prstGeom>
          <a:solidFill>
            <a:schemeClr val="bg2"/>
          </a:solidFill>
        </p:spPr>
        <p:txBody>
          <a:bodyPr tIns="2560320"/>
          <a:lstStyle>
            <a:lvl1pPr algn="ctr">
              <a:defRPr/>
            </a:lvl1pPr>
          </a:lstStyle>
          <a:p>
            <a:r>
              <a:rPr lang="en-US"/>
              <a:t>click</a:t>
            </a:r>
          </a:p>
        </p:txBody>
      </p:sp>
      <p:pic>
        <p:nvPicPr>
          <p:cNvPr id="8" name="Picture 7">
            <a:extLst>
              <a:ext uri="{FF2B5EF4-FFF2-40B4-BE49-F238E27FC236}">
                <a16:creationId xmlns:a16="http://schemas.microsoft.com/office/drawing/2014/main" id="{9C37716F-CBF0-6B4A-95C1-AFC870CA0585}"/>
              </a:ext>
            </a:extLst>
          </p:cNvPr>
          <p:cNvPicPr>
            <a:picLocks noChangeAspect="1"/>
          </p:cNvPicPr>
          <p:nvPr userDrawn="1"/>
        </p:nvPicPr>
        <p:blipFill>
          <a:blip r:embed="rId2"/>
          <a:srcRect/>
          <a:stretch/>
        </p:blipFill>
        <p:spPr>
          <a:xfrm>
            <a:off x="472868" y="6412434"/>
            <a:ext cx="1497466" cy="285488"/>
          </a:xfrm>
          <a:prstGeom prst="rect">
            <a:avLst/>
          </a:prstGeom>
        </p:spPr>
      </p:pic>
    </p:spTree>
    <p:extLst>
      <p:ext uri="{BB962C8B-B14F-4D97-AF65-F5344CB8AC3E}">
        <p14:creationId xmlns:p14="http://schemas.microsoft.com/office/powerpoint/2010/main" val="132579799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images_3">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A613816-4C81-B643-BB57-8793025BDCD0}"/>
              </a:ext>
            </a:extLst>
          </p:cNvPr>
          <p:cNvSpPr>
            <a:spLocks noGrp="1"/>
          </p:cNvSpPr>
          <p:nvPr>
            <p:ph type="pic" sz="quarter" idx="14" hasCustomPrompt="1"/>
          </p:nvPr>
        </p:nvSpPr>
        <p:spPr>
          <a:xfrm>
            <a:off x="472868" y="1565276"/>
            <a:ext cx="3595366" cy="4670425"/>
          </a:xfrm>
          <a:prstGeom prst="rect">
            <a:avLst/>
          </a:prstGeom>
          <a:solidFill>
            <a:schemeClr val="bg2"/>
          </a:solidFill>
        </p:spPr>
        <p:txBody>
          <a:bodyPr tIns="2560320"/>
          <a:lstStyle>
            <a:lvl1pPr algn="ctr">
              <a:defRPr/>
            </a:lvl1pPr>
          </a:lstStyle>
          <a:p>
            <a:r>
              <a:rPr lang="en-US"/>
              <a:t>click</a:t>
            </a:r>
          </a:p>
        </p:txBody>
      </p:sp>
      <p:sp>
        <p:nvSpPr>
          <p:cNvPr id="2" name="Title 1">
            <a:extLst>
              <a:ext uri="{FF2B5EF4-FFF2-40B4-BE49-F238E27FC236}">
                <a16:creationId xmlns:a16="http://schemas.microsoft.com/office/drawing/2014/main" id="{823588A2-6DC7-F544-BC62-67B9BBAF51B8}"/>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DF18FA52-93AF-3647-8BCD-E2708C28996C}"/>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6436DAE5-69C4-904C-8E82-99AB49AF26D5}"/>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7" name="Picture Placeholder 9">
            <a:extLst>
              <a:ext uri="{FF2B5EF4-FFF2-40B4-BE49-F238E27FC236}">
                <a16:creationId xmlns:a16="http://schemas.microsoft.com/office/drawing/2014/main" id="{385124E6-D0F8-E744-B48A-D494C141D162}"/>
              </a:ext>
            </a:extLst>
          </p:cNvPr>
          <p:cNvSpPr>
            <a:spLocks noGrp="1"/>
          </p:cNvSpPr>
          <p:nvPr>
            <p:ph type="pic" sz="quarter" idx="17" hasCustomPrompt="1"/>
          </p:nvPr>
        </p:nvSpPr>
        <p:spPr>
          <a:xfrm>
            <a:off x="4297521" y="1565276"/>
            <a:ext cx="3595366" cy="4670425"/>
          </a:xfrm>
          <a:prstGeom prst="rect">
            <a:avLst/>
          </a:prstGeom>
          <a:solidFill>
            <a:schemeClr val="bg2"/>
          </a:solidFill>
        </p:spPr>
        <p:txBody>
          <a:bodyPr tIns="2560320"/>
          <a:lstStyle>
            <a:lvl1pPr algn="ctr">
              <a:defRPr/>
            </a:lvl1pPr>
          </a:lstStyle>
          <a:p>
            <a:r>
              <a:rPr lang="en-US"/>
              <a:t>click</a:t>
            </a:r>
          </a:p>
        </p:txBody>
      </p:sp>
      <p:sp>
        <p:nvSpPr>
          <p:cNvPr id="8" name="Picture Placeholder 9">
            <a:extLst>
              <a:ext uri="{FF2B5EF4-FFF2-40B4-BE49-F238E27FC236}">
                <a16:creationId xmlns:a16="http://schemas.microsoft.com/office/drawing/2014/main" id="{6D8DB38B-B21C-F94B-A5B0-E4433CE38840}"/>
              </a:ext>
            </a:extLst>
          </p:cNvPr>
          <p:cNvSpPr>
            <a:spLocks noGrp="1"/>
          </p:cNvSpPr>
          <p:nvPr>
            <p:ph type="pic" sz="quarter" idx="18" hasCustomPrompt="1"/>
          </p:nvPr>
        </p:nvSpPr>
        <p:spPr>
          <a:xfrm>
            <a:off x="8132961" y="1565276"/>
            <a:ext cx="3595366" cy="4670425"/>
          </a:xfrm>
          <a:prstGeom prst="rect">
            <a:avLst/>
          </a:prstGeom>
          <a:solidFill>
            <a:schemeClr val="bg2"/>
          </a:solidFill>
        </p:spPr>
        <p:txBody>
          <a:bodyPr tIns="2560320"/>
          <a:lstStyle>
            <a:lvl1pPr algn="ctr">
              <a:defRPr/>
            </a:lvl1pPr>
          </a:lstStyle>
          <a:p>
            <a:r>
              <a:rPr lang="en-US"/>
              <a:t>click</a:t>
            </a:r>
          </a:p>
        </p:txBody>
      </p:sp>
      <p:pic>
        <p:nvPicPr>
          <p:cNvPr id="9" name="Picture 8">
            <a:extLst>
              <a:ext uri="{FF2B5EF4-FFF2-40B4-BE49-F238E27FC236}">
                <a16:creationId xmlns:a16="http://schemas.microsoft.com/office/drawing/2014/main" id="{6BA90363-822A-4646-9C56-179327AD3E7F}"/>
              </a:ext>
            </a:extLst>
          </p:cNvPr>
          <p:cNvPicPr>
            <a:picLocks noChangeAspect="1"/>
          </p:cNvPicPr>
          <p:nvPr userDrawn="1"/>
        </p:nvPicPr>
        <p:blipFill>
          <a:blip r:embed="rId2"/>
          <a:srcRect/>
          <a:stretch/>
        </p:blipFill>
        <p:spPr>
          <a:xfrm>
            <a:off x="472868" y="6412434"/>
            <a:ext cx="1497466" cy="285488"/>
          </a:xfrm>
          <a:prstGeom prst="rect">
            <a:avLst/>
          </a:prstGeom>
        </p:spPr>
      </p:pic>
    </p:spTree>
    <p:extLst>
      <p:ext uri="{BB962C8B-B14F-4D97-AF65-F5344CB8AC3E}">
        <p14:creationId xmlns:p14="http://schemas.microsoft.com/office/powerpoint/2010/main" val="41689829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85034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images_6">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A613816-4C81-B643-BB57-8793025BDCD0}"/>
              </a:ext>
            </a:extLst>
          </p:cNvPr>
          <p:cNvSpPr>
            <a:spLocks noGrp="1"/>
          </p:cNvSpPr>
          <p:nvPr>
            <p:ph type="pic" sz="quarter" idx="14" hasCustomPrompt="1"/>
          </p:nvPr>
        </p:nvSpPr>
        <p:spPr>
          <a:xfrm>
            <a:off x="462083" y="1565277"/>
            <a:ext cx="3606152" cy="2222953"/>
          </a:xfrm>
          <a:prstGeom prst="rect">
            <a:avLst/>
          </a:prstGeom>
          <a:solidFill>
            <a:schemeClr val="bg2"/>
          </a:solidFill>
        </p:spPr>
        <p:txBody>
          <a:bodyPr tIns="1463040"/>
          <a:lstStyle>
            <a:lvl1pPr algn="ctr">
              <a:defRPr/>
            </a:lvl1pPr>
          </a:lstStyle>
          <a:p>
            <a:r>
              <a:rPr lang="en-US"/>
              <a:t>click</a:t>
            </a:r>
          </a:p>
        </p:txBody>
      </p:sp>
      <p:sp>
        <p:nvSpPr>
          <p:cNvPr id="2" name="Title 1">
            <a:extLst>
              <a:ext uri="{FF2B5EF4-FFF2-40B4-BE49-F238E27FC236}">
                <a16:creationId xmlns:a16="http://schemas.microsoft.com/office/drawing/2014/main" id="{823588A2-6DC7-F544-BC62-67B9BBAF51B8}"/>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DF18FA52-93AF-3647-8BCD-E2708C28996C}"/>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6436DAE5-69C4-904C-8E82-99AB49AF26D5}"/>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7" name="Picture Placeholder 9">
            <a:extLst>
              <a:ext uri="{FF2B5EF4-FFF2-40B4-BE49-F238E27FC236}">
                <a16:creationId xmlns:a16="http://schemas.microsoft.com/office/drawing/2014/main" id="{AE2D3C67-CB50-4444-AC96-54ECF13E9C8B}"/>
              </a:ext>
            </a:extLst>
          </p:cNvPr>
          <p:cNvSpPr>
            <a:spLocks noGrp="1"/>
          </p:cNvSpPr>
          <p:nvPr>
            <p:ph type="pic" sz="quarter" idx="17" hasCustomPrompt="1"/>
          </p:nvPr>
        </p:nvSpPr>
        <p:spPr>
          <a:xfrm>
            <a:off x="4292128" y="1565277"/>
            <a:ext cx="3606152" cy="2222953"/>
          </a:xfrm>
          <a:prstGeom prst="rect">
            <a:avLst/>
          </a:prstGeom>
          <a:solidFill>
            <a:schemeClr val="bg2"/>
          </a:solidFill>
        </p:spPr>
        <p:txBody>
          <a:bodyPr tIns="1463040"/>
          <a:lstStyle>
            <a:lvl1pPr algn="ctr">
              <a:defRPr/>
            </a:lvl1pPr>
          </a:lstStyle>
          <a:p>
            <a:r>
              <a:rPr lang="en-US"/>
              <a:t>click</a:t>
            </a:r>
          </a:p>
        </p:txBody>
      </p:sp>
      <p:sp>
        <p:nvSpPr>
          <p:cNvPr id="8" name="Picture Placeholder 9">
            <a:extLst>
              <a:ext uri="{FF2B5EF4-FFF2-40B4-BE49-F238E27FC236}">
                <a16:creationId xmlns:a16="http://schemas.microsoft.com/office/drawing/2014/main" id="{28E25CCF-07B7-A64E-83A7-2424DA426250}"/>
              </a:ext>
            </a:extLst>
          </p:cNvPr>
          <p:cNvSpPr>
            <a:spLocks noGrp="1"/>
          </p:cNvSpPr>
          <p:nvPr>
            <p:ph type="pic" sz="quarter" idx="18" hasCustomPrompt="1"/>
          </p:nvPr>
        </p:nvSpPr>
        <p:spPr>
          <a:xfrm>
            <a:off x="8125355" y="1565277"/>
            <a:ext cx="3606152" cy="2222953"/>
          </a:xfrm>
          <a:prstGeom prst="rect">
            <a:avLst/>
          </a:prstGeom>
          <a:solidFill>
            <a:schemeClr val="bg2"/>
          </a:solidFill>
        </p:spPr>
        <p:txBody>
          <a:bodyPr tIns="1463040"/>
          <a:lstStyle>
            <a:lvl1pPr algn="ctr">
              <a:defRPr/>
            </a:lvl1pPr>
          </a:lstStyle>
          <a:p>
            <a:r>
              <a:rPr lang="en-US"/>
              <a:t>click</a:t>
            </a:r>
          </a:p>
        </p:txBody>
      </p:sp>
      <p:sp>
        <p:nvSpPr>
          <p:cNvPr id="17" name="Picture Placeholder 9">
            <a:extLst>
              <a:ext uri="{FF2B5EF4-FFF2-40B4-BE49-F238E27FC236}">
                <a16:creationId xmlns:a16="http://schemas.microsoft.com/office/drawing/2014/main" id="{35C026E3-1BC8-C24D-A450-AC969ABE6473}"/>
              </a:ext>
            </a:extLst>
          </p:cNvPr>
          <p:cNvSpPr>
            <a:spLocks noGrp="1"/>
          </p:cNvSpPr>
          <p:nvPr>
            <p:ph type="pic" sz="quarter" idx="19" hasCustomPrompt="1"/>
          </p:nvPr>
        </p:nvSpPr>
        <p:spPr>
          <a:xfrm>
            <a:off x="462083" y="4018192"/>
            <a:ext cx="3606152" cy="2222953"/>
          </a:xfrm>
          <a:prstGeom prst="rect">
            <a:avLst/>
          </a:prstGeom>
          <a:solidFill>
            <a:schemeClr val="bg2"/>
          </a:solidFill>
        </p:spPr>
        <p:txBody>
          <a:bodyPr tIns="1463040"/>
          <a:lstStyle>
            <a:lvl1pPr algn="ctr">
              <a:defRPr/>
            </a:lvl1pPr>
          </a:lstStyle>
          <a:p>
            <a:r>
              <a:rPr lang="en-US"/>
              <a:t>click</a:t>
            </a:r>
          </a:p>
        </p:txBody>
      </p:sp>
      <p:sp>
        <p:nvSpPr>
          <p:cNvPr id="18" name="Picture Placeholder 9">
            <a:extLst>
              <a:ext uri="{FF2B5EF4-FFF2-40B4-BE49-F238E27FC236}">
                <a16:creationId xmlns:a16="http://schemas.microsoft.com/office/drawing/2014/main" id="{A785BD7F-3209-CB4A-92CB-453DC13D1433}"/>
              </a:ext>
            </a:extLst>
          </p:cNvPr>
          <p:cNvSpPr>
            <a:spLocks noGrp="1"/>
          </p:cNvSpPr>
          <p:nvPr>
            <p:ph type="pic" sz="quarter" idx="20" hasCustomPrompt="1"/>
          </p:nvPr>
        </p:nvSpPr>
        <p:spPr>
          <a:xfrm>
            <a:off x="4292128" y="4018192"/>
            <a:ext cx="3606152" cy="2222953"/>
          </a:xfrm>
          <a:prstGeom prst="rect">
            <a:avLst/>
          </a:prstGeom>
          <a:solidFill>
            <a:schemeClr val="bg2"/>
          </a:solidFill>
        </p:spPr>
        <p:txBody>
          <a:bodyPr tIns="1463040"/>
          <a:lstStyle>
            <a:lvl1pPr algn="ctr">
              <a:defRPr/>
            </a:lvl1pPr>
          </a:lstStyle>
          <a:p>
            <a:r>
              <a:rPr lang="en-US"/>
              <a:t>click</a:t>
            </a:r>
          </a:p>
        </p:txBody>
      </p:sp>
      <p:sp>
        <p:nvSpPr>
          <p:cNvPr id="19" name="Picture Placeholder 9">
            <a:extLst>
              <a:ext uri="{FF2B5EF4-FFF2-40B4-BE49-F238E27FC236}">
                <a16:creationId xmlns:a16="http://schemas.microsoft.com/office/drawing/2014/main" id="{67A901A0-E124-4641-8B3C-E8E4439FBACA}"/>
              </a:ext>
            </a:extLst>
          </p:cNvPr>
          <p:cNvSpPr>
            <a:spLocks noGrp="1"/>
          </p:cNvSpPr>
          <p:nvPr>
            <p:ph type="pic" sz="quarter" idx="21" hasCustomPrompt="1"/>
          </p:nvPr>
        </p:nvSpPr>
        <p:spPr>
          <a:xfrm>
            <a:off x="8125355" y="4018192"/>
            <a:ext cx="3606152" cy="2222953"/>
          </a:xfrm>
          <a:prstGeom prst="rect">
            <a:avLst/>
          </a:prstGeom>
          <a:solidFill>
            <a:schemeClr val="bg2"/>
          </a:solidFill>
        </p:spPr>
        <p:txBody>
          <a:bodyPr tIns="1463040"/>
          <a:lstStyle>
            <a:lvl1pPr algn="ctr">
              <a:defRPr/>
            </a:lvl1pPr>
          </a:lstStyle>
          <a:p>
            <a:r>
              <a:rPr lang="en-US"/>
              <a:t>click</a:t>
            </a:r>
          </a:p>
        </p:txBody>
      </p:sp>
      <p:pic>
        <p:nvPicPr>
          <p:cNvPr id="12" name="Picture 11">
            <a:extLst>
              <a:ext uri="{FF2B5EF4-FFF2-40B4-BE49-F238E27FC236}">
                <a16:creationId xmlns:a16="http://schemas.microsoft.com/office/drawing/2014/main" id="{2592BA57-38CF-8549-8F46-F016D52EFEE3}"/>
              </a:ext>
            </a:extLst>
          </p:cNvPr>
          <p:cNvPicPr>
            <a:picLocks noChangeAspect="1"/>
          </p:cNvPicPr>
          <p:nvPr userDrawn="1"/>
        </p:nvPicPr>
        <p:blipFill>
          <a:blip r:embed="rId2"/>
          <a:srcRect/>
          <a:stretch/>
        </p:blipFill>
        <p:spPr>
          <a:xfrm>
            <a:off x="472868" y="6412434"/>
            <a:ext cx="1497466" cy="285488"/>
          </a:xfrm>
          <a:prstGeom prst="rect">
            <a:avLst/>
          </a:prstGeom>
        </p:spPr>
      </p:pic>
    </p:spTree>
    <p:extLst>
      <p:ext uri="{BB962C8B-B14F-4D97-AF65-F5344CB8AC3E}">
        <p14:creationId xmlns:p14="http://schemas.microsoft.com/office/powerpoint/2010/main" val="204777750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_headline_only">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210939-2A1A-454B-A3D3-B5845856E4A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0EE17F03-CAA6-274E-B747-6A10AA01795F}"/>
              </a:ext>
            </a:extLst>
          </p:cNvPr>
          <p:cNvSpPr>
            <a:spLocks noGrp="1"/>
          </p:cNvSpPr>
          <p:nvPr>
            <p:ph type="ftr" sz="quarter" idx="10"/>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DFA6CD19-27E7-6640-8910-B592B689E475}"/>
              </a:ext>
            </a:extLst>
          </p:cNvPr>
          <p:cNvSpPr>
            <a:spLocks noGrp="1"/>
          </p:cNvSpPr>
          <p:nvPr>
            <p:ph type="sldNum" sz="quarter" idx="11"/>
          </p:nvPr>
        </p:nvSpPr>
        <p:spPr/>
        <p:txBody>
          <a:bodyPr/>
          <a:lstStyle/>
          <a:p>
            <a:pPr lvl="8"/>
            <a:fld id="{1E3D5677-3D20-0C46-8497-54D73E689044}" type="slidenum">
              <a:rPr lang="en-US"/>
              <a:pPr lvl="8"/>
              <a:t>‹#›</a:t>
            </a:fld>
            <a:endParaRPr lang="en-US"/>
          </a:p>
        </p:txBody>
      </p:sp>
      <p:pic>
        <p:nvPicPr>
          <p:cNvPr id="6" name="Picture 5">
            <a:extLst>
              <a:ext uri="{FF2B5EF4-FFF2-40B4-BE49-F238E27FC236}">
                <a16:creationId xmlns:a16="http://schemas.microsoft.com/office/drawing/2014/main" id="{0BA67DD1-C81D-E44B-ABB6-FCA1179278F7}"/>
              </a:ext>
            </a:extLst>
          </p:cNvPr>
          <p:cNvPicPr>
            <a:picLocks noChangeAspect="1"/>
          </p:cNvPicPr>
          <p:nvPr userDrawn="1"/>
        </p:nvPicPr>
        <p:blipFill>
          <a:blip r:embed="rId2"/>
          <a:srcRect/>
          <a:stretch/>
        </p:blipFill>
        <p:spPr>
          <a:xfrm>
            <a:off x="472868" y="6412434"/>
            <a:ext cx="1497466" cy="285488"/>
          </a:xfrm>
          <a:prstGeom prst="rect">
            <a:avLst/>
          </a:prstGeom>
        </p:spPr>
      </p:pic>
      <p:sp>
        <p:nvSpPr>
          <p:cNvPr id="7" name="Text Placeholder 6">
            <a:extLst>
              <a:ext uri="{FF2B5EF4-FFF2-40B4-BE49-F238E27FC236}">
                <a16:creationId xmlns:a16="http://schemas.microsoft.com/office/drawing/2014/main" id="{68C3A12C-4C53-C643-B254-4134FB831E23}"/>
              </a:ext>
            </a:extLst>
          </p:cNvPr>
          <p:cNvSpPr>
            <a:spLocks noGrp="1"/>
          </p:cNvSpPr>
          <p:nvPr>
            <p:ph type="body" sz="quarter" idx="19" hasCustomPrompt="1"/>
          </p:nvPr>
        </p:nvSpPr>
        <p:spPr>
          <a:xfrm>
            <a:off x="460495" y="6026150"/>
            <a:ext cx="11266247" cy="209550"/>
          </a:xfrm>
          <a:prstGeom prst="rect">
            <a:avLst/>
          </a:prstGeom>
        </p:spPr>
        <p:txBody>
          <a:bodyPr tIns="0" rIns="2560320">
            <a:noAutofit/>
          </a:bodyPr>
          <a:lstStyle>
            <a:lvl1pPr>
              <a:spcAft>
                <a:spcPts val="900"/>
              </a:spcAft>
              <a:defRPr sz="1000">
                <a:solidFill>
                  <a:schemeClr val="tx2"/>
                </a:solidFill>
              </a:defRPr>
            </a:lvl1pPr>
            <a:lvl2pPr>
              <a:spcAft>
                <a:spcPts val="900"/>
              </a:spcAft>
              <a:defRPr sz="1000" b="0">
                <a:solidFill>
                  <a:schemeClr val="tx2"/>
                </a:solidFill>
              </a:defRPr>
            </a:lvl2pPr>
            <a:lvl3pPr marL="0" indent="0">
              <a:spcAft>
                <a:spcPts val="900"/>
              </a:spcAft>
              <a:buFontTx/>
              <a:buNone/>
              <a:defRPr sz="1000">
                <a:solidFill>
                  <a:schemeClr val="tx2"/>
                </a:solidFill>
              </a:defRPr>
            </a:lvl3pPr>
            <a:lvl4pPr marL="0" indent="0">
              <a:spcAft>
                <a:spcPts val="900"/>
              </a:spcAft>
              <a:buFontTx/>
              <a:buNone/>
              <a:defRPr sz="1000">
                <a:solidFill>
                  <a:schemeClr val="tx2"/>
                </a:solidFill>
              </a:defRPr>
            </a:lvl4pPr>
            <a:lvl5pPr marL="22" indent="0">
              <a:spcAft>
                <a:spcPts val="900"/>
              </a:spcAft>
              <a:buFontTx/>
              <a:buNone/>
              <a:defRPr sz="1000">
                <a:solidFill>
                  <a:schemeClr val="tx2"/>
                </a:solidFill>
              </a:defRPr>
            </a:lvl5pPr>
            <a:lvl6pPr marL="0" indent="0">
              <a:spcAft>
                <a:spcPts val="900"/>
              </a:spcAft>
              <a:buFontTx/>
              <a:buNone/>
              <a:defRPr sz="1000">
                <a:solidFill>
                  <a:schemeClr val="tx2"/>
                </a:solidFill>
              </a:defRPr>
            </a:lvl6pPr>
            <a:lvl7pPr marL="0" indent="0">
              <a:spcAft>
                <a:spcPts val="900"/>
              </a:spcAft>
              <a:buFontTx/>
              <a:buNone/>
              <a:defRPr sz="1000">
                <a:solidFill>
                  <a:schemeClr val="tx2"/>
                </a:solidFill>
              </a:defRPr>
            </a:lvl7pPr>
            <a:lvl8pPr marL="0" indent="0">
              <a:spcAft>
                <a:spcPts val="900"/>
              </a:spcAft>
              <a:buFontTx/>
              <a:buNone/>
              <a:defRPr sz="1000">
                <a:solidFill>
                  <a:schemeClr val="tx2"/>
                </a:solidFill>
              </a:defRPr>
            </a:lvl8pPr>
            <a:lvl9pPr marL="0" indent="0">
              <a:spcAft>
                <a:spcPts val="900"/>
              </a:spcAft>
              <a:buFontTx/>
              <a:buNone/>
              <a:defRPr sz="100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93533940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_blank">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42008E4-D386-B847-8C40-B238AEF1680B}"/>
              </a:ext>
            </a:extLst>
          </p:cNvPr>
          <p:cNvSpPr>
            <a:spLocks noGrp="1"/>
          </p:cNvSpPr>
          <p:nvPr>
            <p:ph type="ftr" sz="quarter" idx="10"/>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06D2486B-E4E0-864C-AD6A-844984E8A92F}"/>
              </a:ext>
            </a:extLst>
          </p:cNvPr>
          <p:cNvSpPr>
            <a:spLocks noGrp="1"/>
          </p:cNvSpPr>
          <p:nvPr>
            <p:ph type="sldNum" sz="quarter" idx="11"/>
          </p:nvPr>
        </p:nvSpPr>
        <p:spPr/>
        <p:txBody>
          <a:bodyPr/>
          <a:lstStyle/>
          <a:p>
            <a:pPr lvl="8"/>
            <a:fld id="{1E3D5677-3D20-0C46-8497-54D73E689044}" type="slidenum">
              <a:rPr lang="en-US"/>
              <a:pPr lvl="8"/>
              <a:t>‹#›</a:t>
            </a:fld>
            <a:endParaRPr lang="en-US"/>
          </a:p>
        </p:txBody>
      </p:sp>
      <p:pic>
        <p:nvPicPr>
          <p:cNvPr id="6" name="Picture 5">
            <a:extLst>
              <a:ext uri="{FF2B5EF4-FFF2-40B4-BE49-F238E27FC236}">
                <a16:creationId xmlns:a16="http://schemas.microsoft.com/office/drawing/2014/main" id="{C24D84B2-13D9-5447-A260-C7C343880A08}"/>
              </a:ext>
            </a:extLst>
          </p:cNvPr>
          <p:cNvPicPr>
            <a:picLocks noChangeAspect="1"/>
          </p:cNvPicPr>
          <p:nvPr userDrawn="1"/>
        </p:nvPicPr>
        <p:blipFill>
          <a:blip r:embed="rId2"/>
          <a:srcRect/>
          <a:stretch/>
        </p:blipFill>
        <p:spPr>
          <a:xfrm>
            <a:off x="472868" y="6412434"/>
            <a:ext cx="1497466" cy="285488"/>
          </a:xfrm>
          <a:prstGeom prst="rect">
            <a:avLst/>
          </a:prstGeom>
        </p:spPr>
      </p:pic>
      <p:sp>
        <p:nvSpPr>
          <p:cNvPr id="7" name="Text Placeholder 6">
            <a:extLst>
              <a:ext uri="{FF2B5EF4-FFF2-40B4-BE49-F238E27FC236}">
                <a16:creationId xmlns:a16="http://schemas.microsoft.com/office/drawing/2014/main" id="{5D9251CD-879C-8D48-9F0E-C31C0F2CC42F}"/>
              </a:ext>
            </a:extLst>
          </p:cNvPr>
          <p:cNvSpPr>
            <a:spLocks noGrp="1"/>
          </p:cNvSpPr>
          <p:nvPr>
            <p:ph type="body" sz="quarter" idx="19" hasCustomPrompt="1"/>
          </p:nvPr>
        </p:nvSpPr>
        <p:spPr>
          <a:xfrm>
            <a:off x="460495" y="6026150"/>
            <a:ext cx="11266247" cy="209550"/>
          </a:xfrm>
          <a:prstGeom prst="rect">
            <a:avLst/>
          </a:prstGeom>
        </p:spPr>
        <p:txBody>
          <a:bodyPr tIns="0" rIns="2560320">
            <a:noAutofit/>
          </a:bodyPr>
          <a:lstStyle>
            <a:lvl1pPr>
              <a:spcAft>
                <a:spcPts val="900"/>
              </a:spcAft>
              <a:defRPr sz="1000">
                <a:solidFill>
                  <a:schemeClr val="tx2"/>
                </a:solidFill>
              </a:defRPr>
            </a:lvl1pPr>
            <a:lvl2pPr>
              <a:spcAft>
                <a:spcPts val="900"/>
              </a:spcAft>
              <a:defRPr sz="1000" b="0">
                <a:solidFill>
                  <a:schemeClr val="tx2"/>
                </a:solidFill>
              </a:defRPr>
            </a:lvl2pPr>
            <a:lvl3pPr marL="0" indent="0">
              <a:spcAft>
                <a:spcPts val="900"/>
              </a:spcAft>
              <a:buFontTx/>
              <a:buNone/>
              <a:defRPr sz="1000">
                <a:solidFill>
                  <a:schemeClr val="tx2"/>
                </a:solidFill>
              </a:defRPr>
            </a:lvl3pPr>
            <a:lvl4pPr marL="0" indent="0">
              <a:spcAft>
                <a:spcPts val="900"/>
              </a:spcAft>
              <a:buFontTx/>
              <a:buNone/>
              <a:defRPr sz="1000">
                <a:solidFill>
                  <a:schemeClr val="tx2"/>
                </a:solidFill>
              </a:defRPr>
            </a:lvl4pPr>
            <a:lvl5pPr marL="22" indent="0">
              <a:spcAft>
                <a:spcPts val="900"/>
              </a:spcAft>
              <a:buFontTx/>
              <a:buNone/>
              <a:defRPr sz="1000">
                <a:solidFill>
                  <a:schemeClr val="tx2"/>
                </a:solidFill>
              </a:defRPr>
            </a:lvl5pPr>
            <a:lvl6pPr marL="0" indent="0">
              <a:spcAft>
                <a:spcPts val="900"/>
              </a:spcAft>
              <a:buFontTx/>
              <a:buNone/>
              <a:defRPr sz="1000">
                <a:solidFill>
                  <a:schemeClr val="tx2"/>
                </a:solidFill>
              </a:defRPr>
            </a:lvl6pPr>
            <a:lvl7pPr marL="0" indent="0">
              <a:spcAft>
                <a:spcPts val="900"/>
              </a:spcAft>
              <a:buFontTx/>
              <a:buNone/>
              <a:defRPr sz="1000">
                <a:solidFill>
                  <a:schemeClr val="tx2"/>
                </a:solidFill>
              </a:defRPr>
            </a:lvl7pPr>
            <a:lvl8pPr marL="0" indent="0">
              <a:spcAft>
                <a:spcPts val="900"/>
              </a:spcAft>
              <a:buFontTx/>
              <a:buNone/>
              <a:defRPr sz="1000">
                <a:solidFill>
                  <a:schemeClr val="tx2"/>
                </a:solidFill>
              </a:defRPr>
            </a:lvl8pPr>
            <a:lvl9pPr marL="0" indent="0">
              <a:spcAft>
                <a:spcPts val="900"/>
              </a:spcAft>
              <a:buFontTx/>
              <a:buNone/>
              <a:defRPr sz="100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228585792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_video">
    <p:bg>
      <p:bgPr>
        <a:solidFill>
          <a:schemeClr val="tx1"/>
        </a:solidFill>
        <a:effectLst/>
      </p:bgPr>
    </p:bg>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5F3915E5-4626-8746-AF40-A01779F84E20}"/>
              </a:ext>
            </a:extLst>
          </p:cNvPr>
          <p:cNvSpPr>
            <a:spLocks noGrp="1"/>
          </p:cNvSpPr>
          <p:nvPr>
            <p:ph type="media" sz="quarter" idx="10"/>
          </p:nvPr>
        </p:nvSpPr>
        <p:spPr>
          <a:xfrm>
            <a:off x="7" y="0"/>
            <a:ext cx="12191999" cy="6858000"/>
          </a:xfrm>
          <a:prstGeom prst="rect">
            <a:avLst/>
          </a:prstGeom>
          <a:solidFill>
            <a:schemeClr val="tx1"/>
          </a:solidFill>
        </p:spPr>
        <p:txBody>
          <a:bodyPr tIns="2651760"/>
          <a:lstStyle>
            <a:lvl1pPr algn="ctr">
              <a:defRPr>
                <a:solidFill>
                  <a:schemeClr val="bg1"/>
                </a:solidFill>
              </a:defRPr>
            </a:lvl1pPr>
          </a:lstStyle>
          <a:p>
            <a:r>
              <a:rPr lang="en-US"/>
              <a:t>Click icon to add media</a:t>
            </a:r>
          </a:p>
        </p:txBody>
      </p:sp>
    </p:spTree>
    <p:extLst>
      <p:ext uri="{BB962C8B-B14F-4D97-AF65-F5344CB8AC3E}">
        <p14:creationId xmlns:p14="http://schemas.microsoft.com/office/powerpoint/2010/main" val="419225641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D59479C-23FD-2645-A8EC-4A5C82CC4FA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4466"/>
            <a:ext cx="12179298" cy="6849071"/>
          </a:xfrm>
          <a:prstGeom prst="rect">
            <a:avLst/>
          </a:prstGeom>
        </p:spPr>
      </p:pic>
      <p:sp>
        <p:nvSpPr>
          <p:cNvPr id="5" name="Title 1">
            <a:extLst>
              <a:ext uri="{FF2B5EF4-FFF2-40B4-BE49-F238E27FC236}">
                <a16:creationId xmlns:a16="http://schemas.microsoft.com/office/drawing/2014/main" id="{126519AA-886C-374C-9E64-EA02923CB615}"/>
              </a:ext>
            </a:extLst>
          </p:cNvPr>
          <p:cNvSpPr>
            <a:spLocks noGrp="1"/>
          </p:cNvSpPr>
          <p:nvPr>
            <p:ph type="title"/>
          </p:nvPr>
        </p:nvSpPr>
        <p:spPr>
          <a:xfrm>
            <a:off x="462084" y="1565275"/>
            <a:ext cx="7437787" cy="4625975"/>
          </a:xfrm>
        </p:spPr>
        <p:txBody>
          <a:bodyPr lIns="0" tIns="1920240" rIns="457200" bIns="457200" anchor="ctr" anchorCtr="0">
            <a:noAutofit/>
          </a:bodyPr>
          <a:lstStyle>
            <a:lvl1pPr>
              <a:lnSpc>
                <a:spcPts val="4000"/>
              </a:lnSpc>
              <a:defRPr sz="3600" b="0">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6B801889-E475-414D-B7B7-3802EF0FF728}"/>
              </a:ext>
            </a:extLst>
          </p:cNvPr>
          <p:cNvSpPr>
            <a:spLocks noGrp="1"/>
          </p:cNvSpPr>
          <p:nvPr>
            <p:ph type="ftr" sz="quarter" idx="10"/>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BD8AD9C9-4173-A847-A399-5D48DC63E04B}"/>
              </a:ext>
            </a:extLst>
          </p:cNvPr>
          <p:cNvSpPr>
            <a:spLocks noGrp="1"/>
          </p:cNvSpPr>
          <p:nvPr>
            <p:ph type="sldNum" sz="quarter" idx="11"/>
          </p:nvPr>
        </p:nvSpPr>
        <p:spPr/>
        <p:txBody>
          <a:bodyPr/>
          <a:lstStyle/>
          <a:p>
            <a:pPr lvl="8"/>
            <a:fld id="{1E3D5677-3D20-0C46-8497-54D73E689044}" type="slidenum">
              <a:rPr lang="en-US"/>
              <a:pPr lvl="8"/>
              <a:t>‹#›</a:t>
            </a:fld>
            <a:endParaRPr lang="en-US"/>
          </a:p>
        </p:txBody>
      </p:sp>
      <p:pic>
        <p:nvPicPr>
          <p:cNvPr id="8" name="Picture 7">
            <a:extLst>
              <a:ext uri="{FF2B5EF4-FFF2-40B4-BE49-F238E27FC236}">
                <a16:creationId xmlns:a16="http://schemas.microsoft.com/office/drawing/2014/main" id="{A617DF63-B4B0-374C-A4C8-2FE7BBD2D42F}"/>
              </a:ext>
            </a:extLst>
          </p:cNvPr>
          <p:cNvPicPr>
            <a:picLocks noChangeAspect="1"/>
          </p:cNvPicPr>
          <p:nvPr userDrawn="1"/>
        </p:nvPicPr>
        <p:blipFill>
          <a:blip r:embed="rId3"/>
          <a:srcRect/>
          <a:stretch/>
        </p:blipFill>
        <p:spPr>
          <a:xfrm>
            <a:off x="472868" y="6412434"/>
            <a:ext cx="1497466" cy="285488"/>
          </a:xfrm>
          <a:prstGeom prst="rect">
            <a:avLst/>
          </a:prstGeom>
        </p:spPr>
      </p:pic>
    </p:spTree>
    <p:extLst>
      <p:ext uri="{BB962C8B-B14F-4D97-AF65-F5344CB8AC3E}">
        <p14:creationId xmlns:p14="http://schemas.microsoft.com/office/powerpoint/2010/main" val="174407639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1/8/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426910601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E302FF9-0D26-4600-A3F7-55B9A22E68C9}" type="datetimeFigureOut">
              <a:rPr lang="en-US">
                <a:solidFill>
                  <a:prstClr val="black">
                    <a:tint val="75000"/>
                  </a:prstClr>
                </a:solidFill>
              </a:rPr>
              <a:pPr/>
              <a:t>1/8/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F3CA280-9C58-4C5C-8639-0927071F0DFC}"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076982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E302FF9-0D26-4600-A3F7-55B9A22E68C9}" type="datetimeFigureOut">
              <a:rPr lang="en-US">
                <a:solidFill>
                  <a:prstClr val="black">
                    <a:tint val="75000"/>
                  </a:prstClr>
                </a:solidFill>
              </a:rPr>
              <a:pPr/>
              <a:t>1/8/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F3CA280-9C58-4C5C-8639-0927071F0DFC}"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0435486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E302FF9-0D26-4600-A3F7-55B9A22E68C9}" type="datetimeFigureOut">
              <a:rPr lang="en-US">
                <a:solidFill>
                  <a:prstClr val="black">
                    <a:tint val="75000"/>
                  </a:prstClr>
                </a:solidFill>
              </a:rPr>
              <a:pPr/>
              <a:t>1/8/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F3CA280-9C58-4C5C-8639-0927071F0DFC}"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8827995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E302FF9-0D26-4600-A3F7-55B9A22E68C9}" type="datetimeFigureOut">
              <a:rPr lang="en-US">
                <a:solidFill>
                  <a:prstClr val="black">
                    <a:tint val="75000"/>
                  </a:prstClr>
                </a:solidFill>
              </a:rPr>
              <a:pPr/>
              <a:t>1/8/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EF3CA280-9C58-4C5C-8639-0927071F0DFC}"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428961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a:t>1/8/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8406099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302FF9-0D26-4600-A3F7-55B9A22E68C9}" type="datetimeFigureOut">
              <a:rPr lang="en-US">
                <a:solidFill>
                  <a:prstClr val="black">
                    <a:tint val="75000"/>
                  </a:prstClr>
                </a:solidFill>
              </a:rPr>
              <a:pPr/>
              <a:t>1/8/21</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EF3CA280-9C58-4C5C-8639-0927071F0DFC}"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4752049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E302FF9-0D26-4600-A3F7-55B9A22E68C9}" type="datetimeFigureOut">
              <a:rPr lang="en-US">
                <a:solidFill>
                  <a:prstClr val="black">
                    <a:tint val="75000"/>
                  </a:prstClr>
                </a:solidFill>
              </a:rPr>
              <a:pPr/>
              <a:t>1/8/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EF3CA280-9C58-4C5C-8639-0927071F0DFC}"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9935598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E302FF9-0D26-4600-A3F7-55B9A22E68C9}" type="datetimeFigureOut">
              <a:rPr lang="en-US">
                <a:solidFill>
                  <a:prstClr val="black">
                    <a:tint val="75000"/>
                  </a:prstClr>
                </a:solidFill>
              </a:rPr>
              <a:pPr/>
              <a:t>1/8/21</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EF3CA280-9C58-4C5C-8639-0927071F0DFC}"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245003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E302FF9-0D26-4600-A3F7-55B9A22E68C9}" type="datetimeFigureOut">
              <a:rPr lang="en-US">
                <a:solidFill>
                  <a:prstClr val="black">
                    <a:tint val="75000"/>
                  </a:prstClr>
                </a:solidFill>
              </a:rPr>
              <a:pPr/>
              <a:t>1/8/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EF3CA280-9C58-4C5C-8639-0927071F0DFC}"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337300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E302FF9-0D26-4600-A3F7-55B9A22E68C9}" type="datetimeFigureOut">
              <a:rPr lang="en-US">
                <a:solidFill>
                  <a:prstClr val="black">
                    <a:tint val="75000"/>
                  </a:prstClr>
                </a:solidFill>
              </a:rPr>
              <a:pPr/>
              <a:t>1/8/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EF3CA280-9C58-4C5C-8639-0927071F0DFC}"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5748635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E302FF9-0D26-4600-A3F7-55B9A22E68C9}" type="datetimeFigureOut">
              <a:rPr lang="en-US">
                <a:solidFill>
                  <a:prstClr val="black">
                    <a:tint val="75000"/>
                  </a:prstClr>
                </a:solidFill>
              </a:rPr>
              <a:pPr/>
              <a:t>1/8/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F3CA280-9C58-4C5C-8639-0927071F0DFC}"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8238646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E302FF9-0D26-4600-A3F7-55B9A22E68C9}" type="datetimeFigureOut">
              <a:rPr lang="en-US">
                <a:solidFill>
                  <a:prstClr val="black">
                    <a:tint val="75000"/>
                  </a:prstClr>
                </a:solidFill>
              </a:rPr>
              <a:pPr/>
              <a:t>1/8/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F3CA280-9C58-4C5C-8639-0927071F0DFC}"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5079672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Slide Option 2">
    <p:spTree>
      <p:nvGrpSpPr>
        <p:cNvPr id="1" name=""/>
        <p:cNvGrpSpPr/>
        <p:nvPr/>
      </p:nvGrpSpPr>
      <p:grpSpPr>
        <a:xfrm>
          <a:off x="0" y="0"/>
          <a:ext cx="0" cy="0"/>
          <a:chOff x="0" y="0"/>
          <a:chExt cx="0" cy="0"/>
        </a:xfrm>
      </p:grpSpPr>
      <p:sp>
        <p:nvSpPr>
          <p:cNvPr id="4" name="Rectangle 3"/>
          <p:cNvSpPr/>
          <p:nvPr userDrawn="1"/>
        </p:nvSpPr>
        <p:spPr>
          <a:xfrm>
            <a:off x="0" y="2653307"/>
            <a:ext cx="12192000" cy="2278000"/>
          </a:xfrm>
          <a:prstGeom prst="rect">
            <a:avLst/>
          </a:prstGeom>
          <a:solidFill>
            <a:srgbClr val="4296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prstClr val="white"/>
              </a:solidFill>
            </a:endParaRPr>
          </a:p>
        </p:txBody>
      </p:sp>
      <p:sp>
        <p:nvSpPr>
          <p:cNvPr id="2" name="Title 1"/>
          <p:cNvSpPr>
            <a:spLocks noGrp="1"/>
          </p:cNvSpPr>
          <p:nvPr>
            <p:ph type="ctrTitle" hasCustomPrompt="1"/>
          </p:nvPr>
        </p:nvSpPr>
        <p:spPr>
          <a:xfrm>
            <a:off x="1161513" y="2893681"/>
            <a:ext cx="8838473" cy="1870729"/>
          </a:xfrm>
        </p:spPr>
        <p:txBody>
          <a:bodyPr anchor="b">
            <a:normAutofit/>
          </a:bodyPr>
          <a:lstStyle>
            <a:lvl1pPr>
              <a:defRPr sz="3733" b="0" baseline="0">
                <a:solidFill>
                  <a:schemeClr val="bg1"/>
                </a:solidFill>
              </a:defRPr>
            </a:lvl1pPr>
          </a:lstStyle>
          <a:p>
            <a:r>
              <a:rPr lang="en-US" dirty="0"/>
              <a:t>Option 2: Title slide style, 28pt reg Arial</a:t>
            </a:r>
          </a:p>
        </p:txBody>
      </p:sp>
      <p:pic>
        <p:nvPicPr>
          <p:cNvPr id="7" name="Picture 6" descr="colorStJo&amp;Prov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53553" y="469510"/>
            <a:ext cx="2228908" cy="583231"/>
          </a:xfrm>
          <a:prstGeom prst="rect">
            <a:avLst/>
          </a:prstGeom>
        </p:spPr>
      </p:pic>
      <p:sp>
        <p:nvSpPr>
          <p:cNvPr id="6" name="Rectangle 5"/>
          <p:cNvSpPr/>
          <p:nvPr userDrawn="1"/>
        </p:nvSpPr>
        <p:spPr>
          <a:xfrm>
            <a:off x="0" y="4931307"/>
            <a:ext cx="12192000" cy="253111"/>
          </a:xfrm>
          <a:prstGeom prst="rect">
            <a:avLst/>
          </a:prstGeom>
          <a:solidFill>
            <a:srgbClr val="0053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prstClr val="white"/>
              </a:solidFill>
            </a:endParaRPr>
          </a:p>
        </p:txBody>
      </p:sp>
    </p:spTree>
    <p:extLst>
      <p:ext uri="{BB962C8B-B14F-4D97-AF65-F5344CB8AC3E}">
        <p14:creationId xmlns:p14="http://schemas.microsoft.com/office/powerpoint/2010/main" val="428017071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ver_green">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49" y="0"/>
            <a:ext cx="12179300" cy="6856214"/>
          </a:xfrm>
          <a:prstGeom prst="rect">
            <a:avLst/>
          </a:prstGeom>
        </p:spPr>
      </p:pic>
      <p:sp>
        <p:nvSpPr>
          <p:cNvPr id="2" name="Title 1">
            <a:extLst>
              <a:ext uri="{FF2B5EF4-FFF2-40B4-BE49-F238E27FC236}">
                <a16:creationId xmlns:a16="http://schemas.microsoft.com/office/drawing/2014/main" id="{BCFE9681-4657-7A44-8303-6BC8A656563F}"/>
              </a:ext>
            </a:extLst>
          </p:cNvPr>
          <p:cNvSpPr>
            <a:spLocks noGrp="1"/>
          </p:cNvSpPr>
          <p:nvPr>
            <p:ph type="title"/>
          </p:nvPr>
        </p:nvSpPr>
        <p:spPr>
          <a:xfrm>
            <a:off x="457320" y="3429000"/>
            <a:ext cx="5525938" cy="2072148"/>
          </a:xfrm>
        </p:spPr>
        <p:txBody>
          <a:bodyPr lIns="0" tIns="182880" rIns="0" bIns="0" anchor="t" anchorCtr="0">
            <a:noAutofit/>
          </a:bodyPr>
          <a:lstStyle>
            <a:lvl1pPr>
              <a:lnSpc>
                <a:spcPts val="5200"/>
              </a:lnSpc>
              <a:defRPr sz="4800" b="0">
                <a:solidFill>
                  <a:schemeClr val="accent1"/>
                </a:solidFill>
              </a:defRPr>
            </a:lvl1pPr>
          </a:lstStyle>
          <a:p>
            <a:r>
              <a:rPr lang="en-US"/>
              <a:t>Click to edit Master title style</a:t>
            </a:r>
          </a:p>
        </p:txBody>
      </p:sp>
      <p:sp>
        <p:nvSpPr>
          <p:cNvPr id="9" name="Text Placeholder 6">
            <a:extLst>
              <a:ext uri="{FF2B5EF4-FFF2-40B4-BE49-F238E27FC236}">
                <a16:creationId xmlns:a16="http://schemas.microsoft.com/office/drawing/2014/main" id="{6445DE1D-B262-6140-9162-47C7C8AB7FCB}"/>
              </a:ext>
            </a:extLst>
          </p:cNvPr>
          <p:cNvSpPr>
            <a:spLocks noGrp="1"/>
          </p:cNvSpPr>
          <p:nvPr>
            <p:ph type="body" sz="quarter" idx="11"/>
          </p:nvPr>
        </p:nvSpPr>
        <p:spPr>
          <a:xfrm>
            <a:off x="460495" y="5501148"/>
            <a:ext cx="5522763" cy="525002"/>
          </a:xfrm>
          <a:prstGeom prst="rect">
            <a:avLst/>
          </a:prstGeom>
        </p:spPr>
        <p:txBody>
          <a:bodyPr lIns="0" tIns="0" anchor="b" anchorCtr="0">
            <a:noAutofit/>
          </a:bodyPr>
          <a:lstStyle>
            <a:lvl1pPr>
              <a:lnSpc>
                <a:spcPts val="2300"/>
              </a:lnSpc>
              <a:spcAft>
                <a:spcPts val="0"/>
              </a:spcAft>
              <a:defRPr sz="16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Click to edit Master text styles</a:t>
            </a:r>
          </a:p>
        </p:txBody>
      </p:sp>
      <p:pic>
        <p:nvPicPr>
          <p:cNvPr id="10" name="Picture 9">
            <a:extLst>
              <a:ext uri="{FF2B5EF4-FFF2-40B4-BE49-F238E27FC236}">
                <a16:creationId xmlns:a16="http://schemas.microsoft.com/office/drawing/2014/main" id="{855D7BD9-937A-3447-938D-81FBB57291E1}"/>
              </a:ext>
            </a:extLst>
          </p:cNvPr>
          <p:cNvPicPr>
            <a:picLocks noChangeAspect="1"/>
          </p:cNvPicPr>
          <p:nvPr userDrawn="1"/>
        </p:nvPicPr>
        <p:blipFill>
          <a:blip r:embed="rId3"/>
          <a:srcRect/>
          <a:stretch/>
        </p:blipFill>
        <p:spPr>
          <a:xfrm>
            <a:off x="474482" y="480762"/>
            <a:ext cx="2431521" cy="463564"/>
          </a:xfrm>
          <a:prstGeom prst="rect">
            <a:avLst/>
          </a:prstGeom>
        </p:spPr>
      </p:pic>
      <p:sp>
        <p:nvSpPr>
          <p:cNvPr id="3" name="Date Placeholder 2">
            <a:extLst>
              <a:ext uri="{FF2B5EF4-FFF2-40B4-BE49-F238E27FC236}">
                <a16:creationId xmlns:a16="http://schemas.microsoft.com/office/drawing/2014/main" id="{407AA221-68AF-F347-BB20-F287D97F8652}"/>
              </a:ext>
            </a:extLst>
          </p:cNvPr>
          <p:cNvSpPr>
            <a:spLocks noGrp="1"/>
          </p:cNvSpPr>
          <p:nvPr>
            <p:ph type="dt" sz="half" idx="13"/>
          </p:nvPr>
        </p:nvSpPr>
        <p:spPr>
          <a:xfrm>
            <a:off x="455731" y="6026150"/>
            <a:ext cx="5527526" cy="209550"/>
          </a:xfrm>
          <a:prstGeom prst="rect">
            <a:avLst/>
          </a:prstGeom>
        </p:spPr>
        <p:txBody>
          <a:bodyPr lIns="0" tIns="0" rIns="0" bIns="0"/>
          <a:lstStyle>
            <a:lvl1pPr>
              <a:defRPr sz="1600" b="0" i="0">
                <a:solidFill>
                  <a:schemeClr val="accent2"/>
                </a:solidFill>
                <a:latin typeface="Barlow" pitchFamily="2" charset="77"/>
              </a:defRPr>
            </a:lvl1pPr>
            <a:lvl2pPr marL="0">
              <a:defRPr sz="1600" b="0" i="0">
                <a:solidFill>
                  <a:schemeClr val="accent2"/>
                </a:solidFill>
                <a:latin typeface="Barlow" pitchFamily="2" charset="77"/>
              </a:defRPr>
            </a:lvl2pPr>
            <a:lvl3pPr marL="0">
              <a:defRPr sz="1600" b="0" i="0">
                <a:solidFill>
                  <a:schemeClr val="accent2"/>
                </a:solidFill>
                <a:latin typeface="Barlow" pitchFamily="2" charset="77"/>
              </a:defRPr>
            </a:lvl3pPr>
            <a:lvl4pPr marL="0">
              <a:defRPr sz="1600" b="0" i="0">
                <a:solidFill>
                  <a:schemeClr val="accent2"/>
                </a:solidFill>
                <a:latin typeface="Barlow" pitchFamily="2" charset="77"/>
              </a:defRPr>
            </a:lvl4pPr>
            <a:lvl5pPr marL="0">
              <a:defRPr sz="1600" b="0" i="0">
                <a:solidFill>
                  <a:schemeClr val="accent2"/>
                </a:solidFill>
                <a:latin typeface="Barlow" pitchFamily="2" charset="77"/>
              </a:defRPr>
            </a:lvl5pPr>
            <a:lvl6pPr marL="0">
              <a:defRPr sz="1600" b="0" i="0">
                <a:solidFill>
                  <a:schemeClr val="accent2"/>
                </a:solidFill>
                <a:latin typeface="Barlow" pitchFamily="2" charset="77"/>
              </a:defRPr>
            </a:lvl6pPr>
            <a:lvl7pPr marL="0">
              <a:defRPr sz="1600" b="0" i="0">
                <a:solidFill>
                  <a:schemeClr val="accent2"/>
                </a:solidFill>
                <a:latin typeface="Barlow" pitchFamily="2" charset="77"/>
              </a:defRPr>
            </a:lvl7pPr>
            <a:lvl8pPr marL="0">
              <a:defRPr sz="1600">
                <a:solidFill>
                  <a:schemeClr val="accent2"/>
                </a:solidFill>
                <a:latin typeface="Barlow" pitchFamily="2" charset="77"/>
              </a:defRPr>
            </a:lvl8pPr>
            <a:lvl9pPr marL="0">
              <a:defRPr sz="1600" b="0" i="0">
                <a:solidFill>
                  <a:schemeClr val="accent2"/>
                </a:solidFill>
                <a:latin typeface="Barlow" pitchFamily="2" charset="77"/>
              </a:defRPr>
            </a:lvl9pPr>
          </a:lstStyle>
          <a:p>
            <a:pPr lvl="8"/>
            <a:r>
              <a:rPr lang="en-US"/>
              <a:t>Date</a:t>
            </a:r>
          </a:p>
        </p:txBody>
      </p:sp>
      <p:sp>
        <p:nvSpPr>
          <p:cNvPr id="7" name="Text Placeholder 6">
            <a:extLst>
              <a:ext uri="{FF2B5EF4-FFF2-40B4-BE49-F238E27FC236}">
                <a16:creationId xmlns:a16="http://schemas.microsoft.com/office/drawing/2014/main" id="{A336640F-6710-EB4A-B511-FD0381C1BB35}"/>
              </a:ext>
            </a:extLst>
          </p:cNvPr>
          <p:cNvSpPr>
            <a:spLocks noGrp="1"/>
          </p:cNvSpPr>
          <p:nvPr>
            <p:ph type="body" sz="quarter" idx="14" hasCustomPrompt="1"/>
          </p:nvPr>
        </p:nvSpPr>
        <p:spPr>
          <a:xfrm>
            <a:off x="457319" y="2509603"/>
            <a:ext cx="5525939" cy="919398"/>
          </a:xfrm>
          <a:prstGeom prst="rect">
            <a:avLst/>
          </a:prstGeom>
        </p:spPr>
        <p:txBody>
          <a:bodyPr lIns="0" tIns="182880" anchor="b" anchorCtr="0">
            <a:noAutofit/>
          </a:bodyPr>
          <a:lstStyle>
            <a:lvl1pPr>
              <a:lnSpc>
                <a:spcPts val="2300"/>
              </a:lnSpc>
              <a:spcAft>
                <a:spcPts val="0"/>
              </a:spcAft>
              <a:defRPr sz="20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Optional service or offering name here</a:t>
            </a:r>
          </a:p>
        </p:txBody>
      </p:sp>
      <p:sp>
        <p:nvSpPr>
          <p:cNvPr id="8" name="Picture Placeholder 16">
            <a:extLst>
              <a:ext uri="{FF2B5EF4-FFF2-40B4-BE49-F238E27FC236}">
                <a16:creationId xmlns:a16="http://schemas.microsoft.com/office/drawing/2014/main" id="{76D9B640-6864-524C-A6F7-0535DFD0684D}"/>
              </a:ext>
            </a:extLst>
          </p:cNvPr>
          <p:cNvSpPr>
            <a:spLocks noGrp="1"/>
          </p:cNvSpPr>
          <p:nvPr>
            <p:ph type="pic" sz="quarter" idx="17" hasCustomPrompt="1"/>
          </p:nvPr>
        </p:nvSpPr>
        <p:spPr>
          <a:xfrm>
            <a:off x="474482" y="460375"/>
            <a:ext cx="2431521" cy="876300"/>
          </a:xfrm>
          <a:solidFill>
            <a:schemeClr val="bg1"/>
          </a:solidFill>
        </p:spPr>
        <p:txBody>
          <a:bodyPr tIns="0" anchor="t" anchorCtr="0"/>
          <a:lstStyle>
            <a:lvl1pPr algn="ctr">
              <a:spcAft>
                <a:spcPts val="0"/>
              </a:spcAft>
              <a:defRPr sz="800">
                <a:solidFill>
                  <a:schemeClr val="tx2"/>
                </a:solidFill>
              </a:defRPr>
            </a:lvl1pPr>
          </a:lstStyle>
          <a:p>
            <a:r>
              <a:rPr lang="en-US" dirty="0"/>
              <a:t>Insert entity logo or delete box for default logo</a:t>
            </a:r>
          </a:p>
        </p:txBody>
      </p:sp>
    </p:spTree>
    <p:extLst>
      <p:ext uri="{BB962C8B-B14F-4D97-AF65-F5344CB8AC3E}">
        <p14:creationId xmlns:p14="http://schemas.microsoft.com/office/powerpoint/2010/main" val="277241702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ver_blue">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1"/>
            <a:ext cx="12179298" cy="6856213"/>
          </a:xfrm>
          <a:prstGeom prst="rect">
            <a:avLst/>
          </a:prstGeom>
        </p:spPr>
      </p:pic>
      <p:pic>
        <p:nvPicPr>
          <p:cNvPr id="8" name="Picture 7">
            <a:extLst>
              <a:ext uri="{FF2B5EF4-FFF2-40B4-BE49-F238E27FC236}">
                <a16:creationId xmlns:a16="http://schemas.microsoft.com/office/drawing/2014/main" id="{5FA1D6A8-D2DB-2247-845A-4C18FB7E51D6}"/>
              </a:ext>
            </a:extLst>
          </p:cNvPr>
          <p:cNvPicPr>
            <a:picLocks noChangeAspect="1"/>
          </p:cNvPicPr>
          <p:nvPr userDrawn="1"/>
        </p:nvPicPr>
        <p:blipFill>
          <a:blip r:embed="rId3"/>
          <a:srcRect/>
          <a:stretch/>
        </p:blipFill>
        <p:spPr>
          <a:xfrm>
            <a:off x="474482" y="480762"/>
            <a:ext cx="2431521" cy="463564"/>
          </a:xfrm>
          <a:prstGeom prst="rect">
            <a:avLst/>
          </a:prstGeom>
        </p:spPr>
      </p:pic>
      <p:sp>
        <p:nvSpPr>
          <p:cNvPr id="11" name="Title 1">
            <a:extLst>
              <a:ext uri="{FF2B5EF4-FFF2-40B4-BE49-F238E27FC236}">
                <a16:creationId xmlns:a16="http://schemas.microsoft.com/office/drawing/2014/main" id="{3D712B30-2C20-A249-A5F8-9585689F110C}"/>
              </a:ext>
            </a:extLst>
          </p:cNvPr>
          <p:cNvSpPr>
            <a:spLocks noGrp="1"/>
          </p:cNvSpPr>
          <p:nvPr>
            <p:ph type="title"/>
          </p:nvPr>
        </p:nvSpPr>
        <p:spPr>
          <a:xfrm>
            <a:off x="457320" y="3429000"/>
            <a:ext cx="5525938" cy="2072148"/>
          </a:xfrm>
        </p:spPr>
        <p:txBody>
          <a:bodyPr lIns="0" tIns="182880" rIns="0" bIns="0" anchor="t" anchorCtr="0">
            <a:noAutofit/>
          </a:bodyPr>
          <a:lstStyle>
            <a:lvl1pPr>
              <a:lnSpc>
                <a:spcPts val="5200"/>
              </a:lnSpc>
              <a:defRPr sz="4800" b="0">
                <a:solidFill>
                  <a:schemeClr val="accent1"/>
                </a:solidFill>
              </a:defRPr>
            </a:lvl1pPr>
          </a:lstStyle>
          <a:p>
            <a:r>
              <a:rPr lang="en-US"/>
              <a:t>Click to edit Master title style</a:t>
            </a:r>
          </a:p>
        </p:txBody>
      </p:sp>
      <p:sp>
        <p:nvSpPr>
          <p:cNvPr id="12" name="Text Placeholder 6">
            <a:extLst>
              <a:ext uri="{FF2B5EF4-FFF2-40B4-BE49-F238E27FC236}">
                <a16:creationId xmlns:a16="http://schemas.microsoft.com/office/drawing/2014/main" id="{DB54FC76-E836-6C49-940A-E08DA2262185}"/>
              </a:ext>
            </a:extLst>
          </p:cNvPr>
          <p:cNvSpPr>
            <a:spLocks noGrp="1"/>
          </p:cNvSpPr>
          <p:nvPr>
            <p:ph type="body" sz="quarter" idx="11"/>
          </p:nvPr>
        </p:nvSpPr>
        <p:spPr>
          <a:xfrm>
            <a:off x="460495" y="5501148"/>
            <a:ext cx="5522763" cy="525002"/>
          </a:xfrm>
          <a:prstGeom prst="rect">
            <a:avLst/>
          </a:prstGeom>
        </p:spPr>
        <p:txBody>
          <a:bodyPr lIns="0" tIns="0" anchor="b" anchorCtr="0">
            <a:noAutofit/>
          </a:bodyPr>
          <a:lstStyle>
            <a:lvl1pPr>
              <a:lnSpc>
                <a:spcPts val="2300"/>
              </a:lnSpc>
              <a:spcAft>
                <a:spcPts val="0"/>
              </a:spcAft>
              <a:defRPr sz="16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Click to edit Master text styles</a:t>
            </a:r>
          </a:p>
        </p:txBody>
      </p:sp>
      <p:sp>
        <p:nvSpPr>
          <p:cNvPr id="14" name="Date Placeholder 2">
            <a:extLst>
              <a:ext uri="{FF2B5EF4-FFF2-40B4-BE49-F238E27FC236}">
                <a16:creationId xmlns:a16="http://schemas.microsoft.com/office/drawing/2014/main" id="{BDECF226-9186-8641-B11A-8137886563DD}"/>
              </a:ext>
            </a:extLst>
          </p:cNvPr>
          <p:cNvSpPr>
            <a:spLocks noGrp="1"/>
          </p:cNvSpPr>
          <p:nvPr>
            <p:ph type="dt" sz="half" idx="13"/>
          </p:nvPr>
        </p:nvSpPr>
        <p:spPr>
          <a:xfrm>
            <a:off x="455731" y="6026150"/>
            <a:ext cx="5527526" cy="209550"/>
          </a:xfrm>
          <a:prstGeom prst="rect">
            <a:avLst/>
          </a:prstGeom>
        </p:spPr>
        <p:txBody>
          <a:bodyPr lIns="0" tIns="0" rIns="0" bIns="0"/>
          <a:lstStyle>
            <a:lvl1pPr>
              <a:defRPr sz="1600" b="0" i="0">
                <a:solidFill>
                  <a:schemeClr val="accent2"/>
                </a:solidFill>
                <a:latin typeface="Barlow" pitchFamily="2" charset="77"/>
              </a:defRPr>
            </a:lvl1pPr>
            <a:lvl2pPr marL="0">
              <a:defRPr sz="1600" b="0" i="0">
                <a:solidFill>
                  <a:schemeClr val="accent2"/>
                </a:solidFill>
                <a:latin typeface="Barlow" pitchFamily="2" charset="77"/>
              </a:defRPr>
            </a:lvl2pPr>
            <a:lvl3pPr marL="0">
              <a:defRPr sz="1600" b="0" i="0">
                <a:solidFill>
                  <a:schemeClr val="accent2"/>
                </a:solidFill>
                <a:latin typeface="Barlow" pitchFamily="2" charset="77"/>
              </a:defRPr>
            </a:lvl3pPr>
            <a:lvl4pPr marL="0">
              <a:defRPr sz="1600" b="0" i="0">
                <a:solidFill>
                  <a:schemeClr val="accent2"/>
                </a:solidFill>
                <a:latin typeface="Barlow" pitchFamily="2" charset="77"/>
              </a:defRPr>
            </a:lvl4pPr>
            <a:lvl5pPr marL="0">
              <a:defRPr sz="1600" b="0" i="0">
                <a:solidFill>
                  <a:schemeClr val="accent2"/>
                </a:solidFill>
                <a:latin typeface="Barlow" pitchFamily="2" charset="77"/>
              </a:defRPr>
            </a:lvl5pPr>
            <a:lvl6pPr marL="0">
              <a:defRPr sz="1600" b="0" i="0">
                <a:solidFill>
                  <a:schemeClr val="accent2"/>
                </a:solidFill>
                <a:latin typeface="Barlow" pitchFamily="2" charset="77"/>
              </a:defRPr>
            </a:lvl6pPr>
            <a:lvl7pPr marL="0">
              <a:defRPr sz="1600" b="0" i="0">
                <a:solidFill>
                  <a:schemeClr val="accent2"/>
                </a:solidFill>
                <a:latin typeface="Barlow" pitchFamily="2" charset="77"/>
              </a:defRPr>
            </a:lvl7pPr>
            <a:lvl8pPr marL="0">
              <a:defRPr sz="1600">
                <a:solidFill>
                  <a:schemeClr val="accent2"/>
                </a:solidFill>
                <a:latin typeface="Barlow" pitchFamily="2" charset="77"/>
              </a:defRPr>
            </a:lvl8pPr>
            <a:lvl9pPr marL="0">
              <a:defRPr sz="1600" b="0" i="0">
                <a:solidFill>
                  <a:schemeClr val="accent2"/>
                </a:solidFill>
                <a:latin typeface="Barlow" pitchFamily="2" charset="77"/>
              </a:defRPr>
            </a:lvl9pPr>
          </a:lstStyle>
          <a:p>
            <a:pPr lvl="8"/>
            <a:r>
              <a:rPr lang="en-US"/>
              <a:t>Date</a:t>
            </a:r>
          </a:p>
        </p:txBody>
      </p:sp>
      <p:sp>
        <p:nvSpPr>
          <p:cNvPr id="15" name="Text Placeholder 6">
            <a:extLst>
              <a:ext uri="{FF2B5EF4-FFF2-40B4-BE49-F238E27FC236}">
                <a16:creationId xmlns:a16="http://schemas.microsoft.com/office/drawing/2014/main" id="{23AA88A1-D031-1E4B-B466-56CC43EE49E1}"/>
              </a:ext>
            </a:extLst>
          </p:cNvPr>
          <p:cNvSpPr>
            <a:spLocks noGrp="1"/>
          </p:cNvSpPr>
          <p:nvPr>
            <p:ph type="body" sz="quarter" idx="14" hasCustomPrompt="1"/>
          </p:nvPr>
        </p:nvSpPr>
        <p:spPr>
          <a:xfrm>
            <a:off x="457319" y="2509603"/>
            <a:ext cx="5525939" cy="919398"/>
          </a:xfrm>
          <a:prstGeom prst="rect">
            <a:avLst/>
          </a:prstGeom>
        </p:spPr>
        <p:txBody>
          <a:bodyPr lIns="0" tIns="182880" anchor="b" anchorCtr="0">
            <a:noAutofit/>
          </a:bodyPr>
          <a:lstStyle>
            <a:lvl1pPr>
              <a:lnSpc>
                <a:spcPts val="2300"/>
              </a:lnSpc>
              <a:spcAft>
                <a:spcPts val="0"/>
              </a:spcAft>
              <a:defRPr sz="2000" b="0">
                <a:solidFill>
                  <a:schemeClr val="accent2"/>
                </a:solidFill>
              </a:defRPr>
            </a:lvl1pPr>
            <a:lvl2pPr marL="0" indent="0">
              <a:lnSpc>
                <a:spcPts val="2300"/>
              </a:lnSpc>
              <a:spcAft>
                <a:spcPts val="0"/>
              </a:spcAft>
              <a:buFontTx/>
              <a:buNone/>
              <a:defRPr sz="2000" b="1" i="0">
                <a:solidFill>
                  <a:schemeClr val="accent2"/>
                </a:solidFill>
                <a:latin typeface="Barlow" pitchFamily="2" charset="77"/>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Optional service or offering name here</a:t>
            </a:r>
          </a:p>
        </p:txBody>
      </p:sp>
      <p:sp>
        <p:nvSpPr>
          <p:cNvPr id="16" name="Picture Placeholder 16">
            <a:extLst>
              <a:ext uri="{FF2B5EF4-FFF2-40B4-BE49-F238E27FC236}">
                <a16:creationId xmlns:a16="http://schemas.microsoft.com/office/drawing/2014/main" id="{5A66D084-3B3B-9943-9FF7-18E96674CDF1}"/>
              </a:ext>
            </a:extLst>
          </p:cNvPr>
          <p:cNvSpPr>
            <a:spLocks noGrp="1"/>
          </p:cNvSpPr>
          <p:nvPr>
            <p:ph type="pic" sz="quarter" idx="17" hasCustomPrompt="1"/>
          </p:nvPr>
        </p:nvSpPr>
        <p:spPr>
          <a:xfrm>
            <a:off x="474482" y="460375"/>
            <a:ext cx="2431521" cy="876300"/>
          </a:xfrm>
          <a:solidFill>
            <a:schemeClr val="bg1"/>
          </a:solidFill>
        </p:spPr>
        <p:txBody>
          <a:bodyPr tIns="0" anchor="t" anchorCtr="0"/>
          <a:lstStyle>
            <a:lvl1pPr algn="ctr">
              <a:spcAft>
                <a:spcPts val="0"/>
              </a:spcAft>
              <a:defRPr sz="800">
                <a:solidFill>
                  <a:schemeClr val="tx2"/>
                </a:solidFill>
              </a:defRPr>
            </a:lvl1pPr>
          </a:lstStyle>
          <a:p>
            <a:r>
              <a:rPr lang="en-US" dirty="0"/>
              <a:t>Insert entity logo or delete box for default logo</a:t>
            </a:r>
          </a:p>
        </p:txBody>
      </p:sp>
    </p:spTree>
    <p:extLst>
      <p:ext uri="{BB962C8B-B14F-4D97-AF65-F5344CB8AC3E}">
        <p14:creationId xmlns:p14="http://schemas.microsoft.com/office/powerpoint/2010/main" val="2396643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jpeg"/></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slideLayout" Target="../slideLayouts/slideLayout123.xml"/><Relationship Id="rId39" Type="http://schemas.openxmlformats.org/officeDocument/2006/relationships/slideLayout" Target="../slideLayouts/slideLayout136.xml"/><Relationship Id="rId21" Type="http://schemas.openxmlformats.org/officeDocument/2006/relationships/slideLayout" Target="../slideLayouts/slideLayout118.xml"/><Relationship Id="rId34" Type="http://schemas.openxmlformats.org/officeDocument/2006/relationships/slideLayout" Target="../slideLayouts/slideLayout131.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33" Type="http://schemas.openxmlformats.org/officeDocument/2006/relationships/slideLayout" Target="../slideLayouts/slideLayout130.xml"/><Relationship Id="rId38" Type="http://schemas.openxmlformats.org/officeDocument/2006/relationships/slideLayout" Target="../slideLayouts/slideLayout135.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slideLayout" Target="../slideLayouts/slideLayout126.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slideLayout" Target="../slideLayouts/slideLayout129.xml"/><Relationship Id="rId37" Type="http://schemas.openxmlformats.org/officeDocument/2006/relationships/slideLayout" Target="../slideLayouts/slideLayout134.xml"/><Relationship Id="rId40" Type="http://schemas.openxmlformats.org/officeDocument/2006/relationships/theme" Target="../theme/theme10.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36" Type="http://schemas.openxmlformats.org/officeDocument/2006/relationships/slideLayout" Target="../slideLayouts/slideLayout133.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31" Type="http://schemas.openxmlformats.org/officeDocument/2006/relationships/slideLayout" Target="../slideLayouts/slideLayout128.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 Id="rId30" Type="http://schemas.openxmlformats.org/officeDocument/2006/relationships/slideLayout" Target="../slideLayouts/slideLayout127.xml"/><Relationship Id="rId35" Type="http://schemas.openxmlformats.org/officeDocument/2006/relationships/slideLayout" Target="../slideLayouts/slideLayout132.xml"/><Relationship Id="rId8" Type="http://schemas.openxmlformats.org/officeDocument/2006/relationships/slideLayout" Target="../slideLayouts/slideLayout105.xml"/><Relationship Id="rId3" Type="http://schemas.openxmlformats.org/officeDocument/2006/relationships/slideLayout" Target="../slideLayouts/slideLayout10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2.jpeg"/><Relationship Id="rId5" Type="http://schemas.openxmlformats.org/officeDocument/2006/relationships/theme" Target="../theme/theme2.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3.xml"/><Relationship Id="rId7" Type="http://schemas.openxmlformats.org/officeDocument/2006/relationships/theme" Target="../theme/theme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 Id="rId9"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tags" Target="../tags/tag24.xml"/><Relationship Id="rId47" Type="http://schemas.openxmlformats.org/officeDocument/2006/relationships/tags" Target="../tags/tag29.xml"/><Relationship Id="rId50" Type="http://schemas.openxmlformats.org/officeDocument/2006/relationships/tags" Target="../tags/tag32.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9" Type="http://schemas.openxmlformats.org/officeDocument/2006/relationships/tags" Target="../tags/tag11.xml"/><Relationship Id="rId11" Type="http://schemas.openxmlformats.org/officeDocument/2006/relationships/slideLayout" Target="../slideLayouts/slideLayout27.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45" Type="http://schemas.openxmlformats.org/officeDocument/2006/relationships/tags" Target="../tags/tag27.xml"/><Relationship Id="rId53" Type="http://schemas.openxmlformats.org/officeDocument/2006/relationships/image" Target="../media/image3.emf"/><Relationship Id="rId5" Type="http://schemas.openxmlformats.org/officeDocument/2006/relationships/slideLayout" Target="../slideLayouts/slideLayout21.xml"/><Relationship Id="rId10" Type="http://schemas.openxmlformats.org/officeDocument/2006/relationships/slideLayout" Target="../slideLayouts/slideLayout26.xml"/><Relationship Id="rId19" Type="http://schemas.openxmlformats.org/officeDocument/2006/relationships/tags" Target="../tags/tag1.xml"/><Relationship Id="rId31" Type="http://schemas.openxmlformats.org/officeDocument/2006/relationships/tags" Target="../tags/tag13.xml"/><Relationship Id="rId44" Type="http://schemas.openxmlformats.org/officeDocument/2006/relationships/tags" Target="../tags/tag26.xml"/><Relationship Id="rId52" Type="http://schemas.openxmlformats.org/officeDocument/2006/relationships/oleObject" Target="../embeddings/oleObject1.bin"/><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tags" Target="../tags/tag25.xml"/><Relationship Id="rId48" Type="http://schemas.openxmlformats.org/officeDocument/2006/relationships/tags" Target="../tags/tag30.xml"/><Relationship Id="rId8" Type="http://schemas.openxmlformats.org/officeDocument/2006/relationships/slideLayout" Target="../slideLayouts/slideLayout24.xml"/><Relationship Id="rId51" Type="http://schemas.openxmlformats.org/officeDocument/2006/relationships/tags" Target="../tags/tag33.xml"/><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theme" Target="../theme/theme4.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46" Type="http://schemas.openxmlformats.org/officeDocument/2006/relationships/tags" Target="../tags/tag28.xml"/><Relationship Id="rId20" Type="http://schemas.openxmlformats.org/officeDocument/2006/relationships/tags" Target="../tags/tag2.xml"/><Relationship Id="rId41" Type="http://schemas.openxmlformats.org/officeDocument/2006/relationships/tags" Target="../tags/tag23.xml"/><Relationship Id="rId54" Type="http://schemas.openxmlformats.org/officeDocument/2006/relationships/image" Target="../media/image4.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5" Type="http://schemas.openxmlformats.org/officeDocument/2006/relationships/slideLayout" Target="../slideLayouts/slideLayout31.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49" Type="http://schemas.openxmlformats.org/officeDocument/2006/relationships/tags" Target="../tags/tag31.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10" Type="http://schemas.openxmlformats.org/officeDocument/2006/relationships/image" Target="../media/image2.jpeg"/><Relationship Id="rId4" Type="http://schemas.openxmlformats.org/officeDocument/2006/relationships/slideLayout" Target="../slideLayouts/slideLayout36.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theme" Target="../theme/theme6.xml"/><Relationship Id="rId1" Type="http://schemas.openxmlformats.org/officeDocument/2006/relationships/slideLayout" Target="../slideLayouts/slideLayout4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5" Type="http://schemas.openxmlformats.org/officeDocument/2006/relationships/slideLayout" Target="../slideLayouts/slideLayout45.xml"/><Relationship Id="rId10" Type="http://schemas.openxmlformats.org/officeDocument/2006/relationships/theme" Target="../theme/theme7.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slideLayout" Target="../slideLayouts/slideLayout78.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theme" Target="../theme/theme8.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8" Type="http://schemas.openxmlformats.org/officeDocument/2006/relationships/slideLayout" Target="../slideLayouts/slideLayout57.xml"/><Relationship Id="rId3" Type="http://schemas.openxmlformats.org/officeDocument/2006/relationships/slideLayout" Target="../slideLayouts/slideLayout5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theme" Target="../theme/theme9.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532283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6B8C773-5BC3-C84A-9D0E-9A61EA940966}"/>
              </a:ext>
            </a:extLst>
          </p:cNvPr>
          <p:cNvSpPr>
            <a:spLocks noGrp="1"/>
          </p:cNvSpPr>
          <p:nvPr>
            <p:ph type="title"/>
          </p:nvPr>
        </p:nvSpPr>
        <p:spPr>
          <a:xfrm>
            <a:off x="462083" y="460378"/>
            <a:ext cx="11266245" cy="876299"/>
          </a:xfrm>
          <a:prstGeom prst="rect">
            <a:avLst/>
          </a:prstGeom>
        </p:spPr>
        <p:txBody>
          <a:bodyPr vert="horz" lIns="0" tIns="0" rIns="1828800" bIns="0" rtlCol="0" anchor="b" anchorCtr="0">
            <a:noAutofit/>
          </a:bodyPr>
          <a:lstStyle/>
          <a:p>
            <a:r>
              <a:rPr lang="en-US"/>
              <a:t>Click to edit Master title style</a:t>
            </a:r>
          </a:p>
        </p:txBody>
      </p:sp>
      <p:sp>
        <p:nvSpPr>
          <p:cNvPr id="5" name="Footer Placeholder 4">
            <a:extLst>
              <a:ext uri="{FF2B5EF4-FFF2-40B4-BE49-F238E27FC236}">
                <a16:creationId xmlns:a16="http://schemas.microsoft.com/office/drawing/2014/main" id="{FC23B854-2C83-5047-BB3A-DDA609150CDA}"/>
              </a:ext>
            </a:extLst>
          </p:cNvPr>
          <p:cNvSpPr>
            <a:spLocks noGrp="1"/>
          </p:cNvSpPr>
          <p:nvPr>
            <p:ph type="ftr" sz="quarter" idx="3"/>
          </p:nvPr>
        </p:nvSpPr>
        <p:spPr>
          <a:xfrm>
            <a:off x="4298483" y="6432562"/>
            <a:ext cx="6937594" cy="234939"/>
          </a:xfrm>
          <a:prstGeom prst="rect">
            <a:avLst/>
          </a:prstGeom>
        </p:spPr>
        <p:txBody>
          <a:bodyPr vert="horz" lIns="91440" tIns="0" rIns="0" bIns="0" rtlCol="0" anchor="b" anchorCtr="0"/>
          <a:lstStyle>
            <a:lvl1pPr algn="r">
              <a:defRPr sz="1000" b="0" i="0" cap="none" baseline="0">
                <a:solidFill>
                  <a:schemeClr val="accent1"/>
                </a:solidFill>
                <a:latin typeface="Barlow" pitchFamily="2" charset="77"/>
              </a:defRPr>
            </a:lvl1pPr>
            <a:lvl2pPr marL="0" algn="r">
              <a:defRPr sz="1000" b="0" i="0" cap="none" baseline="0">
                <a:solidFill>
                  <a:schemeClr val="accent1"/>
                </a:solidFill>
                <a:latin typeface="Barlow" pitchFamily="2" charset="77"/>
              </a:defRPr>
            </a:lvl2pPr>
            <a:lvl3pPr marL="0" algn="r">
              <a:defRPr sz="1000" b="0" i="0" cap="none" baseline="0">
                <a:solidFill>
                  <a:schemeClr val="accent1"/>
                </a:solidFill>
                <a:latin typeface="Barlow" pitchFamily="2" charset="77"/>
              </a:defRPr>
            </a:lvl3pPr>
            <a:lvl4pPr marL="0" algn="r">
              <a:defRPr sz="1000" b="0" i="0" cap="none" baseline="0">
                <a:solidFill>
                  <a:schemeClr val="accent1"/>
                </a:solidFill>
                <a:latin typeface="Barlow" pitchFamily="2" charset="77"/>
              </a:defRPr>
            </a:lvl4pPr>
            <a:lvl5pPr marL="0" algn="r">
              <a:defRPr sz="1000" b="0" i="0" cap="none" baseline="0">
                <a:solidFill>
                  <a:schemeClr val="accent1"/>
                </a:solidFill>
                <a:latin typeface="Barlow" pitchFamily="2" charset="77"/>
              </a:defRPr>
            </a:lvl5pPr>
            <a:lvl6pPr marL="0" algn="r">
              <a:defRPr sz="1000" b="0" i="0" cap="none" baseline="0">
                <a:solidFill>
                  <a:schemeClr val="accent1"/>
                </a:solidFill>
                <a:latin typeface="Barlow" pitchFamily="2" charset="77"/>
              </a:defRPr>
            </a:lvl6pPr>
            <a:lvl7pPr marL="0" algn="r">
              <a:defRPr sz="1000" b="0" i="0" cap="none" baseline="0">
                <a:solidFill>
                  <a:schemeClr val="accent1"/>
                </a:solidFill>
                <a:latin typeface="Barlow" pitchFamily="2" charset="77"/>
              </a:defRPr>
            </a:lvl7pPr>
            <a:lvl8pPr marL="0" algn="r">
              <a:defRPr sz="1000" b="0" i="0" cap="none" baseline="0">
                <a:solidFill>
                  <a:schemeClr val="accent1"/>
                </a:solidFill>
                <a:latin typeface="Barlow" pitchFamily="2" charset="77"/>
              </a:defRPr>
            </a:lvl8pPr>
            <a:lvl9pPr marL="0" algn="r">
              <a:defRPr sz="1000" b="0" i="0" cap="none" baseline="0">
                <a:solidFill>
                  <a:schemeClr val="accent1"/>
                </a:solidFill>
                <a:latin typeface="Barlow" pitchFamily="2" charset="77"/>
              </a:defRPr>
            </a:lvl9pPr>
          </a:lstStyle>
          <a:p>
            <a:r>
              <a:rPr lang="en-US"/>
              <a:t>Presentation Title Here &gt; Insert &gt; Header &amp; Footer</a:t>
            </a:r>
          </a:p>
        </p:txBody>
      </p:sp>
      <p:sp>
        <p:nvSpPr>
          <p:cNvPr id="6" name="Slide Number Placeholder 5">
            <a:extLst>
              <a:ext uri="{FF2B5EF4-FFF2-40B4-BE49-F238E27FC236}">
                <a16:creationId xmlns:a16="http://schemas.microsoft.com/office/drawing/2014/main" id="{B7778AD5-8EBC-D94E-98B2-20AFAF1B4BB2}"/>
              </a:ext>
            </a:extLst>
          </p:cNvPr>
          <p:cNvSpPr>
            <a:spLocks noGrp="1"/>
          </p:cNvSpPr>
          <p:nvPr>
            <p:ph type="sldNum" sz="quarter" idx="4"/>
          </p:nvPr>
        </p:nvSpPr>
        <p:spPr>
          <a:xfrm>
            <a:off x="11236077" y="6432563"/>
            <a:ext cx="492251" cy="231921"/>
          </a:xfrm>
          <a:prstGeom prst="rect">
            <a:avLst/>
          </a:prstGeom>
        </p:spPr>
        <p:txBody>
          <a:bodyPr vert="horz" lIns="0" tIns="0" rIns="0" bIns="0" rtlCol="0" anchor="b" anchorCtr="0"/>
          <a:lstStyle>
            <a:lvl1pPr algn="r">
              <a:defRPr sz="1000" b="0" i="0">
                <a:solidFill>
                  <a:schemeClr val="accent1"/>
                </a:solidFill>
                <a:latin typeface="Barlow" pitchFamily="2" charset="77"/>
              </a:defRPr>
            </a:lvl1pPr>
            <a:lvl2pPr marL="0" algn="r">
              <a:defRPr sz="1000" b="0" i="0">
                <a:solidFill>
                  <a:schemeClr val="accent1"/>
                </a:solidFill>
                <a:latin typeface="Barlow" pitchFamily="2" charset="77"/>
              </a:defRPr>
            </a:lvl2pPr>
            <a:lvl3pPr marL="0" algn="r">
              <a:defRPr sz="1000" b="0" i="0">
                <a:solidFill>
                  <a:schemeClr val="accent1"/>
                </a:solidFill>
                <a:latin typeface="Barlow" pitchFamily="2" charset="77"/>
              </a:defRPr>
            </a:lvl3pPr>
            <a:lvl4pPr marL="0" algn="r">
              <a:defRPr sz="1000" b="0" i="0">
                <a:solidFill>
                  <a:schemeClr val="accent1"/>
                </a:solidFill>
                <a:latin typeface="Barlow" pitchFamily="2" charset="77"/>
              </a:defRPr>
            </a:lvl4pPr>
            <a:lvl5pPr marL="0" algn="r">
              <a:defRPr sz="1000" b="0" i="0">
                <a:solidFill>
                  <a:schemeClr val="accent1"/>
                </a:solidFill>
                <a:latin typeface="Barlow" pitchFamily="2" charset="77"/>
              </a:defRPr>
            </a:lvl5pPr>
            <a:lvl6pPr marL="0" algn="r">
              <a:defRPr sz="1000" b="0" i="0">
                <a:solidFill>
                  <a:schemeClr val="accent1"/>
                </a:solidFill>
                <a:latin typeface="Barlow" pitchFamily="2" charset="77"/>
              </a:defRPr>
            </a:lvl6pPr>
            <a:lvl7pPr marL="0" algn="r">
              <a:defRPr sz="1000" b="0" i="0">
                <a:solidFill>
                  <a:schemeClr val="accent1"/>
                </a:solidFill>
                <a:latin typeface="Barlow" pitchFamily="2" charset="77"/>
              </a:defRPr>
            </a:lvl7pPr>
            <a:lvl8pPr marL="0" algn="r">
              <a:defRPr sz="1000" b="0" i="0">
                <a:solidFill>
                  <a:schemeClr val="accent1"/>
                </a:solidFill>
                <a:latin typeface="Barlow" pitchFamily="2" charset="77"/>
              </a:defRPr>
            </a:lvl8pPr>
            <a:lvl9pPr marL="0" algn="r">
              <a:defRPr sz="1000" b="0" i="0">
                <a:solidFill>
                  <a:schemeClr val="accent1"/>
                </a:solidFill>
                <a:latin typeface="Barlow" pitchFamily="2" charset="77"/>
              </a:defRPr>
            </a:lvl9pPr>
          </a:lstStyle>
          <a:p>
            <a:pPr lvl="8"/>
            <a:fld id="{1E3D5677-3D20-0C46-8497-54D73E689044}" type="slidenum">
              <a:rPr lang="en-US"/>
              <a:pPr lvl="8"/>
              <a:t>‹#›</a:t>
            </a:fld>
            <a:endParaRPr lang="en-US"/>
          </a:p>
        </p:txBody>
      </p:sp>
      <p:sp>
        <p:nvSpPr>
          <p:cNvPr id="7" name="Text Placeholder 6">
            <a:extLst>
              <a:ext uri="{FF2B5EF4-FFF2-40B4-BE49-F238E27FC236}">
                <a16:creationId xmlns:a16="http://schemas.microsoft.com/office/drawing/2014/main" id="{EC2DAC7F-B661-E945-A498-BFF0DDB599FA}"/>
              </a:ext>
            </a:extLst>
          </p:cNvPr>
          <p:cNvSpPr>
            <a:spLocks noGrp="1"/>
          </p:cNvSpPr>
          <p:nvPr>
            <p:ph type="body" idx="1"/>
          </p:nvPr>
        </p:nvSpPr>
        <p:spPr>
          <a:xfrm>
            <a:off x="462083" y="1568450"/>
            <a:ext cx="11266247" cy="466725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9397085"/>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 id="2147483947" r:id="rId16"/>
    <p:sldLayoutId id="2147483948" r:id="rId17"/>
    <p:sldLayoutId id="2147483949" r:id="rId18"/>
    <p:sldLayoutId id="2147483950" r:id="rId19"/>
    <p:sldLayoutId id="2147483951" r:id="rId20"/>
    <p:sldLayoutId id="2147483952" r:id="rId21"/>
    <p:sldLayoutId id="2147483953" r:id="rId22"/>
    <p:sldLayoutId id="2147483954" r:id="rId23"/>
    <p:sldLayoutId id="2147483955" r:id="rId24"/>
    <p:sldLayoutId id="2147483956" r:id="rId25"/>
    <p:sldLayoutId id="2147483957" r:id="rId26"/>
    <p:sldLayoutId id="2147483958" r:id="rId27"/>
    <p:sldLayoutId id="2147483959" r:id="rId28"/>
    <p:sldLayoutId id="2147483960" r:id="rId29"/>
    <p:sldLayoutId id="2147483961" r:id="rId30"/>
    <p:sldLayoutId id="2147483962" r:id="rId31"/>
    <p:sldLayoutId id="2147483963" r:id="rId32"/>
    <p:sldLayoutId id="2147483964" r:id="rId33"/>
    <p:sldLayoutId id="2147483965" r:id="rId34"/>
    <p:sldLayoutId id="2147483966" r:id="rId35"/>
    <p:sldLayoutId id="2147483967" r:id="rId36"/>
    <p:sldLayoutId id="2147483968" r:id="rId37"/>
    <p:sldLayoutId id="2147483969" r:id="rId38"/>
    <p:sldLayoutId id="2147483970" r:id="rId39"/>
  </p:sldLayoutIdLst>
  <p:hf hdr="0" dt="0"/>
  <p:txStyles>
    <p:titleStyle>
      <a:lvl1pPr algn="l" defTabSz="914309" rtl="0" eaLnBrk="1" latinLnBrk="0" hangingPunct="1">
        <a:lnSpc>
          <a:spcPts val="3400"/>
        </a:lnSpc>
        <a:spcBef>
          <a:spcPct val="0"/>
        </a:spcBef>
        <a:buNone/>
        <a:defRPr sz="2800" b="0" i="0" kern="1200" cap="none" baseline="0">
          <a:solidFill>
            <a:schemeClr val="accent1"/>
          </a:solidFill>
          <a:latin typeface="Lora" pitchFamily="2" charset="77"/>
          <a:ea typeface="+mj-ea"/>
          <a:cs typeface="+mj-cs"/>
        </a:defRPr>
      </a:lvl1pPr>
    </p:titleStyle>
    <p:bodyStyle>
      <a:lvl1pPr marL="0" marR="0" indent="0" algn="l" defTabSz="914309" rtl="0" eaLnBrk="1" fontAlgn="auto" latinLnBrk="0" hangingPunct="1">
        <a:lnSpc>
          <a:spcPts val="2100"/>
        </a:lnSpc>
        <a:spcBef>
          <a:spcPts val="0"/>
        </a:spcBef>
        <a:spcAft>
          <a:spcPts val="900"/>
        </a:spcAft>
        <a:buClrTx/>
        <a:buSzTx/>
        <a:buFont typeface="+mj-lt"/>
        <a:buNone/>
        <a:tabLst/>
        <a:defRPr sz="1800" b="0" i="0" kern="1200">
          <a:solidFill>
            <a:schemeClr val="tx1"/>
          </a:solidFill>
          <a:latin typeface="Barlow" pitchFamily="2" charset="77"/>
          <a:ea typeface="Verdana" panose="020B0604030504040204" pitchFamily="34" charset="0"/>
          <a:cs typeface="Arial" panose="020B0604020202020204" pitchFamily="34" charset="0"/>
        </a:defRPr>
      </a:lvl1pPr>
      <a:lvl2pPr marL="0" marR="0" indent="0" algn="l" defTabSz="914309" rtl="0" eaLnBrk="1" fontAlgn="auto" latinLnBrk="0" hangingPunct="1">
        <a:lnSpc>
          <a:spcPts val="2100"/>
        </a:lnSpc>
        <a:spcBef>
          <a:spcPts val="0"/>
        </a:spcBef>
        <a:spcAft>
          <a:spcPts val="900"/>
        </a:spcAft>
        <a:buClr>
          <a:schemeClr val="tx2"/>
        </a:buClr>
        <a:buSzTx/>
        <a:buFont typeface="+mj-lt"/>
        <a:buNone/>
        <a:tabLst/>
        <a:defRPr sz="2000" b="1" i="0" kern="1200">
          <a:solidFill>
            <a:schemeClr val="accent2"/>
          </a:solidFill>
          <a:latin typeface="Barlow" pitchFamily="2" charset="77"/>
          <a:ea typeface="+mn-ea"/>
          <a:cs typeface="+mn-cs"/>
        </a:defRPr>
      </a:lvl2pPr>
      <a:lvl3pPr marL="285750" indent="-285750" algn="l" defTabSz="914309" rtl="0" eaLnBrk="1" latinLnBrk="0" hangingPunct="1">
        <a:lnSpc>
          <a:spcPts val="2100"/>
        </a:lnSpc>
        <a:spcBef>
          <a:spcPts val="0"/>
        </a:spcBef>
        <a:spcAft>
          <a:spcPts val="900"/>
        </a:spcAft>
        <a:buClr>
          <a:schemeClr val="accent2"/>
        </a:buClr>
        <a:buFont typeface="Arial" panose="020B0604020202020204" pitchFamily="34" charset="0"/>
        <a:buChar char="•"/>
        <a:defRPr sz="1800" b="0" i="0" kern="1200" baseline="0">
          <a:solidFill>
            <a:schemeClr val="tx1"/>
          </a:solidFill>
          <a:latin typeface="Barlow" pitchFamily="2" charset="77"/>
          <a:ea typeface="Verdana" panose="020B0604030504040204" pitchFamily="34" charset="0"/>
          <a:cs typeface="Arial" panose="020B0604020202020204" pitchFamily="34" charset="0"/>
        </a:defRPr>
      </a:lvl3pPr>
      <a:lvl4pPr marL="514327" indent="-285750" algn="l" defTabSz="914309" rtl="0" eaLnBrk="1" latinLnBrk="0" hangingPunct="1">
        <a:lnSpc>
          <a:spcPts val="2100"/>
        </a:lnSpc>
        <a:spcBef>
          <a:spcPts val="0"/>
        </a:spcBef>
        <a:spcAft>
          <a:spcPts val="900"/>
        </a:spcAft>
        <a:buClr>
          <a:schemeClr val="accent2"/>
        </a:buClr>
        <a:buFont typeface="Courier New" panose="02070309020205020404" pitchFamily="49" charset="0"/>
        <a:buChar char="o"/>
        <a:tabLst/>
        <a:defRPr sz="1800" b="0" i="0" kern="1200">
          <a:solidFill>
            <a:schemeClr val="tx1"/>
          </a:solidFill>
          <a:latin typeface="Barlow" pitchFamily="2" charset="77"/>
          <a:ea typeface="Verdana" panose="020B0604030504040204" pitchFamily="34" charset="0"/>
          <a:cs typeface="Arial" panose="020B0604020202020204" pitchFamily="34" charset="0"/>
        </a:defRPr>
      </a:lvl4pPr>
      <a:lvl5pPr marL="342922" indent="-342900" algn="l" defTabSz="914309" rtl="0" eaLnBrk="1" latinLnBrk="0" hangingPunct="1">
        <a:lnSpc>
          <a:spcPts val="2100"/>
        </a:lnSpc>
        <a:spcBef>
          <a:spcPts val="0"/>
        </a:spcBef>
        <a:spcAft>
          <a:spcPts val="900"/>
        </a:spcAft>
        <a:buClr>
          <a:schemeClr val="accent2"/>
        </a:buClr>
        <a:buFont typeface="+mj-lt"/>
        <a:buAutoNum type="arabicPeriod"/>
        <a:defRPr sz="1800" b="0" i="0" kern="1200">
          <a:solidFill>
            <a:schemeClr val="tx1"/>
          </a:solidFill>
          <a:latin typeface="Barlow" pitchFamily="2" charset="77"/>
          <a:ea typeface="Verdana" panose="020B0604030504040204" pitchFamily="34" charset="0"/>
          <a:cs typeface="Arial" panose="020B0604020202020204" pitchFamily="34" charset="0"/>
        </a:defRPr>
      </a:lvl5pPr>
      <a:lvl6pPr marL="571477" indent="-342900" algn="l" defTabSz="914309" rtl="0" eaLnBrk="1" latinLnBrk="0" hangingPunct="1">
        <a:lnSpc>
          <a:spcPts val="2100"/>
        </a:lnSpc>
        <a:spcBef>
          <a:spcPts val="0"/>
        </a:spcBef>
        <a:spcAft>
          <a:spcPts val="900"/>
        </a:spcAft>
        <a:buClr>
          <a:schemeClr val="accent2"/>
        </a:buClr>
        <a:buFont typeface="+mj-lt"/>
        <a:buAutoNum type="arabicPeriod"/>
        <a:defRPr sz="1800" b="0" i="0" kern="1200">
          <a:solidFill>
            <a:schemeClr val="tx1"/>
          </a:solidFill>
          <a:latin typeface="Barlow" pitchFamily="2" charset="77"/>
          <a:ea typeface="Verdana" panose="020B0604030504040204" pitchFamily="34" charset="0"/>
          <a:cs typeface="Arial" panose="020B0604020202020204" pitchFamily="34" charset="0"/>
        </a:defRPr>
      </a:lvl6pPr>
      <a:lvl7pPr marL="571477" indent="-342900" algn="l" defTabSz="914309" rtl="0" eaLnBrk="1" latinLnBrk="0" hangingPunct="1">
        <a:lnSpc>
          <a:spcPts val="2100"/>
        </a:lnSpc>
        <a:spcBef>
          <a:spcPts val="0"/>
        </a:spcBef>
        <a:spcAft>
          <a:spcPts val="900"/>
        </a:spcAft>
        <a:buClr>
          <a:schemeClr val="accent2"/>
        </a:buClr>
        <a:buFont typeface="+mj-lt"/>
        <a:buAutoNum type="arabicPeriod"/>
        <a:defRPr sz="1800" b="0" i="0" kern="1200">
          <a:solidFill>
            <a:schemeClr val="tx1"/>
          </a:solidFill>
          <a:latin typeface="Barlow" pitchFamily="2" charset="77"/>
          <a:ea typeface="Verdana" panose="020B0604030504040204" pitchFamily="34" charset="0"/>
          <a:cs typeface="Arial" panose="020B0604020202020204" pitchFamily="34" charset="0"/>
        </a:defRPr>
      </a:lvl7pPr>
      <a:lvl8pPr marL="571477" indent="-342900" algn="l" defTabSz="914309" rtl="0" eaLnBrk="1" latinLnBrk="0" hangingPunct="1">
        <a:lnSpc>
          <a:spcPts val="2100"/>
        </a:lnSpc>
        <a:spcBef>
          <a:spcPts val="0"/>
        </a:spcBef>
        <a:spcAft>
          <a:spcPts val="900"/>
        </a:spcAft>
        <a:buClr>
          <a:schemeClr val="accent2"/>
        </a:buClr>
        <a:buFont typeface="+mj-lt"/>
        <a:buAutoNum type="arabicPeriod"/>
        <a:defRPr sz="1800" b="0" i="0" kern="1200">
          <a:solidFill>
            <a:schemeClr val="tx1"/>
          </a:solidFill>
          <a:latin typeface="Barlow" pitchFamily="2" charset="77"/>
          <a:ea typeface="Verdana" panose="020B0604030504040204" pitchFamily="34" charset="0"/>
          <a:cs typeface="Arial" panose="020B0604020202020204" pitchFamily="34" charset="0"/>
        </a:defRPr>
      </a:lvl8pPr>
      <a:lvl9pPr marL="571477" indent="-342900" algn="l" defTabSz="914309" rtl="0" eaLnBrk="1" latinLnBrk="0" hangingPunct="1">
        <a:lnSpc>
          <a:spcPts val="2100"/>
        </a:lnSpc>
        <a:spcBef>
          <a:spcPts val="0"/>
        </a:spcBef>
        <a:spcAft>
          <a:spcPts val="900"/>
        </a:spcAft>
        <a:buClr>
          <a:schemeClr val="accent2"/>
        </a:buClr>
        <a:buFont typeface="+mj-lt"/>
        <a:buAutoNum type="arabicPeriod"/>
        <a:defRPr sz="1800" b="0" i="0" kern="1200">
          <a:solidFill>
            <a:schemeClr val="tx1"/>
          </a:solidFill>
          <a:latin typeface="Barlow" pitchFamily="2" charset="77"/>
          <a:ea typeface="Verdana" panose="020B0604030504040204" pitchFamily="34" charset="0"/>
          <a:cs typeface="Arial" panose="020B0604020202020204" pitchFamily="34" charset="0"/>
        </a:defRPr>
      </a:lvl9pPr>
    </p:bodyStyle>
    <p:otherStyle>
      <a:defPPr>
        <a:defRPr lang="en-US"/>
      </a:defPPr>
      <a:lvl1pPr marL="0" algn="l" defTabSz="914309" rtl="0" eaLnBrk="1" latinLnBrk="0" hangingPunct="1">
        <a:defRPr sz="1800" kern="1200">
          <a:solidFill>
            <a:schemeClr val="tx1"/>
          </a:solidFill>
          <a:latin typeface="+mn-lt"/>
          <a:ea typeface="+mn-ea"/>
          <a:cs typeface="+mn-cs"/>
        </a:defRPr>
      </a:lvl1pPr>
      <a:lvl2pPr marL="457155"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4" algn="l" defTabSz="914309" rtl="0" eaLnBrk="1" latinLnBrk="0" hangingPunct="1">
        <a:defRPr sz="1800" kern="1200">
          <a:solidFill>
            <a:schemeClr val="tx1"/>
          </a:solidFill>
          <a:latin typeface="+mn-lt"/>
          <a:ea typeface="+mn-ea"/>
          <a:cs typeface="+mn-cs"/>
        </a:defRPr>
      </a:lvl4pPr>
      <a:lvl5pPr marL="1828618" algn="l" defTabSz="914309" rtl="0" eaLnBrk="1" latinLnBrk="0" hangingPunct="1">
        <a:defRPr sz="1800" kern="1200">
          <a:solidFill>
            <a:schemeClr val="tx1"/>
          </a:solidFill>
          <a:latin typeface="+mn-lt"/>
          <a:ea typeface="+mn-ea"/>
          <a:cs typeface="+mn-cs"/>
        </a:defRPr>
      </a:lvl5pPr>
      <a:lvl6pPr marL="2285774"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5"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pos="3908">
          <p15:clr>
            <a:srgbClr val="F26B43"/>
          </p15:clr>
        </p15:guide>
        <p15:guide id="18" pos="7385">
          <p15:clr>
            <a:srgbClr val="F26B43"/>
          </p15:clr>
        </p15:guide>
        <p15:guide id="19" orient="horz" pos="986">
          <p15:clr>
            <a:srgbClr val="F26B43"/>
          </p15:clr>
        </p15:guide>
        <p15:guide id="20" orient="horz" pos="4200">
          <p15:clr>
            <a:srgbClr val="F26B43"/>
          </p15:clr>
        </p15:guide>
        <p15:guide id="21" orient="horz" pos="4050">
          <p15:clr>
            <a:srgbClr val="F26B43"/>
          </p15:clr>
        </p15:guide>
        <p15:guide id="22" orient="horz" pos="842">
          <p15:clr>
            <a:srgbClr val="F26B43"/>
          </p15:clr>
        </p15:guide>
        <p15:guide id="23" pos="3768">
          <p15:clr>
            <a:srgbClr val="F26B43"/>
          </p15:clr>
        </p15:guide>
        <p15:guide id="24" pos="3839">
          <p15:clr>
            <a:srgbClr val="F26B43"/>
          </p15:clr>
        </p15:guide>
        <p15:guide id="25" orient="horz" pos="3928">
          <p15:clr>
            <a:srgbClr val="F26B43"/>
          </p15:clr>
        </p15:guide>
        <p15:guide id="26" orient="horz" pos="290">
          <p15:clr>
            <a:srgbClr val="F26B43"/>
          </p15:clr>
        </p15:guide>
        <p15:guide id="27" pos="290">
          <p15:clr>
            <a:srgbClr val="F26B43"/>
          </p15:clr>
        </p15:guide>
        <p15:guide id="32" pos="2707">
          <p15:clr>
            <a:srgbClr val="F26B43"/>
          </p15:clr>
        </p15:guide>
        <p15:guide id="33" pos="2562">
          <p15:clr>
            <a:srgbClr val="F26B43"/>
          </p15:clr>
        </p15:guide>
        <p15:guide id="34" pos="4975">
          <p15:clr>
            <a:srgbClr val="F26B43"/>
          </p15:clr>
        </p15:guide>
        <p15:guide id="35" pos="5117">
          <p15:clr>
            <a:srgbClr val="F26B43"/>
          </p15:clr>
        </p15:guide>
        <p15:guide id="36" orient="horz" pos="379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1"/>
          <p:cNvSpPr>
            <a:spLocks noChangeArrowheads="1"/>
          </p:cNvSpPr>
          <p:nvPr/>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a:solidFill>
                  <a:schemeClr val="bg1"/>
                </a:solidFill>
                <a:latin typeface="Arial" pitchFamily="34" charset="0"/>
                <a:cs typeface="Arial" pitchFamily="34" charset="0"/>
              </a:rPr>
              <a:t>Sacred Encounters   Perfect Care   Healthiest Communities</a:t>
            </a:r>
          </a:p>
        </p:txBody>
      </p:sp>
      <p:sp>
        <p:nvSpPr>
          <p:cNvPr id="16" name="Rectangle 15"/>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890607693"/>
      </p:ext>
    </p:extLst>
  </p:cSld>
  <p:clrMap bg1="lt1" tx1="dk1" bg2="lt2" tx2="dk2" accent1="accent1" accent2="accent2" accent3="accent3" accent4="accent4" accent5="accent5" accent6="accent6" hlink="hlink" folHlink="folHlink"/>
  <p:sldLayoutIdLst>
    <p:sldLayoutId id="2147483669" r:id="rId1"/>
    <p:sldLayoutId id="2147483682" r:id="rId2"/>
    <p:sldLayoutId id="2147483728" r:id="rId3"/>
    <p:sldLayoutId id="2147483842"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08346341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556"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9" name="Title"/>
          <p:cNvSpPr>
            <a:spLocks noGrp="1" noChangeArrowheads="1"/>
          </p:cNvSpPr>
          <p:nvPr>
            <p:ph type="title"/>
          </p:nvPr>
        </p:nvSpPr>
        <p:spPr bwMode="gray">
          <a:xfrm>
            <a:off x="554736" y="246620"/>
            <a:ext cx="11082528"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x-none" noProof="0"/>
          </a:p>
        </p:txBody>
      </p:sp>
      <p:sp>
        <p:nvSpPr>
          <p:cNvPr id="3" name="Rectangle 286"/>
          <p:cNvSpPr>
            <a:spLocks noGrp="1"/>
          </p:cNvSpPr>
          <p:nvPr>
            <p:ph type="body" idx="1"/>
          </p:nvPr>
        </p:nvSpPr>
        <p:spPr bwMode="gray">
          <a:xfrm>
            <a:off x="2371623" y="2708460"/>
            <a:ext cx="5801188"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59" name="LegendBoxes" hidden="1"/>
          <p:cNvGrpSpPr>
            <a:grpSpLocks/>
          </p:cNvGrpSpPr>
          <p:nvPr userDrawn="1"/>
        </p:nvGrpSpPr>
        <p:grpSpPr bwMode="auto">
          <a:xfrm>
            <a:off x="10873676" y="30498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110" name="LegendLines" hidden="1"/>
          <p:cNvGrpSpPr>
            <a:grpSpLocks/>
          </p:cNvGrpSpPr>
          <p:nvPr userDrawn="1"/>
        </p:nvGrpSpPr>
        <p:grpSpPr bwMode="auto">
          <a:xfrm>
            <a:off x="10565701" y="30498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17" name="Sticker" hidden="1"/>
          <p:cNvGrpSpPr/>
          <p:nvPr userDrawn="1"/>
        </p:nvGrpSpPr>
        <p:grpSpPr bwMode="auto">
          <a:xfrm>
            <a:off x="10912258" y="30498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4. Footnote" hidden="1">
            <a:extLst>
              <a:ext uri="{FF2B5EF4-FFF2-40B4-BE49-F238E27FC236}">
                <a16:creationId xmlns:a16="http://schemas.microsoft.com/office/drawing/2014/main" id="{412901F3-09BA-4769-A43D-1B04A1317EB8}"/>
              </a:ext>
            </a:extLst>
          </p:cNvPr>
          <p:cNvSpPr txBox="1">
            <a:spLocks noChangeArrowheads="1"/>
          </p:cNvSpPr>
          <p:nvPr userDrawn="1"/>
        </p:nvSpPr>
        <p:spPr bwMode="gray">
          <a:xfrm>
            <a:off x="554737" y="638744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200" indent="-76200">
              <a:defRPr lang="x-none"/>
            </a:pPr>
            <a:r>
              <a:rPr lang="en-US" sz="1000" baseline="0">
                <a:solidFill>
                  <a:schemeClr val="accent6"/>
                </a:solidFill>
                <a:latin typeface="+mn-lt"/>
              </a:rPr>
              <a:t>1 Footnote</a:t>
            </a:r>
          </a:p>
        </p:txBody>
      </p:sp>
      <p:sp>
        <p:nvSpPr>
          <p:cNvPr id="64" name="5. Source" hidden="1">
            <a:extLst>
              <a:ext uri="{FF2B5EF4-FFF2-40B4-BE49-F238E27FC236}">
                <a16:creationId xmlns:a16="http://schemas.microsoft.com/office/drawing/2014/main" id="{64B0B00E-7E47-4DA3-961A-6552768CD005}"/>
              </a:ext>
            </a:extLst>
          </p:cNvPr>
          <p:cNvSpPr>
            <a:spLocks noChangeArrowheads="1"/>
          </p:cNvSpPr>
          <p:nvPr userDrawn="1"/>
        </p:nvSpPr>
        <p:spPr bwMode="gray">
          <a:xfrm>
            <a:off x="554737" y="657161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2588" indent="-382588" defTabSz="1218026">
              <a:tabLst/>
            </a:pPr>
            <a:r>
              <a:rPr lang="en-US" sz="1000" baseline="0" noProof="0">
                <a:solidFill>
                  <a:schemeClr val="accent6"/>
                </a:solidFill>
                <a:latin typeface="+mn-lt"/>
                <a:ea typeface="+mn-ea"/>
              </a:rPr>
              <a:t>SOURCE: Source</a:t>
            </a:r>
          </a:p>
        </p:txBody>
      </p:sp>
      <p:sp>
        <p:nvSpPr>
          <p:cNvPr id="65" name="1. On-page tracker" hidden="1">
            <a:extLst>
              <a:ext uri="{FF2B5EF4-FFF2-40B4-BE49-F238E27FC236}">
                <a16:creationId xmlns:a16="http://schemas.microsoft.com/office/drawing/2014/main" id="{5A0E5571-BAD2-4B4E-9525-DFC56DB7C148}"/>
              </a:ext>
            </a:extLst>
          </p:cNvPr>
          <p:cNvSpPr>
            <a:spLocks noChangeArrowheads="1"/>
          </p:cNvSpPr>
          <p:nvPr userDrawn="1"/>
        </p:nvSpPr>
        <p:spPr bwMode="gray">
          <a:xfrm>
            <a:off x="554736" y="77304"/>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cap="all" baseline="0">
                <a:solidFill>
                  <a:schemeClr val="accent6"/>
                </a:solidFill>
                <a:latin typeface="+mn-lt"/>
              </a:rPr>
              <a:t>TRACKER</a:t>
            </a:r>
          </a:p>
        </p:txBody>
      </p:sp>
      <p:sp>
        <p:nvSpPr>
          <p:cNvPr id="66" name="3. Unit of measure" hidden="1">
            <a:extLst>
              <a:ext uri="{FF2B5EF4-FFF2-40B4-BE49-F238E27FC236}">
                <a16:creationId xmlns:a16="http://schemas.microsoft.com/office/drawing/2014/main" id="{9C9BE332-9071-44F3-B6CA-36B4B475E453}"/>
              </a:ext>
            </a:extLst>
          </p:cNvPr>
          <p:cNvSpPr txBox="1">
            <a:spLocks noChangeArrowheads="1"/>
          </p:cNvSpPr>
          <p:nvPr userDrawn="1"/>
        </p:nvSpPr>
        <p:spPr bwMode="gray">
          <a:xfrm>
            <a:off x="554736" y="643467"/>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800" baseline="0">
                <a:solidFill>
                  <a:schemeClr val="tx1"/>
                </a:solidFill>
              </a:rPr>
              <a:t>Unit of measure </a:t>
            </a:r>
          </a:p>
        </p:txBody>
      </p:sp>
      <p:pic>
        <p:nvPicPr>
          <p:cNvPr id="67" name="reversed.png">
            <a:extLst>
              <a:ext uri="{FF2B5EF4-FFF2-40B4-BE49-F238E27FC236}">
                <a16:creationId xmlns:a16="http://schemas.microsoft.com/office/drawing/2014/main" id="{DED27113-6B0F-4ADD-838F-D59C13F5C915}"/>
              </a:ext>
            </a:extLst>
          </p:cNvPr>
          <p:cNvPicPr>
            <a:picLocks noChangeAspect="1"/>
          </p:cNvPicPr>
          <p:nvPr userDrawn="1"/>
        </p:nvPicPr>
        <p:blipFill rotWithShape="1">
          <a:blip r:embed="rId54">
            <a:alphaModFix amt="45000"/>
          </a:blip>
          <a:srcRect l="9229" t="16982" r="12169" b="29409"/>
          <a:stretch/>
        </p:blipFill>
        <p:spPr>
          <a:xfrm>
            <a:off x="9359152" y="6336562"/>
            <a:ext cx="1994647" cy="484786"/>
          </a:xfrm>
          <a:prstGeom prst="rect">
            <a:avLst/>
          </a:prstGeom>
        </p:spPr>
      </p:pic>
      <p:sp>
        <p:nvSpPr>
          <p:cNvPr id="68" name="Slide Number">
            <a:extLst>
              <a:ext uri="{FF2B5EF4-FFF2-40B4-BE49-F238E27FC236}">
                <a16:creationId xmlns:a16="http://schemas.microsoft.com/office/drawing/2014/main" id="{35D95BCD-4F50-49FD-A7D9-C76FCA285DA4}"/>
              </a:ext>
            </a:extLst>
          </p:cNvPr>
          <p:cNvSpPr>
            <a:spLocks noChangeArrowheads="1"/>
          </p:cNvSpPr>
          <p:nvPr userDrawn="1">
            <p:custDataLst>
              <p:tags r:id="rId21"/>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accent6"/>
              </a:solidFill>
              <a:latin typeface="+mn-lt"/>
              <a:ea typeface="+mn-ea"/>
              <a:cs typeface="Arial" panose="020B0604020202020204" pitchFamily="34" charset="0"/>
            </a:endParaRPr>
          </a:p>
        </p:txBody>
      </p:sp>
      <p:grpSp>
        <p:nvGrpSpPr>
          <p:cNvPr id="56" name="QuaterMoon" hidden="1">
            <a:extLst>
              <a:ext uri="{FF2B5EF4-FFF2-40B4-BE49-F238E27FC236}">
                <a16:creationId xmlns:a16="http://schemas.microsoft.com/office/drawing/2014/main" id="{039B7385-B71F-42AB-AB4B-F19A016714F6}"/>
              </a:ext>
            </a:extLst>
          </p:cNvPr>
          <p:cNvGrpSpPr>
            <a:grpSpLocks noChangeAspect="1"/>
          </p:cNvGrpSpPr>
          <p:nvPr userDrawn="1">
            <p:custDataLst>
              <p:tags r:id="rId22"/>
            </p:custDataLst>
          </p:nvPr>
        </p:nvGrpSpPr>
        <p:grpSpPr>
          <a:xfrm>
            <a:off x="11383264" y="3000796"/>
            <a:ext cx="254000" cy="254000"/>
            <a:chOff x="762000" y="1270000"/>
            <a:chExt cx="254000" cy="254000"/>
          </a:xfrm>
        </p:grpSpPr>
        <p:sp>
          <p:nvSpPr>
            <p:cNvPr id="57" name="Oval 56">
              <a:extLst>
                <a:ext uri="{FF2B5EF4-FFF2-40B4-BE49-F238E27FC236}">
                  <a16:creationId xmlns:a16="http://schemas.microsoft.com/office/drawing/2014/main" id="{4D014335-BCFC-4D47-9214-B3A524CB5B0E}"/>
                </a:ext>
              </a:extLst>
            </p:cNvPr>
            <p:cNvSpPr/>
            <p:nvPr>
              <p:custDataLst>
                <p:tags r:id="rId50"/>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Arc 57">
              <a:extLst>
                <a:ext uri="{FF2B5EF4-FFF2-40B4-BE49-F238E27FC236}">
                  <a16:creationId xmlns:a16="http://schemas.microsoft.com/office/drawing/2014/main" id="{D18DBC09-3DA7-45A6-A40C-69D760253366}"/>
                </a:ext>
              </a:extLst>
            </p:cNvPr>
            <p:cNvSpPr/>
            <p:nvPr>
              <p:custDataLst>
                <p:tags r:id="rId51"/>
              </p:custDataLst>
            </p:nvPr>
          </p:nvSpPr>
          <p:spPr>
            <a:xfrm>
              <a:off x="762000" y="1270000"/>
              <a:ext cx="254000" cy="254000"/>
            </a:xfrm>
            <a:prstGeom prst="arc">
              <a:avLst>
                <a:gd name="adj1" fmla="val 16200000"/>
                <a:gd name="adj2" fmla="val 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0" name="HalfMoon" hidden="1">
            <a:extLst>
              <a:ext uri="{FF2B5EF4-FFF2-40B4-BE49-F238E27FC236}">
                <a16:creationId xmlns:a16="http://schemas.microsoft.com/office/drawing/2014/main" id="{CA65823D-5AF5-4163-8E94-0FB7A570EDC9}"/>
              </a:ext>
            </a:extLst>
          </p:cNvPr>
          <p:cNvGrpSpPr>
            <a:grpSpLocks noChangeAspect="1"/>
          </p:cNvGrpSpPr>
          <p:nvPr userDrawn="1">
            <p:custDataLst>
              <p:tags r:id="rId23"/>
            </p:custDataLst>
          </p:nvPr>
        </p:nvGrpSpPr>
        <p:grpSpPr>
          <a:xfrm>
            <a:off x="11383264" y="3508796"/>
            <a:ext cx="254000" cy="254000"/>
            <a:chOff x="762000" y="1270000"/>
            <a:chExt cx="254000" cy="254000"/>
          </a:xfrm>
        </p:grpSpPr>
        <p:sp>
          <p:nvSpPr>
            <p:cNvPr id="61" name="Oval 60">
              <a:extLst>
                <a:ext uri="{FF2B5EF4-FFF2-40B4-BE49-F238E27FC236}">
                  <a16:creationId xmlns:a16="http://schemas.microsoft.com/office/drawing/2014/main" id="{4EE1C7D3-3C33-4A8B-AE96-77B07CC26845}"/>
                </a:ext>
              </a:extLst>
            </p:cNvPr>
            <p:cNvSpPr/>
            <p:nvPr>
              <p:custDataLst>
                <p:tags r:id="rId48"/>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Arc 61">
              <a:extLst>
                <a:ext uri="{FF2B5EF4-FFF2-40B4-BE49-F238E27FC236}">
                  <a16:creationId xmlns:a16="http://schemas.microsoft.com/office/drawing/2014/main" id="{89BF9D94-3183-4403-9083-DEDD4047C4B6}"/>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9" name="3QuaterMoon" hidden="1">
            <a:extLst>
              <a:ext uri="{FF2B5EF4-FFF2-40B4-BE49-F238E27FC236}">
                <a16:creationId xmlns:a16="http://schemas.microsoft.com/office/drawing/2014/main" id="{1A9A5D6E-7B4E-4E49-9100-497BB32E3321}"/>
              </a:ext>
            </a:extLst>
          </p:cNvPr>
          <p:cNvGrpSpPr>
            <a:grpSpLocks noChangeAspect="1"/>
          </p:cNvGrpSpPr>
          <p:nvPr userDrawn="1">
            <p:custDataLst>
              <p:tags r:id="rId24"/>
            </p:custDataLst>
          </p:nvPr>
        </p:nvGrpSpPr>
        <p:grpSpPr>
          <a:xfrm>
            <a:off x="11383264" y="4016796"/>
            <a:ext cx="254000" cy="254000"/>
            <a:chOff x="762000" y="1270000"/>
            <a:chExt cx="254000" cy="254000"/>
          </a:xfrm>
        </p:grpSpPr>
        <p:sp>
          <p:nvSpPr>
            <p:cNvPr id="70" name="Oval 69">
              <a:extLst>
                <a:ext uri="{FF2B5EF4-FFF2-40B4-BE49-F238E27FC236}">
                  <a16:creationId xmlns:a16="http://schemas.microsoft.com/office/drawing/2014/main" id="{09A19D8E-1F5F-4BA2-83D5-41BB4C225F51}"/>
                </a:ext>
              </a:extLst>
            </p:cNvPr>
            <p:cNvSpPr/>
            <p:nvPr>
              <p:custDataLst>
                <p:tags r:id="rId46"/>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1" name="Arc 70">
              <a:extLst>
                <a:ext uri="{FF2B5EF4-FFF2-40B4-BE49-F238E27FC236}">
                  <a16:creationId xmlns:a16="http://schemas.microsoft.com/office/drawing/2014/main" id="{87A85809-98B8-4D3D-9307-D4D19835B7B9}"/>
                </a:ext>
              </a:extLst>
            </p:cNvPr>
            <p:cNvSpPr/>
            <p:nvPr>
              <p:custDataLst>
                <p:tags r:id="rId47"/>
              </p:custDataLst>
            </p:nvPr>
          </p:nvSpPr>
          <p:spPr>
            <a:xfrm>
              <a:off x="762000" y="1270000"/>
              <a:ext cx="254000" cy="254000"/>
            </a:xfrm>
            <a:prstGeom prst="arc">
              <a:avLst>
                <a:gd name="adj1" fmla="val 16200000"/>
                <a:gd name="adj2" fmla="val 108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2" name="FullMoon" hidden="1">
            <a:extLst>
              <a:ext uri="{FF2B5EF4-FFF2-40B4-BE49-F238E27FC236}">
                <a16:creationId xmlns:a16="http://schemas.microsoft.com/office/drawing/2014/main" id="{103A62B5-C3FA-4342-A3CD-09FFF67FAFC2}"/>
              </a:ext>
            </a:extLst>
          </p:cNvPr>
          <p:cNvGrpSpPr>
            <a:grpSpLocks noChangeAspect="1"/>
          </p:cNvGrpSpPr>
          <p:nvPr userDrawn="1">
            <p:custDataLst>
              <p:tags r:id="rId25"/>
            </p:custDataLst>
          </p:nvPr>
        </p:nvGrpSpPr>
        <p:grpSpPr>
          <a:xfrm>
            <a:off x="11383264" y="4524796"/>
            <a:ext cx="254000" cy="254000"/>
            <a:chOff x="762000" y="1270000"/>
            <a:chExt cx="254000" cy="254000"/>
          </a:xfrm>
        </p:grpSpPr>
        <p:sp>
          <p:nvSpPr>
            <p:cNvPr id="73" name="Oval 72">
              <a:extLst>
                <a:ext uri="{FF2B5EF4-FFF2-40B4-BE49-F238E27FC236}">
                  <a16:creationId xmlns:a16="http://schemas.microsoft.com/office/drawing/2014/main" id="{BB695119-5322-4756-8170-A5EBE25271E6}"/>
                </a:ext>
              </a:extLst>
            </p:cNvPr>
            <p:cNvSpPr/>
            <p:nvPr>
              <p:custDataLst>
                <p:tags r:id="rId44"/>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4" name="Arc 73">
              <a:extLst>
                <a:ext uri="{FF2B5EF4-FFF2-40B4-BE49-F238E27FC236}">
                  <a16:creationId xmlns:a16="http://schemas.microsoft.com/office/drawing/2014/main" id="{7BE1C112-65B6-4737-9E8A-9CBC8A76957C}"/>
                </a:ext>
              </a:extLst>
            </p:cNvPr>
            <p:cNvSpPr/>
            <p:nvPr>
              <p:custDataLst>
                <p:tags r:id="rId45"/>
              </p:custDataLst>
            </p:nvPr>
          </p:nvSpPr>
          <p:spPr>
            <a:xfrm>
              <a:off x="762000" y="1270000"/>
              <a:ext cx="254000" cy="254000"/>
            </a:xfrm>
            <a:prstGeom prst="arc">
              <a:avLst>
                <a:gd name="adj1" fmla="val 16200000"/>
                <a:gd name="adj2" fmla="val 162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5" name="LegendMoons" hidden="1">
            <a:extLst>
              <a:ext uri="{FF2B5EF4-FFF2-40B4-BE49-F238E27FC236}">
                <a16:creationId xmlns:a16="http://schemas.microsoft.com/office/drawing/2014/main" id="{9B786190-CF35-42B2-A07D-31AC402213FF}"/>
              </a:ext>
            </a:extLst>
          </p:cNvPr>
          <p:cNvGrpSpPr/>
          <p:nvPr userDrawn="1"/>
        </p:nvGrpSpPr>
        <p:grpSpPr bwMode="auto">
          <a:xfrm>
            <a:off x="10806834" y="304985"/>
            <a:ext cx="830430" cy="1306516"/>
            <a:chOff x="6655594" y="273840"/>
            <a:chExt cx="830430" cy="1306516"/>
          </a:xfrm>
        </p:grpSpPr>
        <p:grpSp>
          <p:nvGrpSpPr>
            <p:cNvPr id="76" name="MoonLegend1">
              <a:extLst>
                <a:ext uri="{FF2B5EF4-FFF2-40B4-BE49-F238E27FC236}">
                  <a16:creationId xmlns:a16="http://schemas.microsoft.com/office/drawing/2014/main" id="{4D3E84B6-B5C9-401B-88CF-8C129A89F662}"/>
                </a:ext>
              </a:extLst>
            </p:cNvPr>
            <p:cNvGrpSpPr>
              <a:grpSpLocks noChangeAspect="1"/>
            </p:cNvGrpSpPr>
            <p:nvPr>
              <p:custDataLst>
                <p:tags r:id="rId29"/>
              </p:custDataLst>
            </p:nvPr>
          </p:nvGrpSpPr>
          <p:grpSpPr bwMode="auto">
            <a:xfrm>
              <a:off x="6655594" y="273840"/>
              <a:ext cx="209550" cy="209551"/>
              <a:chOff x="4533" y="183"/>
              <a:chExt cx="144" cy="144"/>
            </a:xfrm>
          </p:grpSpPr>
          <p:sp>
            <p:nvSpPr>
              <p:cNvPr id="94" name="Oval 38">
                <a:extLst>
                  <a:ext uri="{FF2B5EF4-FFF2-40B4-BE49-F238E27FC236}">
                    <a16:creationId xmlns:a16="http://schemas.microsoft.com/office/drawing/2014/main" id="{8B94ACBA-48D2-442B-BF21-EFF82C830C11}"/>
                  </a:ext>
                </a:extLst>
              </p:cNvPr>
              <p:cNvSpPr>
                <a:spLocks noChangeAspect="1" noChangeArrowheads="1"/>
              </p:cNvSpPr>
              <p:nvPr>
                <p:custDataLst>
                  <p:tags r:id="rId42"/>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5" name="Arc 39">
                <a:extLst>
                  <a:ext uri="{FF2B5EF4-FFF2-40B4-BE49-F238E27FC236}">
                    <a16:creationId xmlns:a16="http://schemas.microsoft.com/office/drawing/2014/main" id="{344E8929-4EF7-4491-9D3C-133E0B5DF473}"/>
                  </a:ext>
                </a:extLst>
              </p:cNvPr>
              <p:cNvSpPr>
                <a:spLocks noChangeAspect="1"/>
              </p:cNvSpPr>
              <p:nvPr>
                <p:custDataLst>
                  <p:tags r:id="rId43"/>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2">
              <a:extLst>
                <a:ext uri="{FF2B5EF4-FFF2-40B4-BE49-F238E27FC236}">
                  <a16:creationId xmlns:a16="http://schemas.microsoft.com/office/drawing/2014/main" id="{D990CE8F-6F72-4E05-A9F8-B3D4065D7D2E}"/>
                </a:ext>
              </a:extLst>
            </p:cNvPr>
            <p:cNvGrpSpPr>
              <a:grpSpLocks noChangeAspect="1"/>
            </p:cNvGrpSpPr>
            <p:nvPr>
              <p:custDataLst>
                <p:tags r:id="rId30"/>
              </p:custDataLst>
            </p:nvPr>
          </p:nvGrpSpPr>
          <p:grpSpPr bwMode="auto">
            <a:xfrm>
              <a:off x="6655594" y="548081"/>
              <a:ext cx="209550" cy="209551"/>
              <a:chOff x="1694" y="2044"/>
              <a:chExt cx="160" cy="160"/>
            </a:xfrm>
          </p:grpSpPr>
          <p:sp>
            <p:nvSpPr>
              <p:cNvPr id="92" name="Oval 41">
                <a:extLst>
                  <a:ext uri="{FF2B5EF4-FFF2-40B4-BE49-F238E27FC236}">
                    <a16:creationId xmlns:a16="http://schemas.microsoft.com/office/drawing/2014/main" id="{58D66E87-863A-4778-A03C-4376A886C5E5}"/>
                  </a:ext>
                </a:extLst>
              </p:cNvPr>
              <p:cNvSpPr>
                <a:spLocks noChangeAspect="1" noChangeArrowheads="1"/>
              </p:cNvSpPr>
              <p:nvPr>
                <p:custDataLst>
                  <p:tags r:id="rId4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3" name="Arc 42">
                <a:extLst>
                  <a:ext uri="{FF2B5EF4-FFF2-40B4-BE49-F238E27FC236}">
                    <a16:creationId xmlns:a16="http://schemas.microsoft.com/office/drawing/2014/main" id="{7F025F34-B452-4620-B4D5-0F0B2CE1B039}"/>
                  </a:ext>
                </a:extLst>
              </p:cNvPr>
              <p:cNvSpPr>
                <a:spLocks noChangeAspect="1"/>
              </p:cNvSpPr>
              <p:nvPr>
                <p:custDataLst>
                  <p:tags r:id="rId41"/>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8" name="MoonLegend4">
              <a:extLst>
                <a:ext uri="{FF2B5EF4-FFF2-40B4-BE49-F238E27FC236}">
                  <a16:creationId xmlns:a16="http://schemas.microsoft.com/office/drawing/2014/main" id="{48EC6917-3CB5-449F-9A66-A02F2532A123}"/>
                </a:ext>
              </a:extLst>
            </p:cNvPr>
            <p:cNvGrpSpPr>
              <a:grpSpLocks noChangeAspect="1"/>
            </p:cNvGrpSpPr>
            <p:nvPr>
              <p:custDataLst>
                <p:tags r:id="rId31"/>
              </p:custDataLst>
            </p:nvPr>
          </p:nvGrpSpPr>
          <p:grpSpPr bwMode="auto">
            <a:xfrm>
              <a:off x="6655594" y="1096563"/>
              <a:ext cx="209550" cy="209551"/>
              <a:chOff x="4495" y="1198"/>
              <a:chExt cx="160" cy="160"/>
            </a:xfrm>
          </p:grpSpPr>
          <p:sp>
            <p:nvSpPr>
              <p:cNvPr id="90" name="Oval 47">
                <a:extLst>
                  <a:ext uri="{FF2B5EF4-FFF2-40B4-BE49-F238E27FC236}">
                    <a16:creationId xmlns:a16="http://schemas.microsoft.com/office/drawing/2014/main" id="{6D711816-49E1-4F7C-B56E-516040317C0F}"/>
                  </a:ext>
                </a:extLst>
              </p:cNvPr>
              <p:cNvSpPr>
                <a:spLocks noChangeAspect="1" noChangeArrowheads="1"/>
              </p:cNvSpPr>
              <p:nvPr>
                <p:custDataLst>
                  <p:tags r:id="rId3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1" name="Arc 48">
                <a:extLst>
                  <a:ext uri="{FF2B5EF4-FFF2-40B4-BE49-F238E27FC236}">
                    <a16:creationId xmlns:a16="http://schemas.microsoft.com/office/drawing/2014/main" id="{4905623C-C16F-49CE-96BB-499A88602AC4}"/>
                  </a:ext>
                </a:extLst>
              </p:cNvPr>
              <p:cNvSpPr>
                <a:spLocks noChangeAspect="1"/>
              </p:cNvSpPr>
              <p:nvPr>
                <p:custDataLst>
                  <p:tags r:id="rId39"/>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9" name="MoonLegend5">
              <a:extLst>
                <a:ext uri="{FF2B5EF4-FFF2-40B4-BE49-F238E27FC236}">
                  <a16:creationId xmlns:a16="http://schemas.microsoft.com/office/drawing/2014/main" id="{9CA32A60-9A5C-472D-92F9-6F4A9385C365}"/>
                </a:ext>
              </a:extLst>
            </p:cNvPr>
            <p:cNvGrpSpPr>
              <a:grpSpLocks noChangeAspect="1"/>
            </p:cNvGrpSpPr>
            <p:nvPr>
              <p:custDataLst>
                <p:tags r:id="rId32"/>
              </p:custDataLst>
            </p:nvPr>
          </p:nvGrpSpPr>
          <p:grpSpPr bwMode="auto">
            <a:xfrm>
              <a:off x="6655594" y="1370805"/>
              <a:ext cx="209550" cy="209551"/>
              <a:chOff x="4495" y="1440"/>
              <a:chExt cx="160" cy="160"/>
            </a:xfrm>
          </p:grpSpPr>
          <p:sp>
            <p:nvSpPr>
              <p:cNvPr id="88" name="Oval 50">
                <a:extLst>
                  <a:ext uri="{FF2B5EF4-FFF2-40B4-BE49-F238E27FC236}">
                    <a16:creationId xmlns:a16="http://schemas.microsoft.com/office/drawing/2014/main" id="{1A718B91-9D77-4027-8227-B24EF027FB1E}"/>
                  </a:ext>
                </a:extLst>
              </p:cNvPr>
              <p:cNvSpPr>
                <a:spLocks noChangeAspect="1" noChangeArrowheads="1"/>
              </p:cNvSpPr>
              <p:nvPr>
                <p:custDataLst>
                  <p:tags r:id="rId36"/>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9" name="Oval 51">
                <a:extLst>
                  <a:ext uri="{FF2B5EF4-FFF2-40B4-BE49-F238E27FC236}">
                    <a16:creationId xmlns:a16="http://schemas.microsoft.com/office/drawing/2014/main" id="{E4DCA13F-8F91-4612-9CBA-612C35650BAE}"/>
                  </a:ext>
                </a:extLst>
              </p:cNvPr>
              <p:cNvSpPr>
                <a:spLocks noChangeAspect="1" noChangeArrowheads="1"/>
              </p:cNvSpPr>
              <p:nvPr>
                <p:custDataLst>
                  <p:tags r:id="rId37"/>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80" name="Legend1">
              <a:extLst>
                <a:ext uri="{FF2B5EF4-FFF2-40B4-BE49-F238E27FC236}">
                  <a16:creationId xmlns:a16="http://schemas.microsoft.com/office/drawing/2014/main" id="{AFEBEC0F-16B1-4867-B024-A867A2EEA496}"/>
                </a:ext>
              </a:extLst>
            </p:cNvPr>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1" name="Legend2">
              <a:extLst>
                <a:ext uri="{FF2B5EF4-FFF2-40B4-BE49-F238E27FC236}">
                  <a16:creationId xmlns:a16="http://schemas.microsoft.com/office/drawing/2014/main" id="{953B45E7-2D68-46D2-A0B7-E18AD61B19E2}"/>
                </a:ext>
              </a:extLst>
            </p:cNvPr>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2" name="Legend3">
              <a:extLst>
                <a:ext uri="{FF2B5EF4-FFF2-40B4-BE49-F238E27FC236}">
                  <a16:creationId xmlns:a16="http://schemas.microsoft.com/office/drawing/2014/main" id="{D26129C7-D82E-4EF7-8CDE-6C2E28013285}"/>
                </a:ext>
              </a:extLst>
            </p:cNvPr>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3" name="Legend4">
              <a:extLst>
                <a:ext uri="{FF2B5EF4-FFF2-40B4-BE49-F238E27FC236}">
                  <a16:creationId xmlns:a16="http://schemas.microsoft.com/office/drawing/2014/main" id="{9B5E0F20-4559-4BC8-80CE-48EABDE156AD}"/>
                </a:ext>
              </a:extLst>
            </p:cNvPr>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4" name="Legend5">
              <a:extLst>
                <a:ext uri="{FF2B5EF4-FFF2-40B4-BE49-F238E27FC236}">
                  <a16:creationId xmlns:a16="http://schemas.microsoft.com/office/drawing/2014/main" id="{832DAD7D-D044-4738-9ABE-B25A6636B878}"/>
                </a:ext>
              </a:extLst>
            </p:cNvPr>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85" name="MoonLegend3">
              <a:extLst>
                <a:ext uri="{FF2B5EF4-FFF2-40B4-BE49-F238E27FC236}">
                  <a16:creationId xmlns:a16="http://schemas.microsoft.com/office/drawing/2014/main" id="{3E912D22-E297-4CE6-BE79-A7985C0FBBF6}"/>
                </a:ext>
              </a:extLst>
            </p:cNvPr>
            <p:cNvGrpSpPr>
              <a:grpSpLocks noChangeAspect="1"/>
            </p:cNvGrpSpPr>
            <p:nvPr>
              <p:custDataLst>
                <p:tags r:id="rId33"/>
              </p:custDataLst>
            </p:nvPr>
          </p:nvGrpSpPr>
          <p:grpSpPr bwMode="auto">
            <a:xfrm>
              <a:off x="6655594" y="822322"/>
              <a:ext cx="209550" cy="209551"/>
              <a:chOff x="4495" y="1198"/>
              <a:chExt cx="160" cy="160"/>
            </a:xfrm>
          </p:grpSpPr>
          <p:sp>
            <p:nvSpPr>
              <p:cNvPr id="86" name="Oval 47">
                <a:extLst>
                  <a:ext uri="{FF2B5EF4-FFF2-40B4-BE49-F238E27FC236}">
                    <a16:creationId xmlns:a16="http://schemas.microsoft.com/office/drawing/2014/main" id="{FD11E69A-6483-4037-B949-4D1D1A0FEEC5}"/>
                  </a:ext>
                </a:extLst>
              </p:cNvPr>
              <p:cNvSpPr>
                <a:spLocks noChangeAspect="1" noChangeArrowheads="1"/>
              </p:cNvSpPr>
              <p:nvPr>
                <p:custDataLst>
                  <p:tags r:id="rId3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8">
                <a:extLst>
                  <a:ext uri="{FF2B5EF4-FFF2-40B4-BE49-F238E27FC236}">
                    <a16:creationId xmlns:a16="http://schemas.microsoft.com/office/drawing/2014/main" id="{6576C839-CB24-4DB8-80F5-1F6B0A147A87}"/>
                  </a:ext>
                </a:extLst>
              </p:cNvPr>
              <p:cNvSpPr>
                <a:spLocks noChangeAspect="1"/>
              </p:cNvSpPr>
              <p:nvPr>
                <p:custDataLst>
                  <p:tags r:id="rId35"/>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96" name="EmptyMoon" hidden="1">
            <a:extLst>
              <a:ext uri="{FF2B5EF4-FFF2-40B4-BE49-F238E27FC236}">
                <a16:creationId xmlns:a16="http://schemas.microsoft.com/office/drawing/2014/main" id="{707E17A1-1848-470B-9AF2-044B3C05A375}"/>
              </a:ext>
            </a:extLst>
          </p:cNvPr>
          <p:cNvGrpSpPr>
            <a:grpSpLocks noChangeAspect="1"/>
          </p:cNvGrpSpPr>
          <p:nvPr userDrawn="1">
            <p:custDataLst>
              <p:tags r:id="rId26"/>
            </p:custDataLst>
          </p:nvPr>
        </p:nvGrpSpPr>
        <p:grpSpPr>
          <a:xfrm>
            <a:off x="11383264" y="2492796"/>
            <a:ext cx="254000" cy="254000"/>
            <a:chOff x="762000" y="1270000"/>
            <a:chExt cx="254000" cy="254000"/>
          </a:xfrm>
        </p:grpSpPr>
        <p:sp>
          <p:nvSpPr>
            <p:cNvPr id="97" name="Oval 96">
              <a:extLst>
                <a:ext uri="{FF2B5EF4-FFF2-40B4-BE49-F238E27FC236}">
                  <a16:creationId xmlns:a16="http://schemas.microsoft.com/office/drawing/2014/main" id="{C9D3279C-1BCF-4752-9B18-F8A7510D2E5F}"/>
                </a:ext>
              </a:extLst>
            </p:cNvPr>
            <p:cNvSpPr/>
            <p:nvPr>
              <p:custDataLst>
                <p:tags r:id="rId27"/>
              </p:custDataLst>
            </p:nvPr>
          </p:nvSpPr>
          <p:spPr>
            <a:xfrm>
              <a:off x="762000" y="1270000"/>
              <a:ext cx="254000" cy="254000"/>
            </a:xfrm>
            <a:prstGeom prst="ellipse">
              <a:avLst/>
            </a:prstGeom>
            <a:solidFill>
              <a:schemeClr val="bg1"/>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8" name="Arc 97">
              <a:extLst>
                <a:ext uri="{FF2B5EF4-FFF2-40B4-BE49-F238E27FC236}">
                  <a16:creationId xmlns:a16="http://schemas.microsoft.com/office/drawing/2014/main" id="{F8D931EB-99EF-40D6-B5E8-797176C3DF0D}"/>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6350" cap="sq" cmpd="sng" algn="ctr">
              <a:solidFill>
                <a:schemeClr val="accent6"/>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420350938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hf sldNum="0" hdr="0" ftr="0" dt="0"/>
  <p:txStyles>
    <p:title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accent1"/>
        </a:buClr>
        <a:buSzPct val="100000"/>
        <a:buFont typeface="Wingdings" panose="05000000000000000000" pitchFamily="2" charset="2"/>
        <a:buChar char="§"/>
        <a:defRPr lang="x-none" sz="1600" baseline="0">
          <a:solidFill>
            <a:schemeClr val="tx1"/>
          </a:solidFill>
          <a:latin typeface="+mn-lt"/>
        </a:defRPr>
      </a:lvl2pPr>
      <a:lvl3pPr marL="457200" indent="-261938" algn="l" defTabSz="1218026" rtl="0" eaLnBrk="1" fontAlgn="base" hangingPunct="1">
        <a:spcBef>
          <a:spcPct val="0"/>
        </a:spcBef>
        <a:spcAft>
          <a:spcPct val="0"/>
        </a:spcAft>
        <a:buClr>
          <a:schemeClr val="accent1"/>
        </a:buClr>
        <a:buSzPct val="120000"/>
        <a:buFont typeface="Arial" panose="020B0604020202020204" pitchFamily="34" charset="0"/>
        <a:buChar char="–"/>
        <a:defRPr lang="x-none" sz="1600" baseline="0">
          <a:solidFill>
            <a:schemeClr val="tx1"/>
          </a:solidFill>
          <a:latin typeface="+mn-lt"/>
        </a:defRPr>
      </a:lvl3pPr>
      <a:lvl4pPr marL="614363" indent="-155575" algn="l" defTabSz="1218026" rtl="0" eaLnBrk="1" fontAlgn="base" hangingPunct="1">
        <a:spcBef>
          <a:spcPct val="0"/>
        </a:spcBef>
        <a:spcAft>
          <a:spcPct val="0"/>
        </a:spcAft>
        <a:buClr>
          <a:schemeClr val="accent1"/>
        </a:buClr>
        <a:buSzPct val="100000"/>
        <a:buFont typeface="Arial" panose="020B0604020202020204" pitchFamily="34" charset="0"/>
        <a:buChar char="•"/>
        <a:defRPr lang="x-none" sz="1600" baseline="0">
          <a:solidFill>
            <a:schemeClr val="tx1"/>
          </a:solidFill>
          <a:latin typeface="+mn-lt"/>
        </a:defRPr>
      </a:lvl4pPr>
      <a:lvl5pPr marL="749808" indent="-130175" algn="l" defTabSz="1218026" rtl="0" eaLnBrk="1" fontAlgn="base" hangingPunct="1">
        <a:spcBef>
          <a:spcPct val="0"/>
        </a:spcBef>
        <a:spcAft>
          <a:spcPct val="0"/>
        </a:spcAft>
        <a:buClr>
          <a:schemeClr val="accent1"/>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57">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CCB8838-BB4B-43B8-8957-7E4929863E56}"/>
              </a:ext>
            </a:extLst>
          </p:cNvPr>
          <p:cNvSpPr/>
          <p:nvPr/>
        </p:nvSpPr>
        <p:spPr>
          <a:xfrm>
            <a:off x="-25400" y="6381750"/>
            <a:ext cx="8966200" cy="32385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11" name="Rectangle 10">
            <a:extLst>
              <a:ext uri="{FF2B5EF4-FFF2-40B4-BE49-F238E27FC236}">
                <a16:creationId xmlns:a16="http://schemas.microsoft.com/office/drawing/2014/main" id="{43762738-6F50-4437-B812-F8BA210F964E}"/>
              </a:ext>
            </a:extLst>
          </p:cNvPr>
          <p:cNvSpPr/>
          <p:nvPr/>
        </p:nvSpPr>
        <p:spPr>
          <a:xfrm>
            <a:off x="-25400" y="6210300"/>
            <a:ext cx="8966200" cy="95250"/>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pic>
        <p:nvPicPr>
          <p:cNvPr id="3076" name="Picture 2">
            <a:extLst>
              <a:ext uri="{FF2B5EF4-FFF2-40B4-BE49-F238E27FC236}">
                <a16:creationId xmlns:a16="http://schemas.microsoft.com/office/drawing/2014/main" id="{8C856E92-1B15-403F-9F93-021BAA8811D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4801" y="6477001"/>
            <a:ext cx="5966884" cy="112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4">
            <a:extLst>
              <a:ext uri="{FF2B5EF4-FFF2-40B4-BE49-F238E27FC236}">
                <a16:creationId xmlns:a16="http://schemas.microsoft.com/office/drawing/2014/main" id="{6DE43FCF-8402-48A2-8AB9-3C6E037D637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42400" y="6276975"/>
            <a:ext cx="3067051"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81588557"/>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0" name="Rectangle 9"/>
          <p:cNvSpPr/>
          <p:nvPr userDrawn="1"/>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5" name="Rectangle 11"/>
          <p:cNvSpPr>
            <a:spLocks noChangeArrowheads="1"/>
          </p:cNvSpPr>
          <p:nvPr userDrawn="1"/>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a:solidFill>
                  <a:prstClr val="white"/>
                </a:solidFill>
                <a:latin typeface="Arial" pitchFamily="34" charset="0"/>
                <a:cs typeface="Arial" pitchFamily="34" charset="0"/>
              </a:rPr>
              <a:t>Sacred Encounters   Perfect Care   Healthiest Communities</a:t>
            </a:r>
          </a:p>
        </p:txBody>
      </p:sp>
      <p:sp>
        <p:nvSpPr>
          <p:cNvPr id="16" name="Rectangle 15"/>
          <p:cNvSpPr/>
          <p:nvPr userDrawn="1"/>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404233378"/>
      </p:ext>
    </p:extLst>
  </p:cSld>
  <p:clrMap bg1="lt1" tx1="dk1" bg2="lt2" tx2="dk2" accent1="accent1" accent2="accent2" accent3="accent3" accent4="accent4" accent5="accent5" accent6="accent6" hlink="hlink" folHlink="folHlink"/>
  <p:sldLayoutIdLst>
    <p:sldLayoutId id="2147483775"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Box 6"/>
          <p:cNvSpPr txBox="1"/>
          <p:nvPr userDrawn="1"/>
        </p:nvSpPr>
        <p:spPr>
          <a:xfrm>
            <a:off x="220494" y="6355398"/>
            <a:ext cx="1026089" cy="338554"/>
          </a:xfrm>
          <a:prstGeom prst="rect">
            <a:avLst/>
          </a:prstGeom>
          <a:noFill/>
        </p:spPr>
        <p:txBody>
          <a:bodyPr wrap="square" rtlCol="0">
            <a:spAutoFit/>
          </a:bodyPr>
          <a:lstStyle/>
          <a:p>
            <a:fld id="{FCD8942C-7C1B-6141-A5F7-49FA77A03F75}" type="slidenum">
              <a:rPr lang="en-US" sz="1600" smtClean="0">
                <a:solidFill>
                  <a:schemeClr val="bg1">
                    <a:lumMod val="85000"/>
                  </a:schemeClr>
                </a:solidFill>
              </a:rPr>
              <a:t>‹#›</a:t>
            </a:fld>
            <a:endParaRPr lang="en-US" sz="1600">
              <a:solidFill>
                <a:schemeClr val="bg1">
                  <a:lumMod val="85000"/>
                </a:schemeClr>
              </a:solidFill>
            </a:endParaRPr>
          </a:p>
        </p:txBody>
      </p:sp>
    </p:spTree>
    <p:extLst>
      <p:ext uri="{BB962C8B-B14F-4D97-AF65-F5344CB8AC3E}">
        <p14:creationId xmlns:p14="http://schemas.microsoft.com/office/powerpoint/2010/main" val="1955949301"/>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9" r:id="rId8"/>
    <p:sldLayoutId id="2147483917" r:id="rId9"/>
  </p:sldLayoutIdLst>
  <p:hf hdr="0" ftr="0" dt="0"/>
  <p:txStyles>
    <p:titleStyle>
      <a:lvl1pPr algn="l" defTabSz="609585" rtl="0" eaLnBrk="1" latinLnBrk="0" hangingPunct="1">
        <a:spcBef>
          <a:spcPct val="0"/>
        </a:spcBef>
        <a:buNone/>
        <a:defRPr sz="3200" b="1" kern="1200">
          <a:solidFill>
            <a:srgbClr val="00539B"/>
          </a:solidFill>
          <a:latin typeface="Arial"/>
          <a:ea typeface="+mj-ea"/>
          <a:cs typeface="Arial"/>
        </a:defRPr>
      </a:lvl1pPr>
    </p:titleStyle>
    <p:bodyStyle>
      <a:lvl1pPr marL="219451" indent="-219451" algn="l" defTabSz="609585" rtl="0" eaLnBrk="1" latinLnBrk="0" hangingPunct="1">
        <a:spcBef>
          <a:spcPct val="20000"/>
        </a:spcBef>
        <a:buSzPct val="60000"/>
        <a:buFont typeface="Wingdings" charset="2"/>
        <a:buChar char="§"/>
        <a:defRPr sz="2933" kern="1200">
          <a:solidFill>
            <a:schemeClr val="tx1">
              <a:lumMod val="65000"/>
              <a:lumOff val="35000"/>
            </a:schemeClr>
          </a:solidFill>
          <a:latin typeface="Arial"/>
          <a:ea typeface="+mn-ea"/>
          <a:cs typeface="Arial"/>
        </a:defRPr>
      </a:lvl1pPr>
      <a:lvl2pPr marL="499860" indent="-219451" algn="l" defTabSz="609585" rtl="0" eaLnBrk="1" latinLnBrk="0" hangingPunct="1">
        <a:spcBef>
          <a:spcPct val="20000"/>
        </a:spcBef>
        <a:buSzPct val="60000"/>
        <a:buFont typeface="Wingdings" charset="2"/>
        <a:buChar char="§"/>
        <a:defRPr sz="2667" kern="1200">
          <a:solidFill>
            <a:schemeClr val="tx1">
              <a:lumMod val="65000"/>
              <a:lumOff val="35000"/>
            </a:schemeClr>
          </a:solidFill>
          <a:latin typeface="Arial"/>
          <a:ea typeface="+mn-ea"/>
          <a:cs typeface="Arial"/>
        </a:defRPr>
      </a:lvl2pPr>
      <a:lvl3pPr marL="670543" indent="-182875" algn="l" defTabSz="609585" rtl="0" eaLnBrk="1" latinLnBrk="0" hangingPunct="1">
        <a:spcBef>
          <a:spcPct val="20000"/>
        </a:spcBef>
        <a:buSzPct val="60000"/>
        <a:buFont typeface="Wingdings" charset="2"/>
        <a:buChar char="§"/>
        <a:defRPr sz="2400" kern="1200">
          <a:solidFill>
            <a:schemeClr val="tx1">
              <a:lumMod val="65000"/>
              <a:lumOff val="35000"/>
            </a:schemeClr>
          </a:solidFill>
          <a:latin typeface="Arial"/>
          <a:ea typeface="+mn-ea"/>
          <a:cs typeface="Arial"/>
        </a:defRPr>
      </a:lvl3pPr>
      <a:lvl4pPr marL="914377" indent="-182875" algn="l" defTabSz="609585" rtl="0" eaLnBrk="1" latinLnBrk="0" hangingPunct="1">
        <a:spcBef>
          <a:spcPct val="20000"/>
        </a:spcBef>
        <a:buSzPct val="60000"/>
        <a:buFont typeface="Wingdings" charset="2"/>
        <a:buChar char="§"/>
        <a:defRPr sz="2133" kern="1200">
          <a:solidFill>
            <a:schemeClr val="tx1">
              <a:lumMod val="65000"/>
              <a:lumOff val="35000"/>
            </a:schemeClr>
          </a:solidFill>
          <a:latin typeface="Arial"/>
          <a:ea typeface="+mn-ea"/>
          <a:cs typeface="Arial"/>
        </a:defRPr>
      </a:lvl4pPr>
      <a:lvl5pPr marL="2743131" indent="-304792" algn="l" defTabSz="609585" rtl="0" eaLnBrk="1" latinLnBrk="0" hangingPunct="1">
        <a:spcBef>
          <a:spcPct val="20000"/>
        </a:spcBef>
        <a:buSzPct val="60000"/>
        <a:buFont typeface="Wingdings" charset="2"/>
        <a:buChar char="§"/>
        <a:defRPr sz="2667" kern="1200">
          <a:solidFill>
            <a:srgbClr val="00539B"/>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6B8C773-5BC3-C84A-9D0E-9A61EA940966}"/>
              </a:ext>
            </a:extLst>
          </p:cNvPr>
          <p:cNvSpPr>
            <a:spLocks noGrp="1"/>
          </p:cNvSpPr>
          <p:nvPr>
            <p:ph type="title"/>
          </p:nvPr>
        </p:nvSpPr>
        <p:spPr>
          <a:xfrm>
            <a:off x="462083" y="460378"/>
            <a:ext cx="11266245" cy="876299"/>
          </a:xfrm>
          <a:prstGeom prst="rect">
            <a:avLst/>
          </a:prstGeom>
        </p:spPr>
        <p:txBody>
          <a:bodyPr vert="horz" lIns="0" tIns="0" rIns="1828800" bIns="0" rtlCol="0" anchor="b" anchorCtr="0">
            <a:noAutofit/>
          </a:bodyPr>
          <a:lstStyle/>
          <a:p>
            <a:r>
              <a:rPr lang="en-US"/>
              <a:t>Click to edit Master title style</a:t>
            </a:r>
          </a:p>
        </p:txBody>
      </p:sp>
      <p:sp>
        <p:nvSpPr>
          <p:cNvPr id="5" name="Footer Placeholder 4">
            <a:extLst>
              <a:ext uri="{FF2B5EF4-FFF2-40B4-BE49-F238E27FC236}">
                <a16:creationId xmlns:a16="http://schemas.microsoft.com/office/drawing/2014/main" id="{FC23B854-2C83-5047-BB3A-DDA609150CDA}"/>
              </a:ext>
            </a:extLst>
          </p:cNvPr>
          <p:cNvSpPr>
            <a:spLocks noGrp="1"/>
          </p:cNvSpPr>
          <p:nvPr>
            <p:ph type="ftr" sz="quarter" idx="3"/>
          </p:nvPr>
        </p:nvSpPr>
        <p:spPr>
          <a:xfrm>
            <a:off x="4298483" y="6432562"/>
            <a:ext cx="6937594" cy="234939"/>
          </a:xfrm>
          <a:prstGeom prst="rect">
            <a:avLst/>
          </a:prstGeom>
        </p:spPr>
        <p:txBody>
          <a:bodyPr vert="horz" lIns="91440" tIns="0" rIns="0" bIns="0" rtlCol="0" anchor="b" anchorCtr="0"/>
          <a:lstStyle>
            <a:lvl1pPr algn="r">
              <a:defRPr sz="1000" b="0" i="0" cap="none" baseline="0">
                <a:solidFill>
                  <a:schemeClr val="accent1"/>
                </a:solidFill>
                <a:latin typeface="Barlow" pitchFamily="2" charset="77"/>
              </a:defRPr>
            </a:lvl1pPr>
            <a:lvl2pPr marL="0" algn="r">
              <a:defRPr sz="1000" b="0" i="0" cap="none" baseline="0">
                <a:solidFill>
                  <a:schemeClr val="accent1"/>
                </a:solidFill>
                <a:latin typeface="Barlow" pitchFamily="2" charset="77"/>
              </a:defRPr>
            </a:lvl2pPr>
            <a:lvl3pPr marL="0" algn="r">
              <a:defRPr sz="1000" b="0" i="0" cap="none" baseline="0">
                <a:solidFill>
                  <a:schemeClr val="accent1"/>
                </a:solidFill>
                <a:latin typeface="Barlow" pitchFamily="2" charset="77"/>
              </a:defRPr>
            </a:lvl3pPr>
            <a:lvl4pPr marL="0" algn="r">
              <a:defRPr sz="1000" b="0" i="0" cap="none" baseline="0">
                <a:solidFill>
                  <a:schemeClr val="accent1"/>
                </a:solidFill>
                <a:latin typeface="Barlow" pitchFamily="2" charset="77"/>
              </a:defRPr>
            </a:lvl4pPr>
            <a:lvl5pPr marL="0" algn="r">
              <a:defRPr sz="1000" b="0" i="0" cap="none" baseline="0">
                <a:solidFill>
                  <a:schemeClr val="accent1"/>
                </a:solidFill>
                <a:latin typeface="Barlow" pitchFamily="2" charset="77"/>
              </a:defRPr>
            </a:lvl5pPr>
            <a:lvl6pPr marL="0" algn="r">
              <a:defRPr sz="1000" b="0" i="0" cap="none" baseline="0">
                <a:solidFill>
                  <a:schemeClr val="accent1"/>
                </a:solidFill>
                <a:latin typeface="Barlow" pitchFamily="2" charset="77"/>
              </a:defRPr>
            </a:lvl6pPr>
            <a:lvl7pPr marL="0" algn="r">
              <a:defRPr sz="1000" b="0" i="0" cap="none" baseline="0">
                <a:solidFill>
                  <a:schemeClr val="accent1"/>
                </a:solidFill>
                <a:latin typeface="Barlow" pitchFamily="2" charset="77"/>
              </a:defRPr>
            </a:lvl7pPr>
            <a:lvl8pPr marL="0" algn="r">
              <a:defRPr sz="1000" b="0" i="0" cap="none" baseline="0">
                <a:solidFill>
                  <a:schemeClr val="accent1"/>
                </a:solidFill>
                <a:latin typeface="Barlow" pitchFamily="2" charset="77"/>
              </a:defRPr>
            </a:lvl8pPr>
            <a:lvl9pPr marL="0" algn="r">
              <a:defRPr sz="1000" b="0" i="0" cap="none" baseline="0">
                <a:solidFill>
                  <a:schemeClr val="accent1"/>
                </a:solidFill>
                <a:latin typeface="Barlow" pitchFamily="2" charset="77"/>
              </a:defRPr>
            </a:lvl9pPr>
          </a:lstStyle>
          <a:p>
            <a:r>
              <a:rPr lang="en-US"/>
              <a:t>Presentation Title Here &gt; Insert &gt; Header &amp; Footer</a:t>
            </a:r>
          </a:p>
        </p:txBody>
      </p:sp>
      <p:sp>
        <p:nvSpPr>
          <p:cNvPr id="6" name="Slide Number Placeholder 5">
            <a:extLst>
              <a:ext uri="{FF2B5EF4-FFF2-40B4-BE49-F238E27FC236}">
                <a16:creationId xmlns:a16="http://schemas.microsoft.com/office/drawing/2014/main" id="{B7778AD5-8EBC-D94E-98B2-20AFAF1B4BB2}"/>
              </a:ext>
            </a:extLst>
          </p:cNvPr>
          <p:cNvSpPr>
            <a:spLocks noGrp="1"/>
          </p:cNvSpPr>
          <p:nvPr>
            <p:ph type="sldNum" sz="quarter" idx="4"/>
          </p:nvPr>
        </p:nvSpPr>
        <p:spPr>
          <a:xfrm>
            <a:off x="11236077" y="6432563"/>
            <a:ext cx="492251" cy="231921"/>
          </a:xfrm>
          <a:prstGeom prst="rect">
            <a:avLst/>
          </a:prstGeom>
        </p:spPr>
        <p:txBody>
          <a:bodyPr vert="horz" lIns="0" tIns="0" rIns="0" bIns="0" rtlCol="0" anchor="b" anchorCtr="0"/>
          <a:lstStyle>
            <a:lvl1pPr algn="r">
              <a:defRPr sz="1000" b="0" i="0">
                <a:solidFill>
                  <a:schemeClr val="accent1"/>
                </a:solidFill>
                <a:latin typeface="Barlow" pitchFamily="2" charset="77"/>
              </a:defRPr>
            </a:lvl1pPr>
            <a:lvl2pPr marL="0" algn="r">
              <a:defRPr sz="1000" b="0" i="0">
                <a:solidFill>
                  <a:schemeClr val="accent1"/>
                </a:solidFill>
                <a:latin typeface="Barlow" pitchFamily="2" charset="77"/>
              </a:defRPr>
            </a:lvl2pPr>
            <a:lvl3pPr marL="0" algn="r">
              <a:defRPr sz="1000" b="0" i="0">
                <a:solidFill>
                  <a:schemeClr val="accent1"/>
                </a:solidFill>
                <a:latin typeface="Barlow" pitchFamily="2" charset="77"/>
              </a:defRPr>
            </a:lvl3pPr>
            <a:lvl4pPr marL="0" algn="r">
              <a:defRPr sz="1000" b="0" i="0">
                <a:solidFill>
                  <a:schemeClr val="accent1"/>
                </a:solidFill>
                <a:latin typeface="Barlow" pitchFamily="2" charset="77"/>
              </a:defRPr>
            </a:lvl4pPr>
            <a:lvl5pPr marL="0" algn="r">
              <a:defRPr sz="1000" b="0" i="0">
                <a:solidFill>
                  <a:schemeClr val="accent1"/>
                </a:solidFill>
                <a:latin typeface="Barlow" pitchFamily="2" charset="77"/>
              </a:defRPr>
            </a:lvl5pPr>
            <a:lvl6pPr marL="0" algn="r">
              <a:defRPr sz="1000" b="0" i="0">
                <a:solidFill>
                  <a:schemeClr val="accent1"/>
                </a:solidFill>
                <a:latin typeface="Barlow" pitchFamily="2" charset="77"/>
              </a:defRPr>
            </a:lvl6pPr>
            <a:lvl7pPr marL="0" algn="r">
              <a:defRPr sz="1000" b="0" i="0">
                <a:solidFill>
                  <a:schemeClr val="accent1"/>
                </a:solidFill>
                <a:latin typeface="Barlow" pitchFamily="2" charset="77"/>
              </a:defRPr>
            </a:lvl7pPr>
            <a:lvl8pPr marL="0" algn="r">
              <a:defRPr sz="1000" b="0" i="0">
                <a:solidFill>
                  <a:schemeClr val="accent1"/>
                </a:solidFill>
                <a:latin typeface="Barlow" pitchFamily="2" charset="77"/>
              </a:defRPr>
            </a:lvl8pPr>
            <a:lvl9pPr marL="0" algn="r">
              <a:defRPr sz="1000" b="0" i="0">
                <a:solidFill>
                  <a:schemeClr val="accent1"/>
                </a:solidFill>
                <a:latin typeface="Barlow" pitchFamily="2" charset="77"/>
              </a:defRPr>
            </a:lvl9pPr>
          </a:lstStyle>
          <a:p>
            <a:pPr lvl="8"/>
            <a:fld id="{1E3D5677-3D20-0C46-8497-54D73E689044}" type="slidenum">
              <a:rPr lang="en-US"/>
              <a:pPr lvl="8"/>
              <a:t>‹#›</a:t>
            </a:fld>
            <a:endParaRPr lang="en-US"/>
          </a:p>
        </p:txBody>
      </p:sp>
      <p:sp>
        <p:nvSpPr>
          <p:cNvPr id="7" name="Text Placeholder 6">
            <a:extLst>
              <a:ext uri="{FF2B5EF4-FFF2-40B4-BE49-F238E27FC236}">
                <a16:creationId xmlns:a16="http://schemas.microsoft.com/office/drawing/2014/main" id="{EC2DAC7F-B661-E945-A498-BFF0DDB599FA}"/>
              </a:ext>
            </a:extLst>
          </p:cNvPr>
          <p:cNvSpPr>
            <a:spLocks noGrp="1"/>
          </p:cNvSpPr>
          <p:nvPr>
            <p:ph type="body" idx="1"/>
          </p:nvPr>
        </p:nvSpPr>
        <p:spPr>
          <a:xfrm>
            <a:off x="462083" y="1568450"/>
            <a:ext cx="11266247" cy="466725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177380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3898" r:id="rId18"/>
    <p:sldLayoutId id="2147483899" r:id="rId19"/>
    <p:sldLayoutId id="2147483900" r:id="rId20"/>
    <p:sldLayoutId id="2147483901" r:id="rId21"/>
    <p:sldLayoutId id="2147483902" r:id="rId22"/>
    <p:sldLayoutId id="2147483903" r:id="rId23"/>
    <p:sldLayoutId id="2147483904" r:id="rId24"/>
    <p:sldLayoutId id="2147483905" r:id="rId25"/>
    <p:sldLayoutId id="2147483906" r:id="rId26"/>
    <p:sldLayoutId id="2147483907" r:id="rId27"/>
    <p:sldLayoutId id="2147483908" r:id="rId28"/>
    <p:sldLayoutId id="2147483909" r:id="rId29"/>
    <p:sldLayoutId id="2147483910" r:id="rId30"/>
    <p:sldLayoutId id="2147483911" r:id="rId31"/>
    <p:sldLayoutId id="2147483912" r:id="rId32"/>
    <p:sldLayoutId id="2147483913" r:id="rId33"/>
    <p:sldLayoutId id="2147483914" r:id="rId34"/>
    <p:sldLayoutId id="2147483915" r:id="rId35"/>
    <p:sldLayoutId id="2147483916" r:id="rId36"/>
  </p:sldLayoutIdLst>
  <p:hf hdr="0" dt="0"/>
  <p:txStyles>
    <p:titleStyle>
      <a:lvl1pPr algn="l" defTabSz="914309" rtl="0" eaLnBrk="1" latinLnBrk="0" hangingPunct="1">
        <a:lnSpc>
          <a:spcPts val="3400"/>
        </a:lnSpc>
        <a:spcBef>
          <a:spcPct val="0"/>
        </a:spcBef>
        <a:buNone/>
        <a:defRPr sz="2800" b="0" i="0" kern="1200" cap="none" baseline="0">
          <a:solidFill>
            <a:schemeClr val="accent1"/>
          </a:solidFill>
          <a:latin typeface="Lora" pitchFamily="2" charset="77"/>
          <a:ea typeface="+mj-ea"/>
          <a:cs typeface="+mj-cs"/>
        </a:defRPr>
      </a:lvl1pPr>
    </p:titleStyle>
    <p:bodyStyle>
      <a:lvl1pPr marL="0" marR="0" indent="0" algn="l" defTabSz="914309" rtl="0" eaLnBrk="1" fontAlgn="auto" latinLnBrk="0" hangingPunct="1">
        <a:lnSpc>
          <a:spcPts val="2100"/>
        </a:lnSpc>
        <a:spcBef>
          <a:spcPts val="0"/>
        </a:spcBef>
        <a:spcAft>
          <a:spcPts val="900"/>
        </a:spcAft>
        <a:buClrTx/>
        <a:buSzTx/>
        <a:buFont typeface="+mj-lt"/>
        <a:buNone/>
        <a:tabLst/>
        <a:defRPr sz="1800" b="0" i="0" kern="1200">
          <a:solidFill>
            <a:schemeClr val="tx1"/>
          </a:solidFill>
          <a:latin typeface="Barlow" pitchFamily="2" charset="77"/>
          <a:ea typeface="Verdana" panose="020B0604030504040204" pitchFamily="34" charset="0"/>
          <a:cs typeface="Arial" panose="020B0604020202020204" pitchFamily="34" charset="0"/>
        </a:defRPr>
      </a:lvl1pPr>
      <a:lvl2pPr marL="0" marR="0" indent="0" algn="l" defTabSz="914309" rtl="0" eaLnBrk="1" fontAlgn="auto" latinLnBrk="0" hangingPunct="1">
        <a:lnSpc>
          <a:spcPts val="2100"/>
        </a:lnSpc>
        <a:spcBef>
          <a:spcPts val="0"/>
        </a:spcBef>
        <a:spcAft>
          <a:spcPts val="900"/>
        </a:spcAft>
        <a:buClr>
          <a:schemeClr val="tx2"/>
        </a:buClr>
        <a:buSzTx/>
        <a:buFont typeface="+mj-lt"/>
        <a:buNone/>
        <a:tabLst/>
        <a:defRPr sz="2000" b="1" i="0" kern="1200">
          <a:solidFill>
            <a:schemeClr val="accent2"/>
          </a:solidFill>
          <a:latin typeface="Barlow" pitchFamily="2" charset="77"/>
          <a:ea typeface="+mn-ea"/>
          <a:cs typeface="+mn-cs"/>
        </a:defRPr>
      </a:lvl2pPr>
      <a:lvl3pPr marL="285750" indent="-285750" algn="l" defTabSz="914309" rtl="0" eaLnBrk="1" latinLnBrk="0" hangingPunct="1">
        <a:lnSpc>
          <a:spcPts val="2100"/>
        </a:lnSpc>
        <a:spcBef>
          <a:spcPts val="0"/>
        </a:spcBef>
        <a:spcAft>
          <a:spcPts val="900"/>
        </a:spcAft>
        <a:buClr>
          <a:schemeClr val="accent2"/>
        </a:buClr>
        <a:buFont typeface="Arial" panose="020B0604020202020204" pitchFamily="34" charset="0"/>
        <a:buChar char="•"/>
        <a:defRPr sz="1800" b="0" i="0" kern="1200" baseline="0">
          <a:solidFill>
            <a:schemeClr val="tx1"/>
          </a:solidFill>
          <a:latin typeface="Barlow" pitchFamily="2" charset="77"/>
          <a:ea typeface="Verdana" panose="020B0604030504040204" pitchFamily="34" charset="0"/>
          <a:cs typeface="Arial" panose="020B0604020202020204" pitchFamily="34" charset="0"/>
        </a:defRPr>
      </a:lvl3pPr>
      <a:lvl4pPr marL="514327" indent="-285750" algn="l" defTabSz="914309" rtl="0" eaLnBrk="1" latinLnBrk="0" hangingPunct="1">
        <a:lnSpc>
          <a:spcPts val="2100"/>
        </a:lnSpc>
        <a:spcBef>
          <a:spcPts val="0"/>
        </a:spcBef>
        <a:spcAft>
          <a:spcPts val="900"/>
        </a:spcAft>
        <a:buClr>
          <a:schemeClr val="accent2"/>
        </a:buClr>
        <a:buFont typeface="Courier New" panose="02070309020205020404" pitchFamily="49" charset="0"/>
        <a:buChar char="o"/>
        <a:tabLst/>
        <a:defRPr sz="1800" b="0" i="0" kern="1200">
          <a:solidFill>
            <a:schemeClr val="tx1"/>
          </a:solidFill>
          <a:latin typeface="Barlow" pitchFamily="2" charset="77"/>
          <a:ea typeface="Verdana" panose="020B0604030504040204" pitchFamily="34" charset="0"/>
          <a:cs typeface="Arial" panose="020B0604020202020204" pitchFamily="34" charset="0"/>
        </a:defRPr>
      </a:lvl4pPr>
      <a:lvl5pPr marL="342922" indent="-342900" algn="l" defTabSz="914309" rtl="0" eaLnBrk="1" latinLnBrk="0" hangingPunct="1">
        <a:lnSpc>
          <a:spcPts val="2100"/>
        </a:lnSpc>
        <a:spcBef>
          <a:spcPts val="0"/>
        </a:spcBef>
        <a:spcAft>
          <a:spcPts val="900"/>
        </a:spcAft>
        <a:buClr>
          <a:schemeClr val="accent2"/>
        </a:buClr>
        <a:buFont typeface="+mj-lt"/>
        <a:buAutoNum type="arabicPeriod"/>
        <a:defRPr sz="1800" b="0" i="0" kern="1200">
          <a:solidFill>
            <a:schemeClr val="tx1"/>
          </a:solidFill>
          <a:latin typeface="Barlow" pitchFamily="2" charset="77"/>
          <a:ea typeface="Verdana" panose="020B0604030504040204" pitchFamily="34" charset="0"/>
          <a:cs typeface="Arial" panose="020B0604020202020204" pitchFamily="34" charset="0"/>
        </a:defRPr>
      </a:lvl5pPr>
      <a:lvl6pPr marL="571477" indent="-342900" algn="l" defTabSz="914309" rtl="0" eaLnBrk="1" latinLnBrk="0" hangingPunct="1">
        <a:lnSpc>
          <a:spcPts val="2100"/>
        </a:lnSpc>
        <a:spcBef>
          <a:spcPts val="0"/>
        </a:spcBef>
        <a:spcAft>
          <a:spcPts val="900"/>
        </a:spcAft>
        <a:buClr>
          <a:schemeClr val="accent2"/>
        </a:buClr>
        <a:buFont typeface="+mj-lt"/>
        <a:buAutoNum type="arabicPeriod"/>
        <a:defRPr sz="1800" b="0" i="0" kern="1200">
          <a:solidFill>
            <a:schemeClr val="tx1"/>
          </a:solidFill>
          <a:latin typeface="Barlow" pitchFamily="2" charset="77"/>
          <a:ea typeface="Verdana" panose="020B0604030504040204" pitchFamily="34" charset="0"/>
          <a:cs typeface="Arial" panose="020B0604020202020204" pitchFamily="34" charset="0"/>
        </a:defRPr>
      </a:lvl6pPr>
      <a:lvl7pPr marL="571477" indent="-342900" algn="l" defTabSz="914309" rtl="0" eaLnBrk="1" latinLnBrk="0" hangingPunct="1">
        <a:lnSpc>
          <a:spcPts val="2100"/>
        </a:lnSpc>
        <a:spcBef>
          <a:spcPts val="0"/>
        </a:spcBef>
        <a:spcAft>
          <a:spcPts val="900"/>
        </a:spcAft>
        <a:buClr>
          <a:schemeClr val="accent2"/>
        </a:buClr>
        <a:buFont typeface="+mj-lt"/>
        <a:buAutoNum type="arabicPeriod"/>
        <a:defRPr sz="1800" b="0" i="0" kern="1200">
          <a:solidFill>
            <a:schemeClr val="tx1"/>
          </a:solidFill>
          <a:latin typeface="Barlow" pitchFamily="2" charset="77"/>
          <a:ea typeface="Verdana" panose="020B0604030504040204" pitchFamily="34" charset="0"/>
          <a:cs typeface="Arial" panose="020B0604020202020204" pitchFamily="34" charset="0"/>
        </a:defRPr>
      </a:lvl7pPr>
      <a:lvl8pPr marL="571477" indent="-342900" algn="l" defTabSz="914309" rtl="0" eaLnBrk="1" latinLnBrk="0" hangingPunct="1">
        <a:lnSpc>
          <a:spcPts val="2100"/>
        </a:lnSpc>
        <a:spcBef>
          <a:spcPts val="0"/>
        </a:spcBef>
        <a:spcAft>
          <a:spcPts val="900"/>
        </a:spcAft>
        <a:buClr>
          <a:schemeClr val="accent2"/>
        </a:buClr>
        <a:buFont typeface="+mj-lt"/>
        <a:buAutoNum type="arabicPeriod"/>
        <a:defRPr sz="1800" b="0" i="0" kern="1200">
          <a:solidFill>
            <a:schemeClr val="tx1"/>
          </a:solidFill>
          <a:latin typeface="Barlow" pitchFamily="2" charset="77"/>
          <a:ea typeface="Verdana" panose="020B0604030504040204" pitchFamily="34" charset="0"/>
          <a:cs typeface="Arial" panose="020B0604020202020204" pitchFamily="34" charset="0"/>
        </a:defRPr>
      </a:lvl8pPr>
      <a:lvl9pPr marL="571477" indent="-342900" algn="l" defTabSz="914309" rtl="0" eaLnBrk="1" latinLnBrk="0" hangingPunct="1">
        <a:lnSpc>
          <a:spcPts val="2100"/>
        </a:lnSpc>
        <a:spcBef>
          <a:spcPts val="0"/>
        </a:spcBef>
        <a:spcAft>
          <a:spcPts val="900"/>
        </a:spcAft>
        <a:buClr>
          <a:schemeClr val="accent2"/>
        </a:buClr>
        <a:buFont typeface="+mj-lt"/>
        <a:buAutoNum type="arabicPeriod"/>
        <a:defRPr sz="1800" b="0" i="0" kern="1200">
          <a:solidFill>
            <a:schemeClr val="tx1"/>
          </a:solidFill>
          <a:latin typeface="Barlow" pitchFamily="2" charset="77"/>
          <a:ea typeface="Verdana" panose="020B0604030504040204" pitchFamily="34" charset="0"/>
          <a:cs typeface="Arial" panose="020B0604020202020204" pitchFamily="34" charset="0"/>
        </a:defRPr>
      </a:lvl9pPr>
    </p:bodyStyle>
    <p:otherStyle>
      <a:defPPr>
        <a:defRPr lang="en-US"/>
      </a:defPPr>
      <a:lvl1pPr marL="0" algn="l" defTabSz="914309" rtl="0" eaLnBrk="1" latinLnBrk="0" hangingPunct="1">
        <a:defRPr sz="1800" kern="1200">
          <a:solidFill>
            <a:schemeClr val="tx1"/>
          </a:solidFill>
          <a:latin typeface="+mn-lt"/>
          <a:ea typeface="+mn-ea"/>
          <a:cs typeface="+mn-cs"/>
        </a:defRPr>
      </a:lvl1pPr>
      <a:lvl2pPr marL="457155"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4" algn="l" defTabSz="914309" rtl="0" eaLnBrk="1" latinLnBrk="0" hangingPunct="1">
        <a:defRPr sz="1800" kern="1200">
          <a:solidFill>
            <a:schemeClr val="tx1"/>
          </a:solidFill>
          <a:latin typeface="+mn-lt"/>
          <a:ea typeface="+mn-ea"/>
          <a:cs typeface="+mn-cs"/>
        </a:defRPr>
      </a:lvl4pPr>
      <a:lvl5pPr marL="1828618" algn="l" defTabSz="914309" rtl="0" eaLnBrk="1" latinLnBrk="0" hangingPunct="1">
        <a:defRPr sz="1800" kern="1200">
          <a:solidFill>
            <a:schemeClr val="tx1"/>
          </a:solidFill>
          <a:latin typeface="+mn-lt"/>
          <a:ea typeface="+mn-ea"/>
          <a:cs typeface="+mn-cs"/>
        </a:defRPr>
      </a:lvl5pPr>
      <a:lvl6pPr marL="2285774"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5"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pos="3908">
          <p15:clr>
            <a:srgbClr val="F26B43"/>
          </p15:clr>
        </p15:guide>
        <p15:guide id="18" pos="7385">
          <p15:clr>
            <a:srgbClr val="F26B43"/>
          </p15:clr>
        </p15:guide>
        <p15:guide id="19" orient="horz" pos="986">
          <p15:clr>
            <a:srgbClr val="F26B43"/>
          </p15:clr>
        </p15:guide>
        <p15:guide id="20" orient="horz" pos="4200">
          <p15:clr>
            <a:srgbClr val="F26B43"/>
          </p15:clr>
        </p15:guide>
        <p15:guide id="21" orient="horz" pos="4050">
          <p15:clr>
            <a:srgbClr val="F26B43"/>
          </p15:clr>
        </p15:guide>
        <p15:guide id="22" orient="horz" pos="842">
          <p15:clr>
            <a:srgbClr val="F26B43"/>
          </p15:clr>
        </p15:guide>
        <p15:guide id="23" pos="3768">
          <p15:clr>
            <a:srgbClr val="F26B43"/>
          </p15:clr>
        </p15:guide>
        <p15:guide id="24" pos="3839">
          <p15:clr>
            <a:srgbClr val="F26B43"/>
          </p15:clr>
        </p15:guide>
        <p15:guide id="25" orient="horz" pos="3928">
          <p15:clr>
            <a:srgbClr val="F26B43"/>
          </p15:clr>
        </p15:guide>
        <p15:guide id="26" orient="horz" pos="290">
          <p15:clr>
            <a:srgbClr val="F26B43"/>
          </p15:clr>
        </p15:guide>
        <p15:guide id="27" pos="290">
          <p15:clr>
            <a:srgbClr val="F26B43"/>
          </p15:clr>
        </p15:guide>
        <p15:guide id="32" pos="2707">
          <p15:clr>
            <a:srgbClr val="F26B43"/>
          </p15:clr>
        </p15:guide>
        <p15:guide id="33" pos="2562">
          <p15:clr>
            <a:srgbClr val="F26B43"/>
          </p15:clr>
        </p15:guide>
        <p15:guide id="34" pos="4975">
          <p15:clr>
            <a:srgbClr val="F26B43"/>
          </p15:clr>
        </p15:guide>
        <p15:guide id="35" pos="5117">
          <p15:clr>
            <a:srgbClr val="F26B43"/>
          </p15:clr>
        </p15:guide>
        <p15:guide id="36" orient="horz" pos="3796">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E302FF9-0D26-4600-A3F7-55B9A22E68C9}" type="datetimeFigureOut">
              <a:rPr lang="en-US" smtClean="0">
                <a:solidFill>
                  <a:prstClr val="black">
                    <a:tint val="75000"/>
                  </a:prstClr>
                </a:solidFill>
              </a:rPr>
              <a:pPr/>
              <a:t>1/8/21</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F3CA280-9C58-4C5C-8639-0927071F0D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08089649"/>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 id="214748393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9.xml"/></Relationships>
</file>

<file path=ppt/slides/_rels/slide10.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2" Type="http://schemas.openxmlformats.org/officeDocument/2006/relationships/hyperlink" Target="https://twitter.com/florian_krammer/status/1336362836688297992" TargetMode="External"/><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2" Type="http://schemas.openxmlformats.org/officeDocument/2006/relationships/hyperlink" Target="mailto:BARCLAYJL@covhs.org" TargetMode="External"/><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85.xml"/></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85.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8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85.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85.xml"/></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85.xml"/><Relationship Id="rId5" Type="http://schemas.openxmlformats.org/officeDocument/2006/relationships/image" Target="../media/image48.png"/><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85.xml"/></Relationships>
</file>

<file path=ppt/slides/_rels/slide2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85.xml"/></Relationships>
</file>

<file path=ppt/slides/_rels/slide2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85.xml"/><Relationship Id="rId5" Type="http://schemas.openxmlformats.org/officeDocument/2006/relationships/image" Target="../media/image54.png"/><Relationship Id="rId4" Type="http://schemas.openxmlformats.org/officeDocument/2006/relationships/image" Target="../media/image53.png"/></Relationships>
</file>

<file path=ppt/slides/_rels/slide2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85.xml"/></Relationships>
</file>

<file path=ppt/slides/_rels/slide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85.xml"/><Relationship Id="rId5" Type="http://schemas.openxmlformats.org/officeDocument/2006/relationships/image" Target="../media/image59.png"/><Relationship Id="rId4" Type="http://schemas.openxmlformats.org/officeDocument/2006/relationships/image" Target="../media/image58.png"/></Relationships>
</file>

<file path=ppt/slides/_rels/slide2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85.xml"/></Relationships>
</file>

<file path=ppt/slides/_rels/slide2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85.xml"/><Relationship Id="rId5" Type="http://schemas.openxmlformats.org/officeDocument/2006/relationships/image" Target="../media/image64.png"/><Relationship Id="rId4" Type="http://schemas.openxmlformats.org/officeDocument/2006/relationships/image" Target="../media/image6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3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92.xml"/></Relationships>
</file>

<file path=ppt/slides/_rels/slide3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92.xml"/></Relationships>
</file>

<file path=ppt/slides/_rels/slide3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3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4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73.png"/><Relationship Id="rId4" Type="http://schemas.openxmlformats.org/officeDocument/2006/relationships/image" Target="../media/image72.png"/></Relationships>
</file>

<file path=ppt/slides/_rels/slide4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5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9.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a:extLst>
              <a:ext uri="{FF2B5EF4-FFF2-40B4-BE49-F238E27FC236}">
                <a16:creationId xmlns:a16="http://schemas.microsoft.com/office/drawing/2014/main" id="{4A7B3CED-194C-4F99-A43B-B08D18EC8530}"/>
              </a:ext>
            </a:extLst>
          </p:cNvPr>
          <p:cNvSpPr>
            <a:spLocks noGrp="1" noChangeArrowheads="1"/>
          </p:cNvSpPr>
          <p:nvPr>
            <p:ph type="ctrTitle"/>
          </p:nvPr>
        </p:nvSpPr>
        <p:spPr bwMode="auto">
          <a:xfrm>
            <a:off x="2239964" y="234950"/>
            <a:ext cx="7680325" cy="55562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sz="4800" dirty="0">
                <a:latin typeface="Baskerville Old Face" panose="02020602080505020303" pitchFamily="18" charset="0"/>
              </a:rPr>
              <a:t>Covenant Health</a:t>
            </a:r>
            <a:br>
              <a:rPr lang="en-US" altLang="en-US" sz="4800" dirty="0">
                <a:latin typeface="Baskerville Old Face" panose="02020602080505020303" pitchFamily="18" charset="0"/>
              </a:rPr>
            </a:br>
            <a:r>
              <a:rPr lang="en-US" altLang="en-US" sz="4800" dirty="0">
                <a:latin typeface="Baskerville Old Face" panose="02020602080505020303" pitchFamily="18" charset="0"/>
              </a:rPr>
              <a:t>Presents</a:t>
            </a:r>
            <a:br>
              <a:rPr lang="en-US" altLang="en-US" sz="1800" dirty="0">
                <a:latin typeface="Baskerville Old Face" panose="02020602080505020303" pitchFamily="18" charset="0"/>
              </a:rPr>
            </a:br>
            <a:br>
              <a:rPr lang="en-US" altLang="en-US" sz="1800" dirty="0">
                <a:latin typeface="Baskerville Old Face" panose="02020602080505020303" pitchFamily="18" charset="0"/>
              </a:rPr>
            </a:br>
            <a:br>
              <a:rPr lang="en-US" altLang="en-US" sz="1800" dirty="0">
                <a:latin typeface="Baskerville Old Face" panose="02020602080505020303" pitchFamily="18" charset="0"/>
              </a:rPr>
            </a:br>
            <a:br>
              <a:rPr lang="en-US" altLang="en-US" sz="4000" dirty="0">
                <a:latin typeface="Baskerville Old Face" panose="02020602080505020303" pitchFamily="18" charset="0"/>
              </a:rPr>
            </a:br>
            <a:r>
              <a:rPr lang="en-US" altLang="en-US" sz="4000" dirty="0">
                <a:latin typeface="Baskerville Old Face" panose="02020602080505020303" pitchFamily="18" charset="0"/>
              </a:rPr>
              <a:t>Critical Communications: A Weekly Physician Update</a:t>
            </a:r>
            <a:br>
              <a:rPr lang="en-US" altLang="en-US" sz="4000" dirty="0">
                <a:latin typeface="Baskerville Old Face" panose="02020602080505020303" pitchFamily="18" charset="0"/>
              </a:rPr>
            </a:br>
            <a:br>
              <a:rPr lang="en-US" altLang="en-US" sz="3200" i="1" dirty="0">
                <a:latin typeface="Baskerville Old Face" panose="02020602080505020303" pitchFamily="18" charset="0"/>
              </a:rPr>
            </a:br>
            <a:r>
              <a:rPr lang="en-US" altLang="en-US" sz="2400" i="1" dirty="0">
                <a:latin typeface="Baskerville Old Face" panose="02020602080505020303" pitchFamily="18" charset="0"/>
              </a:rPr>
              <a:t>January 8, 2021</a:t>
            </a:r>
            <a:endParaRPr lang="en-US" altLang="en-US" sz="2400" dirty="0">
              <a:latin typeface="Baskerville Old Face" panose="02020602080505020303" pitchFamily="18" charset="0"/>
            </a:endParaRPr>
          </a:p>
        </p:txBody>
      </p:sp>
      <p:sp>
        <p:nvSpPr>
          <p:cNvPr id="11267" name="Rectangle 3">
            <a:extLst>
              <a:ext uri="{FF2B5EF4-FFF2-40B4-BE49-F238E27FC236}">
                <a16:creationId xmlns:a16="http://schemas.microsoft.com/office/drawing/2014/main" id="{BB4ADF4D-3CF0-46FB-A827-93061F1CC314}"/>
              </a:ext>
            </a:extLst>
          </p:cNvPr>
          <p:cNvSpPr>
            <a:spLocks noGrp="1" noChangeArrowheads="1"/>
          </p:cNvSpPr>
          <p:nvPr>
            <p:ph type="subTitle" idx="1"/>
          </p:nvPr>
        </p:nvSpPr>
        <p:spPr>
          <a:xfrm>
            <a:off x="1831976" y="5791200"/>
            <a:ext cx="4714875" cy="966788"/>
          </a:xfrm>
        </p:spPr>
        <p:txBody>
          <a:bodyPr>
            <a:normAutofit/>
          </a:bodyPr>
          <a:lstStyle/>
          <a:p>
            <a:pPr eaLnBrk="1" fontAlgn="auto" hangingPunct="1">
              <a:lnSpc>
                <a:spcPct val="80000"/>
              </a:lnSpc>
              <a:spcAft>
                <a:spcPts val="0"/>
              </a:spcAft>
              <a:defRPr/>
            </a:pPr>
            <a:endParaRPr lang="en-US" altLang="en-US" sz="1500" b="1" dirty="0">
              <a:latin typeface="Baskerville Old Face" pitchFamily="18" charset="0"/>
            </a:endParaRPr>
          </a:p>
          <a:p>
            <a:pPr eaLnBrk="1" fontAlgn="auto" hangingPunct="1">
              <a:lnSpc>
                <a:spcPct val="80000"/>
              </a:lnSpc>
              <a:spcAft>
                <a:spcPts val="0"/>
              </a:spcAft>
              <a:defRPr/>
            </a:pPr>
            <a:endParaRPr lang="en-US" altLang="en-US" sz="1500" b="1" dirty="0">
              <a:latin typeface="Baskerville Old Face" pitchFamily="18" charset="0"/>
            </a:endParaRPr>
          </a:p>
          <a:p>
            <a:pPr eaLnBrk="1" fontAlgn="auto" hangingPunct="1">
              <a:lnSpc>
                <a:spcPct val="80000"/>
              </a:lnSpc>
              <a:spcAft>
                <a:spcPts val="0"/>
              </a:spcAft>
              <a:defRPr/>
            </a:pPr>
            <a:endParaRPr lang="en-US" altLang="en-US" sz="1500" b="1" dirty="0">
              <a:latin typeface="Baskerville Old Face" pitchFamily="18" charset="0"/>
            </a:endParaRPr>
          </a:p>
          <a:p>
            <a:pPr eaLnBrk="1" fontAlgn="auto" hangingPunct="1">
              <a:lnSpc>
                <a:spcPct val="80000"/>
              </a:lnSpc>
              <a:spcAft>
                <a:spcPts val="0"/>
              </a:spcAft>
              <a:defRPr/>
            </a:pPr>
            <a:endParaRPr lang="en-US" altLang="en-US" sz="1500" dirty="0"/>
          </a:p>
          <a:p>
            <a:pPr eaLnBrk="1" fontAlgn="auto" hangingPunct="1">
              <a:lnSpc>
                <a:spcPct val="80000"/>
              </a:lnSpc>
              <a:spcAft>
                <a:spcPts val="0"/>
              </a:spcAft>
              <a:defRPr/>
            </a:pPr>
            <a:endParaRPr lang="en-US" altLang="en-US" sz="1500" dirty="0"/>
          </a:p>
        </p:txBody>
      </p:sp>
    </p:spTree>
    <p:extLst>
      <p:ext uri="{BB962C8B-B14F-4D97-AF65-F5344CB8AC3E}">
        <p14:creationId xmlns:p14="http://schemas.microsoft.com/office/powerpoint/2010/main" val="4592179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785C8A-F7DB-654C-8C8E-849227FED095}"/>
              </a:ext>
            </a:extLst>
          </p:cNvPr>
          <p:cNvSpPr>
            <a:spLocks noGrp="1"/>
          </p:cNvSpPr>
          <p:nvPr>
            <p:ph idx="1"/>
          </p:nvPr>
        </p:nvSpPr>
        <p:spPr>
          <a:xfrm>
            <a:off x="516611" y="425747"/>
            <a:ext cx="10972800" cy="4525963"/>
          </a:xfrm>
        </p:spPr>
        <p:txBody>
          <a:bodyPr/>
          <a:lstStyle/>
          <a:p>
            <a:pPr marL="0" indent="0">
              <a:buNone/>
            </a:pPr>
            <a:r>
              <a:rPr lang="en-US" sz="2000" dirty="0"/>
              <a:t>	What’s your passion? How can you make a difference for a patient today, this week, this coming year? We are all in this together, this COVID-19 mess. And our collection of extraordinary team mates can make a massive difference in the lives of many, many patients and their families.</a:t>
            </a:r>
          </a:p>
        </p:txBody>
      </p:sp>
      <p:sp>
        <p:nvSpPr>
          <p:cNvPr id="5" name="Rectangle 2">
            <a:extLst>
              <a:ext uri="{FF2B5EF4-FFF2-40B4-BE49-F238E27FC236}">
                <a16:creationId xmlns:a16="http://schemas.microsoft.com/office/drawing/2014/main" id="{95B22B56-5E21-454D-9222-0BAF79EFD39D}"/>
              </a:ext>
            </a:extLst>
          </p:cNvPr>
          <p:cNvSpPr>
            <a:spLocks noChangeArrowheads="1"/>
          </p:cNvSpPr>
          <p:nvPr/>
        </p:nvSpPr>
        <p:spPr bwMode="auto">
          <a:xfrm>
            <a:off x="2820692" y="1844298"/>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18433" name="Picture 3" descr="https://www.covenanthealth.org/images/Oblender_1.jpg">
            <a:extLst>
              <a:ext uri="{FF2B5EF4-FFF2-40B4-BE49-F238E27FC236}">
                <a16:creationId xmlns:a16="http://schemas.microsoft.com/office/drawing/2014/main" id="{A49E85DE-C959-EF4E-AD29-36EE6CB884D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63066" y="1443049"/>
            <a:ext cx="6458852" cy="386427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95D19BFB-0CC7-7344-94BE-84655DD4DE46}"/>
              </a:ext>
            </a:extLst>
          </p:cNvPr>
          <p:cNvSpPr txBox="1"/>
          <p:nvPr/>
        </p:nvSpPr>
        <p:spPr>
          <a:xfrm>
            <a:off x="712922" y="5307319"/>
            <a:ext cx="10263387" cy="707886"/>
          </a:xfrm>
          <a:prstGeom prst="rect">
            <a:avLst/>
          </a:prstGeom>
          <a:noFill/>
        </p:spPr>
        <p:txBody>
          <a:bodyPr wrap="none" rtlCol="0">
            <a:spAutoFit/>
          </a:bodyPr>
          <a:lstStyle/>
          <a:p>
            <a:r>
              <a:rPr lang="en-US" sz="2000" dirty="0">
                <a:solidFill>
                  <a:schemeClr val="tx2"/>
                </a:solidFill>
              </a:rPr>
              <a:t>	I wish blessings for you all, and that you may be a blessing to others in the coming days. </a:t>
            </a:r>
          </a:p>
          <a:p>
            <a:endParaRPr lang="en-US" sz="2000" dirty="0">
              <a:solidFill>
                <a:schemeClr val="tx2"/>
              </a:solidFill>
            </a:endParaRPr>
          </a:p>
        </p:txBody>
      </p:sp>
    </p:spTree>
    <p:extLst>
      <p:ext uri="{BB962C8B-B14F-4D97-AF65-F5344CB8AC3E}">
        <p14:creationId xmlns:p14="http://schemas.microsoft.com/office/powerpoint/2010/main" val="573590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61513" y="2880766"/>
            <a:ext cx="8838473" cy="1870729"/>
          </a:xfrm>
        </p:spPr>
        <p:txBody>
          <a:bodyPr/>
          <a:lstStyle/>
          <a:p>
            <a:r>
              <a:rPr lang="en-US"/>
              <a:t>Covid-19 Vaccine </a:t>
            </a:r>
            <a:br>
              <a:rPr lang="en-US"/>
            </a:br>
            <a:br>
              <a:rPr lang="en-US"/>
            </a:br>
            <a:endParaRPr lang="en-US"/>
          </a:p>
        </p:txBody>
      </p:sp>
    </p:spTree>
    <p:extLst>
      <p:ext uri="{BB962C8B-B14F-4D97-AF65-F5344CB8AC3E}">
        <p14:creationId xmlns:p14="http://schemas.microsoft.com/office/powerpoint/2010/main" val="11257590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CC886-67DB-B34A-B830-26698D0B0C8F}"/>
              </a:ext>
            </a:extLst>
          </p:cNvPr>
          <p:cNvSpPr>
            <a:spLocks noGrp="1"/>
          </p:cNvSpPr>
          <p:nvPr>
            <p:ph type="title"/>
          </p:nvPr>
        </p:nvSpPr>
        <p:spPr>
          <a:xfrm>
            <a:off x="609600" y="103188"/>
            <a:ext cx="10972800" cy="1143000"/>
          </a:xfrm>
        </p:spPr>
        <p:txBody>
          <a:bodyPr/>
          <a:lstStyle/>
          <a:p>
            <a:r>
              <a:rPr lang="en-US" dirty="0"/>
              <a:t>Does the Vaccine Work?</a:t>
            </a:r>
          </a:p>
        </p:txBody>
      </p:sp>
      <p:pic>
        <p:nvPicPr>
          <p:cNvPr id="6" name="Picture 5">
            <a:extLst>
              <a:ext uri="{FF2B5EF4-FFF2-40B4-BE49-F238E27FC236}">
                <a16:creationId xmlns:a16="http://schemas.microsoft.com/office/drawing/2014/main" id="{BCA625D0-BE61-C440-A386-AFEB22E8DD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24940" y="846138"/>
            <a:ext cx="9067800" cy="5459752"/>
          </a:xfrm>
          <a:prstGeom prst="rect">
            <a:avLst/>
          </a:prstGeom>
        </p:spPr>
      </p:pic>
    </p:spTree>
    <p:extLst>
      <p:ext uri="{BB962C8B-B14F-4D97-AF65-F5344CB8AC3E}">
        <p14:creationId xmlns:p14="http://schemas.microsoft.com/office/powerpoint/2010/main" val="267319627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3D7DBB-1004-594E-83BB-DF08CBBB6C06}"/>
              </a:ext>
            </a:extLst>
          </p:cNvPr>
          <p:cNvSpPr>
            <a:spLocks noGrp="1"/>
          </p:cNvSpPr>
          <p:nvPr>
            <p:ph type="title"/>
          </p:nvPr>
        </p:nvSpPr>
        <p:spPr/>
        <p:txBody>
          <a:bodyPr/>
          <a:lstStyle/>
          <a:p>
            <a:endParaRPr lang="en-US"/>
          </a:p>
        </p:txBody>
      </p:sp>
      <p:sp>
        <p:nvSpPr>
          <p:cNvPr id="4" name="Content Placeholder 3">
            <a:extLst>
              <a:ext uri="{FF2B5EF4-FFF2-40B4-BE49-F238E27FC236}">
                <a16:creationId xmlns:a16="http://schemas.microsoft.com/office/drawing/2014/main" id="{A05BC467-FFEC-4C48-B8B9-7DCB2362ACF1}"/>
              </a:ext>
            </a:extLst>
          </p:cNvPr>
          <p:cNvSpPr>
            <a:spLocks noGrp="1"/>
          </p:cNvSpPr>
          <p:nvPr>
            <p:ph idx="1"/>
          </p:nvPr>
        </p:nvSpPr>
        <p:spPr>
          <a:xfrm>
            <a:off x="701040" y="1550671"/>
            <a:ext cx="10972800" cy="4906963"/>
          </a:xfrm>
        </p:spPr>
        <p:txBody>
          <a:bodyPr/>
          <a:lstStyle/>
          <a:p>
            <a:pPr marL="0" indent="0" fontAlgn="base">
              <a:buNone/>
            </a:pPr>
            <a:r>
              <a:rPr lang="en-US" i="1" dirty="0">
                <a:latin typeface="Times New Roman" panose="02020603050405020304" pitchFamily="18" charset="0"/>
                <a:cs typeface="Times New Roman" panose="02020603050405020304" pitchFamily="18" charset="0"/>
              </a:rPr>
              <a:t>“No comment. This is what vaccines do,” said Florian </a:t>
            </a:r>
            <a:r>
              <a:rPr lang="en-US" i="1" dirty="0" err="1">
                <a:latin typeface="Times New Roman" panose="02020603050405020304" pitchFamily="18" charset="0"/>
                <a:cs typeface="Times New Roman" panose="02020603050405020304" pitchFamily="18" charset="0"/>
              </a:rPr>
              <a:t>Krammer</a:t>
            </a:r>
            <a:r>
              <a:rPr lang="en-US" i="1" dirty="0">
                <a:latin typeface="Times New Roman" panose="02020603050405020304" pitchFamily="18" charset="0"/>
                <a:cs typeface="Times New Roman" panose="02020603050405020304" pitchFamily="18" charset="0"/>
              </a:rPr>
              <a:t>, a prominent immunologist, </a:t>
            </a:r>
            <a:r>
              <a:rPr lang="en-US" i="1" u="sng" dirty="0">
                <a:latin typeface="Times New Roman" panose="02020603050405020304" pitchFamily="18" charset="0"/>
                <a:cs typeface="Times New Roman" panose="02020603050405020304" pitchFamily="18" charset="0"/>
                <a:hlinkClick r:id="rId2">
                  <a:extLst>
                    <a:ext uri="{A12FA001-AC4F-418D-AE19-62706E023703}">
                      <ahyp:hlinkClr xmlns:ahyp="http://schemas.microsoft.com/office/drawing/2018/hyperlinkcolor" val="tx"/>
                    </a:ext>
                  </a:extLst>
                </a:hlinkClick>
              </a:rPr>
              <a:t>who posted</a:t>
            </a:r>
            <a:r>
              <a:rPr lang="en-US" i="1" dirty="0">
                <a:latin typeface="Times New Roman" panose="02020603050405020304" pitchFamily="18" charset="0"/>
                <a:cs typeface="Times New Roman" panose="02020603050405020304" pitchFamily="18" charset="0"/>
              </a:rPr>
              <a:t> a version of the image to Twitter.</a:t>
            </a:r>
          </a:p>
          <a:p>
            <a:pPr marL="0" indent="0" fontAlgn="base">
              <a:buNone/>
            </a:pPr>
            <a:endParaRPr lang="en-US" i="1" dirty="0">
              <a:latin typeface="Times New Roman" panose="02020603050405020304" pitchFamily="18" charset="0"/>
              <a:cs typeface="Times New Roman" panose="02020603050405020304" pitchFamily="18" charset="0"/>
            </a:endParaRPr>
          </a:p>
          <a:p>
            <a:pPr marL="0" indent="0" fontAlgn="base">
              <a:buNone/>
            </a:pPr>
            <a:r>
              <a:rPr lang="en-US" i="1" dirty="0">
                <a:latin typeface="Times New Roman" panose="02020603050405020304" pitchFamily="18" charset="0"/>
                <a:cs typeface="Times New Roman" panose="02020603050405020304" pitchFamily="18" charset="0"/>
              </a:rPr>
              <a:t>The triumphalism is justified. This is what the researchers have been working toward all year. And the data in this graphic leaves no room for rumors, politics, or uninformed commentary. It’s as plain as day: </a:t>
            </a:r>
            <a:r>
              <a:rPr lang="en-US" i="1" dirty="0">
                <a:solidFill>
                  <a:srgbClr val="FF0000"/>
                </a:solidFill>
                <a:effectLst>
                  <a:outerShdw blurRad="50800" dist="38100" dir="2700000" algn="tl" rotWithShape="0">
                    <a:prstClr val="black">
                      <a:alpha val="40000"/>
                    </a:prstClr>
                  </a:outerShdw>
                </a:effectLst>
                <a:latin typeface="Times New Roman" panose="02020603050405020304" pitchFamily="18" charset="0"/>
                <a:cs typeface="Times New Roman" panose="02020603050405020304" pitchFamily="18" charset="0"/>
              </a:rPr>
              <a:t>this vaccine is one of the best we’ve ever seen.</a:t>
            </a:r>
          </a:p>
          <a:p>
            <a:pPr marL="0" indent="0">
              <a:buNone/>
            </a:pPr>
            <a:endParaRPr lang="en-US" dirty="0">
              <a:effectLst>
                <a:outerShdw blurRad="50800" dist="38100" dir="2700000" algn="tl" rotWithShape="0">
                  <a:prstClr val="black">
                    <a:alpha val="40000"/>
                  </a:prstClr>
                </a:outerShdw>
              </a:effectLst>
            </a:endParaRPr>
          </a:p>
        </p:txBody>
      </p:sp>
    </p:spTree>
    <p:extLst>
      <p:ext uri="{BB962C8B-B14F-4D97-AF65-F5344CB8AC3E}">
        <p14:creationId xmlns:p14="http://schemas.microsoft.com/office/powerpoint/2010/main" val="30750818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D0B17-2AA0-634C-8986-B302A48AF2BC}"/>
              </a:ext>
            </a:extLst>
          </p:cNvPr>
          <p:cNvSpPr>
            <a:spLocks noGrp="1"/>
          </p:cNvSpPr>
          <p:nvPr>
            <p:ph type="title"/>
          </p:nvPr>
        </p:nvSpPr>
        <p:spPr/>
        <p:txBody>
          <a:bodyPr/>
          <a:lstStyle/>
          <a:p>
            <a:r>
              <a:rPr lang="en-US" dirty="0"/>
              <a:t>Vaccinations for Office Caregivers</a:t>
            </a:r>
          </a:p>
        </p:txBody>
      </p:sp>
      <p:sp>
        <p:nvSpPr>
          <p:cNvPr id="3" name="Content Placeholder 2">
            <a:extLst>
              <a:ext uri="{FF2B5EF4-FFF2-40B4-BE49-F238E27FC236}">
                <a16:creationId xmlns:a16="http://schemas.microsoft.com/office/drawing/2014/main" id="{BF1D7F14-E519-0A47-92B6-212DF017281B}"/>
              </a:ext>
            </a:extLst>
          </p:cNvPr>
          <p:cNvSpPr>
            <a:spLocks noGrp="1"/>
          </p:cNvSpPr>
          <p:nvPr>
            <p:ph idx="1"/>
          </p:nvPr>
        </p:nvSpPr>
        <p:spPr>
          <a:xfrm>
            <a:off x="609600" y="1608083"/>
            <a:ext cx="10972800" cy="4518081"/>
          </a:xfrm>
        </p:spPr>
        <p:txBody>
          <a:bodyPr/>
          <a:lstStyle/>
          <a:p>
            <a:r>
              <a:rPr lang="en-US" sz="2800" dirty="0"/>
              <a:t>There is a limited availability for your OFFICE STAFF to receive the </a:t>
            </a:r>
            <a:r>
              <a:rPr lang="en-US" sz="2800" dirty="0" err="1"/>
              <a:t>Covid</a:t>
            </a:r>
            <a:r>
              <a:rPr lang="en-US" sz="2800" dirty="0"/>
              <a:t> vaccination at </a:t>
            </a:r>
            <a:r>
              <a:rPr lang="en-US" sz="2800" dirty="0" err="1"/>
              <a:t>Knipling</a:t>
            </a:r>
            <a:r>
              <a:rPr lang="en-US" sz="2800" dirty="0"/>
              <a:t> IF THEY MAKE AN APPOINTMENT</a:t>
            </a:r>
          </a:p>
          <a:p>
            <a:r>
              <a:rPr lang="en-US" sz="2800" dirty="0"/>
              <a:t>If there is interest, send an email to </a:t>
            </a:r>
            <a:r>
              <a:rPr lang="en-US" sz="2800" dirty="0">
                <a:hlinkClick r:id="rId2"/>
              </a:rPr>
              <a:t>BARCLAYJL@covhs.org</a:t>
            </a:r>
            <a:r>
              <a:rPr lang="en-US" sz="2800" dirty="0"/>
              <a:t>  before NOON tomorrow.</a:t>
            </a:r>
          </a:p>
          <a:p>
            <a:r>
              <a:rPr lang="en-US" sz="2800" dirty="0"/>
              <a:t>Slots are VERY LIMITED and will be first come / first served.</a:t>
            </a:r>
          </a:p>
          <a:p>
            <a:r>
              <a:rPr lang="en-US" sz="2800" dirty="0"/>
              <a:t>Please DO </a:t>
            </a:r>
            <a:r>
              <a:rPr lang="en-US" sz="2800" dirty="0">
                <a:solidFill>
                  <a:srgbClr val="FF0000"/>
                </a:solidFill>
              </a:rPr>
              <a:t>NOT</a:t>
            </a:r>
            <a:r>
              <a:rPr lang="en-US" sz="2800" dirty="0"/>
              <a:t> CALL the MSO or Cynthia Salisbury for this.  Emails are easier to track and decreases the potential for error.</a:t>
            </a:r>
          </a:p>
          <a:p>
            <a:r>
              <a:rPr lang="en-US" sz="2800" dirty="0"/>
              <a:t>Please prioritize staff that deal face to face with your patients.</a:t>
            </a:r>
          </a:p>
          <a:p>
            <a:endParaRPr lang="en-US" sz="2800" dirty="0"/>
          </a:p>
          <a:p>
            <a:endParaRPr lang="en-US" sz="2800" dirty="0"/>
          </a:p>
        </p:txBody>
      </p:sp>
    </p:spTree>
    <p:extLst>
      <p:ext uri="{BB962C8B-B14F-4D97-AF65-F5344CB8AC3E}">
        <p14:creationId xmlns:p14="http://schemas.microsoft.com/office/powerpoint/2010/main" val="13482115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3307C-069A-CE41-B0D3-5AAD990C7AE1}"/>
              </a:ext>
            </a:extLst>
          </p:cNvPr>
          <p:cNvSpPr>
            <a:spLocks noGrp="1"/>
          </p:cNvSpPr>
          <p:nvPr>
            <p:ph type="ctrTitle"/>
          </p:nvPr>
        </p:nvSpPr>
        <p:spPr/>
        <p:txBody>
          <a:bodyPr/>
          <a:lstStyle/>
          <a:p>
            <a:r>
              <a:rPr lang="en-US" dirty="0"/>
              <a:t>Racial Disparity in </a:t>
            </a:r>
            <a:r>
              <a:rPr lang="en-US" dirty="0" err="1"/>
              <a:t>Susceptabilty</a:t>
            </a:r>
            <a:r>
              <a:rPr lang="en-US" dirty="0"/>
              <a:t> to Covid-19</a:t>
            </a:r>
          </a:p>
        </p:txBody>
      </p:sp>
      <p:sp>
        <p:nvSpPr>
          <p:cNvPr id="3" name="Subtitle 2">
            <a:extLst>
              <a:ext uri="{FF2B5EF4-FFF2-40B4-BE49-F238E27FC236}">
                <a16:creationId xmlns:a16="http://schemas.microsoft.com/office/drawing/2014/main" id="{DC0A9872-F132-1C40-8B73-F7A4751DD020}"/>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84053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F4F19A-2345-734E-80A5-517D9DCA8C2C}"/>
              </a:ext>
            </a:extLst>
          </p:cNvPr>
          <p:cNvSpPr>
            <a:spLocks noGrp="1"/>
          </p:cNvSpPr>
          <p:nvPr>
            <p:ph type="title"/>
          </p:nvPr>
        </p:nvSpPr>
        <p:spPr/>
        <p:txBody>
          <a:bodyPr/>
          <a:lstStyle/>
          <a:p>
            <a:r>
              <a:rPr lang="en-US" dirty="0" err="1"/>
              <a:t>Covid</a:t>
            </a:r>
            <a:r>
              <a:rPr lang="en-US" dirty="0"/>
              <a:t> Mortality in Texas 2020</a:t>
            </a:r>
          </a:p>
        </p:txBody>
      </p:sp>
      <p:sp>
        <p:nvSpPr>
          <p:cNvPr id="6" name="Text Placeholder 5">
            <a:extLst>
              <a:ext uri="{FF2B5EF4-FFF2-40B4-BE49-F238E27FC236}">
                <a16:creationId xmlns:a16="http://schemas.microsoft.com/office/drawing/2014/main" id="{FBDCC21B-2212-F14B-8408-0C3AD2F7F11C}"/>
              </a:ext>
            </a:extLst>
          </p:cNvPr>
          <p:cNvSpPr>
            <a:spLocks noGrp="1"/>
          </p:cNvSpPr>
          <p:nvPr>
            <p:ph type="body" sz="quarter" idx="14"/>
          </p:nvPr>
        </p:nvSpPr>
        <p:spPr/>
        <p:txBody>
          <a:bodyPr/>
          <a:lstStyle/>
          <a:p>
            <a:r>
              <a:rPr lang="en-US"/>
              <a:t> </a:t>
            </a:r>
          </a:p>
        </p:txBody>
      </p:sp>
      <p:sp>
        <p:nvSpPr>
          <p:cNvPr id="3" name="TextBox 2">
            <a:extLst>
              <a:ext uri="{FF2B5EF4-FFF2-40B4-BE49-F238E27FC236}">
                <a16:creationId xmlns:a16="http://schemas.microsoft.com/office/drawing/2014/main" id="{F393A57B-1782-8D4F-B54D-C0D11CCB5F64}"/>
              </a:ext>
            </a:extLst>
          </p:cNvPr>
          <p:cNvSpPr txBox="1"/>
          <p:nvPr/>
        </p:nvSpPr>
        <p:spPr>
          <a:xfrm>
            <a:off x="927418" y="742950"/>
            <a:ext cx="0" cy="0"/>
          </a:xfrm>
          <a:prstGeom prst="rect">
            <a:avLst/>
          </a:prstGeom>
          <a:noFill/>
        </p:spPr>
        <p:txBody>
          <a:bodyPr wrap="none" lIns="0" tIns="0" rIns="0" bIns="0" rtlCol="0">
            <a:noAutofit/>
          </a:bodyPr>
          <a:lstStyle/>
          <a:p>
            <a:pPr>
              <a:lnSpc>
                <a:spcPts val="2100"/>
              </a:lnSpc>
              <a:spcAft>
                <a:spcPts val="900"/>
              </a:spcAft>
            </a:pPr>
            <a:endParaRPr lang="en-US" dirty="0">
              <a:solidFill>
                <a:srgbClr val="000000"/>
              </a:solidFill>
              <a:latin typeface="Barlow" pitchFamily="2" charset="77"/>
            </a:endParaRPr>
          </a:p>
        </p:txBody>
      </p:sp>
      <p:sp>
        <p:nvSpPr>
          <p:cNvPr id="7" name="Text Placeholder 6">
            <a:extLst>
              <a:ext uri="{FF2B5EF4-FFF2-40B4-BE49-F238E27FC236}">
                <a16:creationId xmlns:a16="http://schemas.microsoft.com/office/drawing/2014/main" id="{3A4FADEA-24D1-E948-9E41-53474E9DB2F2}"/>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8782959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BFC7C68-97C2-174C-BA22-EA16008B3D5D}"/>
              </a:ext>
            </a:extLst>
          </p:cNvPr>
          <p:cNvSpPr>
            <a:spLocks noGrp="1"/>
          </p:cNvSpPr>
          <p:nvPr>
            <p:ph type="ftr" sz="quarter" idx="11"/>
          </p:nvPr>
        </p:nvSpPr>
        <p:spPr/>
        <p:txBody>
          <a:bodyPr/>
          <a:lstStyle/>
          <a:p>
            <a:endParaRPr lang="en-US" dirty="0">
              <a:solidFill>
                <a:srgbClr val="00338E"/>
              </a:solidFill>
            </a:endParaRPr>
          </a:p>
        </p:txBody>
      </p:sp>
      <p:sp>
        <p:nvSpPr>
          <p:cNvPr id="3" name="Slide Number Placeholder 2">
            <a:extLst>
              <a:ext uri="{FF2B5EF4-FFF2-40B4-BE49-F238E27FC236}">
                <a16:creationId xmlns:a16="http://schemas.microsoft.com/office/drawing/2014/main" id="{CE0DDCBF-CEA0-A74D-846D-B921838D3E6C}"/>
              </a:ext>
            </a:extLst>
          </p:cNvPr>
          <p:cNvSpPr>
            <a:spLocks noGrp="1"/>
          </p:cNvSpPr>
          <p:nvPr>
            <p:ph type="sldNum" sz="quarter" idx="12"/>
          </p:nvPr>
        </p:nvSpPr>
        <p:spPr/>
        <p:txBody>
          <a:bodyPr/>
          <a:lstStyle/>
          <a:p>
            <a:fld id="{4FAB73BC-B049-4115-A692-8D63A059BFB8}" type="slidenum">
              <a:rPr lang="en-US">
                <a:solidFill>
                  <a:srgbClr val="00338E"/>
                </a:solidFill>
              </a:rPr>
              <a:pPr/>
              <a:t>17</a:t>
            </a:fld>
            <a:endParaRPr lang="en-US" dirty="0">
              <a:solidFill>
                <a:srgbClr val="00338E"/>
              </a:solidFill>
            </a:endParaRPr>
          </a:p>
        </p:txBody>
      </p:sp>
      <p:pic>
        <p:nvPicPr>
          <p:cNvPr id="5" name="Picture 4">
            <a:extLst>
              <a:ext uri="{FF2B5EF4-FFF2-40B4-BE49-F238E27FC236}">
                <a16:creationId xmlns:a16="http://schemas.microsoft.com/office/drawing/2014/main" id="{879AD2C0-D62A-9441-BAD1-267416B8DE4F}"/>
              </a:ext>
            </a:extLst>
          </p:cNvPr>
          <p:cNvPicPr>
            <a:picLocks noChangeAspect="1"/>
          </p:cNvPicPr>
          <p:nvPr/>
        </p:nvPicPr>
        <p:blipFill>
          <a:blip r:embed="rId2"/>
          <a:stretch>
            <a:fillRect/>
          </a:stretch>
        </p:blipFill>
        <p:spPr>
          <a:xfrm>
            <a:off x="5716588" y="152400"/>
            <a:ext cx="6640830" cy="6705600"/>
          </a:xfrm>
          <a:prstGeom prst="rect">
            <a:avLst/>
          </a:prstGeom>
        </p:spPr>
      </p:pic>
      <p:sp>
        <p:nvSpPr>
          <p:cNvPr id="10" name="TextBox 9">
            <a:extLst>
              <a:ext uri="{FF2B5EF4-FFF2-40B4-BE49-F238E27FC236}">
                <a16:creationId xmlns:a16="http://schemas.microsoft.com/office/drawing/2014/main" id="{F49AD2D9-8885-A54E-B833-443D1EE8E18A}"/>
              </a:ext>
            </a:extLst>
          </p:cNvPr>
          <p:cNvSpPr txBox="1"/>
          <p:nvPr/>
        </p:nvSpPr>
        <p:spPr>
          <a:xfrm>
            <a:off x="1064578" y="2571750"/>
            <a:ext cx="3840480" cy="2457450"/>
          </a:xfrm>
          <a:prstGeom prst="rect">
            <a:avLst/>
          </a:prstGeom>
          <a:noFill/>
        </p:spPr>
        <p:txBody>
          <a:bodyPr wrap="none" lIns="0" tIns="0" rIns="0" bIns="0" rtlCol="0">
            <a:noAutofit/>
          </a:bodyPr>
          <a:lstStyle/>
          <a:p>
            <a:pPr algn="ctr">
              <a:lnSpc>
                <a:spcPts val="2100"/>
              </a:lnSpc>
              <a:spcAft>
                <a:spcPts val="900"/>
              </a:spcAft>
            </a:pPr>
            <a:r>
              <a:rPr lang="en-US" sz="2800" dirty="0">
                <a:solidFill>
                  <a:srgbClr val="000000"/>
                </a:solidFill>
                <a:latin typeface="Barlow" pitchFamily="2" charset="77"/>
              </a:rPr>
              <a:t>Hispanic Census by State </a:t>
            </a:r>
          </a:p>
          <a:p>
            <a:pPr algn="ctr">
              <a:lnSpc>
                <a:spcPts val="2100"/>
              </a:lnSpc>
              <a:spcAft>
                <a:spcPts val="900"/>
              </a:spcAft>
            </a:pPr>
            <a:r>
              <a:rPr lang="en-US" sz="2800" dirty="0">
                <a:solidFill>
                  <a:srgbClr val="000000"/>
                </a:solidFill>
                <a:latin typeface="Barlow" pitchFamily="2" charset="77"/>
              </a:rPr>
              <a:t>Compared to the National Norm</a:t>
            </a:r>
          </a:p>
        </p:txBody>
      </p:sp>
    </p:spTree>
    <p:extLst>
      <p:ext uri="{BB962C8B-B14F-4D97-AF65-F5344CB8AC3E}">
        <p14:creationId xmlns:p14="http://schemas.microsoft.com/office/powerpoint/2010/main" val="4399132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5220B9-FAF2-2E4C-B0EF-AC272156ED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70662" y="3530575"/>
            <a:ext cx="6208683" cy="3326533"/>
          </a:xfrm>
          <a:prstGeom prst="rect">
            <a:avLst/>
          </a:prstGeom>
        </p:spPr>
      </p:pic>
      <p:pic>
        <p:nvPicPr>
          <p:cNvPr id="5" name="Picture 4">
            <a:extLst>
              <a:ext uri="{FF2B5EF4-FFF2-40B4-BE49-F238E27FC236}">
                <a16:creationId xmlns:a16="http://schemas.microsoft.com/office/drawing/2014/main" id="{66FD31D7-4324-EE4C-A8D1-D91944ACE7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0662" y="26287"/>
            <a:ext cx="6132503" cy="3212263"/>
          </a:xfrm>
          <a:prstGeom prst="rect">
            <a:avLst/>
          </a:prstGeom>
        </p:spPr>
      </p:pic>
      <p:sp>
        <p:nvSpPr>
          <p:cNvPr id="6" name="TextBox 5">
            <a:extLst>
              <a:ext uri="{FF2B5EF4-FFF2-40B4-BE49-F238E27FC236}">
                <a16:creationId xmlns:a16="http://schemas.microsoft.com/office/drawing/2014/main" id="{EC4EB475-8C75-AB4B-BD04-F8A5A82A7C54}"/>
              </a:ext>
            </a:extLst>
          </p:cNvPr>
          <p:cNvSpPr txBox="1"/>
          <p:nvPr/>
        </p:nvSpPr>
        <p:spPr>
          <a:xfrm>
            <a:off x="248518" y="109322"/>
            <a:ext cx="5285326" cy="3414277"/>
          </a:xfrm>
          <a:prstGeom prst="rect">
            <a:avLst/>
          </a:prstGeom>
          <a:solidFill>
            <a:schemeClr val="tx1"/>
          </a:solidFill>
        </p:spPr>
        <p:txBody>
          <a:bodyPr wrap="square" rtlCol="0">
            <a:spAutoFit/>
          </a:bodyPr>
          <a:lstStyle/>
          <a:p>
            <a:r>
              <a:rPr lang="en-US" sz="2399" dirty="0">
                <a:solidFill>
                  <a:srgbClr val="FFFFFF"/>
                </a:solidFill>
                <a:latin typeface="Arial" panose="020B0604020202020204"/>
              </a:rPr>
              <a:t>The Hispanic Population has a disproportionate mortality rate.</a:t>
            </a:r>
          </a:p>
          <a:p>
            <a:endParaRPr lang="en-US" sz="2399" dirty="0">
              <a:solidFill>
                <a:srgbClr val="FFFFFF"/>
              </a:solidFill>
              <a:latin typeface="Arial" panose="020B0604020202020204"/>
            </a:endParaRPr>
          </a:p>
          <a:p>
            <a:r>
              <a:rPr lang="en-US" sz="2399" dirty="0">
                <a:solidFill>
                  <a:srgbClr val="FFFFFF"/>
                </a:solidFill>
                <a:latin typeface="Arial" panose="020B0604020202020204"/>
              </a:rPr>
              <a:t>This has been confirmed in multiple states such as Arizona, Utah, Pennsylvania, New York, Colorado and New Jersey.</a:t>
            </a:r>
          </a:p>
          <a:p>
            <a:endParaRPr lang="en-US" sz="2399" dirty="0">
              <a:solidFill>
                <a:srgbClr val="FFFFFF"/>
              </a:solidFill>
              <a:latin typeface="Arial" panose="020B0604020202020204"/>
            </a:endParaRPr>
          </a:p>
          <a:p>
            <a:r>
              <a:rPr lang="en-US" sz="2399" dirty="0">
                <a:solidFill>
                  <a:srgbClr val="FFFFFF"/>
                </a:solidFill>
                <a:latin typeface="Arial" panose="020B0604020202020204"/>
              </a:rPr>
              <a:t>The reasons remain unclear.</a:t>
            </a:r>
          </a:p>
        </p:txBody>
      </p:sp>
      <p:sp>
        <p:nvSpPr>
          <p:cNvPr id="7" name="TextBox 6">
            <a:extLst>
              <a:ext uri="{FF2B5EF4-FFF2-40B4-BE49-F238E27FC236}">
                <a16:creationId xmlns:a16="http://schemas.microsoft.com/office/drawing/2014/main" id="{3EB67FBA-5103-7041-AD6C-CC09EFC69C01}"/>
              </a:ext>
            </a:extLst>
          </p:cNvPr>
          <p:cNvSpPr txBox="1"/>
          <p:nvPr/>
        </p:nvSpPr>
        <p:spPr>
          <a:xfrm>
            <a:off x="143442" y="3650030"/>
            <a:ext cx="5390403" cy="3046988"/>
          </a:xfrm>
          <a:prstGeom prst="rect">
            <a:avLst/>
          </a:prstGeom>
          <a:noFill/>
        </p:spPr>
        <p:txBody>
          <a:bodyPr wrap="square" rtlCol="0">
            <a:spAutoFit/>
          </a:bodyPr>
          <a:lstStyle/>
          <a:p>
            <a:r>
              <a:rPr lang="en-US" sz="1200" dirty="0">
                <a:solidFill>
                  <a:srgbClr val="000000"/>
                </a:solidFill>
                <a:latin typeface="Arial" panose="020B0604020202020204"/>
              </a:rPr>
              <a:t>New York State Department of Health. Fatalities [as of May 20, 2020]. https://covid19tracker.health.ny.gov/views/NYS-COVID19-Tracker/NYSDOHCOVID-19Tracker-Fatalities?%3Aembed=yes&amp;%3Atoolbar=no&amp;%3Atabs=n. Accessed May 22, 2020.</a:t>
            </a:r>
          </a:p>
          <a:p>
            <a:endParaRPr lang="en-US" sz="1200" dirty="0">
              <a:solidFill>
                <a:srgbClr val="000000"/>
              </a:solidFill>
              <a:latin typeface="Arial" panose="020B0604020202020204"/>
            </a:endParaRPr>
          </a:p>
          <a:p>
            <a:r>
              <a:rPr lang="en-US" sz="1200" dirty="0" err="1">
                <a:solidFill>
                  <a:srgbClr val="000000"/>
                </a:solidFill>
                <a:latin typeface="Arial" panose="020B0604020202020204"/>
              </a:rPr>
              <a:t>Despres</a:t>
            </a:r>
            <a:r>
              <a:rPr lang="en-US" sz="1200" dirty="0">
                <a:solidFill>
                  <a:srgbClr val="000000"/>
                </a:solidFill>
                <a:latin typeface="Arial" panose="020B0604020202020204"/>
              </a:rPr>
              <a:t> C. Coronavirus case rates and death rates for Latinos in the United States. </a:t>
            </a:r>
            <a:r>
              <a:rPr lang="en-US" sz="1200" dirty="0" err="1">
                <a:solidFill>
                  <a:srgbClr val="000000"/>
                </a:solidFill>
                <a:latin typeface="Arial" panose="020B0604020202020204"/>
              </a:rPr>
              <a:t>Salud</a:t>
            </a:r>
            <a:r>
              <a:rPr lang="en-US" sz="1200" dirty="0">
                <a:solidFill>
                  <a:srgbClr val="000000"/>
                </a:solidFill>
                <a:latin typeface="Arial" panose="020B0604020202020204"/>
              </a:rPr>
              <a:t> America! https://</a:t>
            </a:r>
            <a:r>
              <a:rPr lang="en-US" sz="1200" dirty="0" err="1">
                <a:solidFill>
                  <a:srgbClr val="000000"/>
                </a:solidFill>
                <a:latin typeface="Arial" panose="020B0604020202020204"/>
              </a:rPr>
              <a:t>salud-america.org</a:t>
            </a:r>
            <a:r>
              <a:rPr lang="en-US" sz="1200" dirty="0">
                <a:solidFill>
                  <a:srgbClr val="000000"/>
                </a:solidFill>
                <a:latin typeface="Arial" panose="020B0604020202020204"/>
              </a:rPr>
              <a:t>/coronavirus-case-rates-and-death-rates-for-latinos-in-the-united-states/. Accessed May 22, 2020.</a:t>
            </a:r>
          </a:p>
          <a:p>
            <a:endParaRPr lang="en-US" sz="1200" dirty="0">
              <a:solidFill>
                <a:srgbClr val="000000"/>
              </a:solidFill>
              <a:latin typeface="Arial" panose="020B0604020202020204"/>
            </a:endParaRPr>
          </a:p>
          <a:p>
            <a:r>
              <a:rPr lang="en-US" sz="1200" dirty="0">
                <a:solidFill>
                  <a:srgbClr val="000000"/>
                </a:solidFill>
                <a:latin typeface="Arial" panose="020B0604020202020204"/>
              </a:rPr>
              <a:t>Centers for Disease Control and Prevention, National Center for Health Statistics. Weekly updates by select demographic and geographic characteristics. Provisional death counts for coronavirus disease (COVID-19). https://</a:t>
            </a:r>
            <a:r>
              <a:rPr lang="en-US" sz="1200" dirty="0" err="1">
                <a:solidFill>
                  <a:srgbClr val="000000"/>
                </a:solidFill>
                <a:latin typeface="Arial" panose="020B0604020202020204"/>
              </a:rPr>
              <a:t>www.cdc.gov</a:t>
            </a:r>
            <a:r>
              <a:rPr lang="en-US" sz="1200" dirty="0">
                <a:solidFill>
                  <a:srgbClr val="000000"/>
                </a:solidFill>
                <a:latin typeface="Arial" panose="020B0604020202020204"/>
              </a:rPr>
              <a:t>/</a:t>
            </a:r>
            <a:r>
              <a:rPr lang="en-US" sz="1200" dirty="0" err="1">
                <a:solidFill>
                  <a:srgbClr val="000000"/>
                </a:solidFill>
                <a:latin typeface="Arial" panose="020B0604020202020204"/>
              </a:rPr>
              <a:t>nchs</a:t>
            </a:r>
            <a:r>
              <a:rPr lang="en-US" sz="1200" dirty="0">
                <a:solidFill>
                  <a:srgbClr val="000000"/>
                </a:solidFill>
                <a:latin typeface="Arial" panose="020B0604020202020204"/>
              </a:rPr>
              <a:t>/</a:t>
            </a:r>
            <a:r>
              <a:rPr lang="en-US" sz="1200" dirty="0" err="1">
                <a:solidFill>
                  <a:srgbClr val="000000"/>
                </a:solidFill>
                <a:latin typeface="Arial" panose="020B0604020202020204"/>
              </a:rPr>
              <a:t>nvss</a:t>
            </a:r>
            <a:r>
              <a:rPr lang="en-US" sz="1200" dirty="0">
                <a:solidFill>
                  <a:srgbClr val="000000"/>
                </a:solidFill>
                <a:latin typeface="Arial" panose="020B0604020202020204"/>
              </a:rPr>
              <a:t>/</a:t>
            </a:r>
            <a:r>
              <a:rPr lang="en-US" sz="1200" dirty="0" err="1">
                <a:solidFill>
                  <a:srgbClr val="000000"/>
                </a:solidFill>
                <a:latin typeface="Arial" panose="020B0604020202020204"/>
              </a:rPr>
              <a:t>vsrr</a:t>
            </a:r>
            <a:r>
              <a:rPr lang="en-US" sz="1200" dirty="0">
                <a:solidFill>
                  <a:srgbClr val="000000"/>
                </a:solidFill>
                <a:latin typeface="Arial" panose="020B0604020202020204"/>
              </a:rPr>
              <a:t>/</a:t>
            </a:r>
            <a:r>
              <a:rPr lang="en-US" sz="1200" dirty="0" err="1">
                <a:solidFill>
                  <a:srgbClr val="000000"/>
                </a:solidFill>
                <a:latin typeface="Arial" panose="020B0604020202020204"/>
              </a:rPr>
              <a:t>covid_weekly</a:t>
            </a:r>
            <a:r>
              <a:rPr lang="en-US" sz="1200" dirty="0">
                <a:solidFill>
                  <a:srgbClr val="000000"/>
                </a:solidFill>
                <a:latin typeface="Arial" panose="020B0604020202020204"/>
              </a:rPr>
              <a:t>/. Accessed May 22, 2020.</a:t>
            </a:r>
          </a:p>
          <a:p>
            <a:endParaRPr lang="en-US" sz="1200" dirty="0">
              <a:solidFill>
                <a:srgbClr val="000000"/>
              </a:solidFill>
              <a:latin typeface="Arial" panose="020B0604020202020204"/>
            </a:endParaRPr>
          </a:p>
        </p:txBody>
      </p:sp>
      <p:sp>
        <p:nvSpPr>
          <p:cNvPr id="8" name="TextBox 7">
            <a:extLst>
              <a:ext uri="{FF2B5EF4-FFF2-40B4-BE49-F238E27FC236}">
                <a16:creationId xmlns:a16="http://schemas.microsoft.com/office/drawing/2014/main" id="{60B76504-5FB8-E647-8B30-64612D416E41}"/>
              </a:ext>
            </a:extLst>
          </p:cNvPr>
          <p:cNvSpPr txBox="1"/>
          <p:nvPr/>
        </p:nvSpPr>
        <p:spPr>
          <a:xfrm>
            <a:off x="10572242" y="3815154"/>
            <a:ext cx="787255" cy="369108"/>
          </a:xfrm>
          <a:prstGeom prst="rect">
            <a:avLst/>
          </a:prstGeom>
          <a:solidFill>
            <a:schemeClr val="tx1"/>
          </a:solidFill>
        </p:spPr>
        <p:txBody>
          <a:bodyPr wrap="none" rtlCol="0">
            <a:spAutoFit/>
          </a:bodyPr>
          <a:lstStyle/>
          <a:p>
            <a:r>
              <a:rPr lang="en-US" sz="1799" dirty="0">
                <a:solidFill>
                  <a:srgbClr val="FFFFFF">
                    <a:lumMod val="85000"/>
                  </a:srgbClr>
                </a:solidFill>
                <a:latin typeface="Arial" panose="020B0604020202020204"/>
              </a:rPr>
              <a:t>Texas</a:t>
            </a:r>
          </a:p>
        </p:txBody>
      </p:sp>
      <p:sp>
        <p:nvSpPr>
          <p:cNvPr id="9" name="TextBox 8">
            <a:extLst>
              <a:ext uri="{FF2B5EF4-FFF2-40B4-BE49-F238E27FC236}">
                <a16:creationId xmlns:a16="http://schemas.microsoft.com/office/drawing/2014/main" id="{9CD7905B-C223-8944-8B79-2482E758979A}"/>
              </a:ext>
            </a:extLst>
          </p:cNvPr>
          <p:cNvSpPr txBox="1"/>
          <p:nvPr/>
        </p:nvSpPr>
        <p:spPr>
          <a:xfrm>
            <a:off x="10572242" y="247822"/>
            <a:ext cx="787255" cy="369108"/>
          </a:xfrm>
          <a:prstGeom prst="rect">
            <a:avLst/>
          </a:prstGeom>
          <a:solidFill>
            <a:schemeClr val="tx1"/>
          </a:solidFill>
        </p:spPr>
        <p:txBody>
          <a:bodyPr wrap="none" rtlCol="0">
            <a:spAutoFit/>
          </a:bodyPr>
          <a:lstStyle/>
          <a:p>
            <a:r>
              <a:rPr lang="en-US" sz="1799" dirty="0">
                <a:solidFill>
                  <a:srgbClr val="FFFFFF">
                    <a:lumMod val="85000"/>
                  </a:srgbClr>
                </a:solidFill>
                <a:latin typeface="Arial" panose="020B0604020202020204"/>
              </a:rPr>
              <a:t>Texas</a:t>
            </a:r>
          </a:p>
        </p:txBody>
      </p:sp>
    </p:spTree>
    <p:extLst>
      <p:ext uri="{BB962C8B-B14F-4D97-AF65-F5344CB8AC3E}">
        <p14:creationId xmlns:p14="http://schemas.microsoft.com/office/powerpoint/2010/main" val="11303153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C9D8DAE-A007-2542-97B0-CCBF350AF584}"/>
              </a:ext>
            </a:extLst>
          </p:cNvPr>
          <p:cNvSpPr>
            <a:spLocks noGrp="1"/>
          </p:cNvSpPr>
          <p:nvPr>
            <p:ph type="ftr" sz="quarter" idx="11"/>
          </p:nvPr>
        </p:nvSpPr>
        <p:spPr/>
        <p:txBody>
          <a:bodyPr/>
          <a:lstStyle/>
          <a:p>
            <a:endParaRPr lang="en-US" dirty="0">
              <a:solidFill>
                <a:srgbClr val="00338E"/>
              </a:solidFill>
            </a:endParaRPr>
          </a:p>
        </p:txBody>
      </p:sp>
      <p:sp>
        <p:nvSpPr>
          <p:cNvPr id="3" name="Slide Number Placeholder 2">
            <a:extLst>
              <a:ext uri="{FF2B5EF4-FFF2-40B4-BE49-F238E27FC236}">
                <a16:creationId xmlns:a16="http://schemas.microsoft.com/office/drawing/2014/main" id="{DF8D6ACF-E785-094D-8185-3A35667A58C9}"/>
              </a:ext>
            </a:extLst>
          </p:cNvPr>
          <p:cNvSpPr>
            <a:spLocks noGrp="1"/>
          </p:cNvSpPr>
          <p:nvPr>
            <p:ph type="sldNum" sz="quarter" idx="12"/>
          </p:nvPr>
        </p:nvSpPr>
        <p:spPr/>
        <p:txBody>
          <a:bodyPr/>
          <a:lstStyle/>
          <a:p>
            <a:fld id="{4FAB73BC-B049-4115-A692-8D63A059BFB8}" type="slidenum">
              <a:rPr lang="en-US">
                <a:solidFill>
                  <a:srgbClr val="00338E"/>
                </a:solidFill>
              </a:rPr>
              <a:pPr/>
              <a:t>19</a:t>
            </a:fld>
            <a:endParaRPr lang="en-US" dirty="0">
              <a:solidFill>
                <a:srgbClr val="00338E"/>
              </a:solidFill>
            </a:endParaRPr>
          </a:p>
        </p:txBody>
      </p:sp>
      <p:pic>
        <p:nvPicPr>
          <p:cNvPr id="5" name="Picture 4">
            <a:extLst>
              <a:ext uri="{FF2B5EF4-FFF2-40B4-BE49-F238E27FC236}">
                <a16:creationId xmlns:a16="http://schemas.microsoft.com/office/drawing/2014/main" id="{B082F15B-26DE-2441-B83C-DE4BC08AF84F}"/>
              </a:ext>
            </a:extLst>
          </p:cNvPr>
          <p:cNvPicPr>
            <a:picLocks noChangeAspect="1"/>
          </p:cNvPicPr>
          <p:nvPr/>
        </p:nvPicPr>
        <p:blipFill>
          <a:blip r:embed="rId2"/>
          <a:stretch>
            <a:fillRect/>
          </a:stretch>
        </p:blipFill>
        <p:spPr>
          <a:xfrm>
            <a:off x="1589" y="666540"/>
            <a:ext cx="12188825" cy="5524921"/>
          </a:xfrm>
          <a:prstGeom prst="rect">
            <a:avLst/>
          </a:prstGeom>
        </p:spPr>
      </p:pic>
    </p:spTree>
    <p:extLst>
      <p:ext uri="{BB962C8B-B14F-4D97-AF65-F5344CB8AC3E}">
        <p14:creationId xmlns:p14="http://schemas.microsoft.com/office/powerpoint/2010/main" val="22613513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Box 1">
            <a:extLst>
              <a:ext uri="{FF2B5EF4-FFF2-40B4-BE49-F238E27FC236}">
                <a16:creationId xmlns:a16="http://schemas.microsoft.com/office/drawing/2014/main" id="{CAFE82CE-49DE-428A-8690-4F441C02933F}"/>
              </a:ext>
            </a:extLst>
          </p:cNvPr>
          <p:cNvSpPr txBox="1">
            <a:spLocks noChangeArrowheads="1"/>
          </p:cNvSpPr>
          <p:nvPr/>
        </p:nvSpPr>
        <p:spPr bwMode="auto">
          <a:xfrm>
            <a:off x="2908301" y="903289"/>
            <a:ext cx="6735763" cy="430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fontAlgn="base">
              <a:spcBef>
                <a:spcPct val="0"/>
              </a:spcBef>
              <a:spcAft>
                <a:spcPct val="0"/>
              </a:spcAft>
            </a:pPr>
            <a:r>
              <a:rPr lang="en-US" altLang="en-US" sz="2400" b="1" dirty="0">
                <a:solidFill>
                  <a:srgbClr val="00338E"/>
                </a:solidFill>
                <a:latin typeface="Baskerville Old Face" panose="02020602080505020303" pitchFamily="18" charset="0"/>
              </a:rPr>
              <a:t>PHYSICIANS</a:t>
            </a:r>
            <a:endParaRPr lang="en-US" altLang="en-US" sz="2400" dirty="0">
              <a:solidFill>
                <a:srgbClr val="00338E"/>
              </a:solidFill>
              <a:latin typeface="Baskerville Old Face" panose="02020602080505020303" pitchFamily="18" charset="0"/>
            </a:endParaRPr>
          </a:p>
          <a:p>
            <a:pPr fontAlgn="base">
              <a:spcBef>
                <a:spcPct val="0"/>
              </a:spcBef>
              <a:spcAft>
                <a:spcPct val="0"/>
              </a:spcAft>
            </a:pPr>
            <a:r>
              <a:rPr lang="en-US" altLang="en-US" sz="1600" dirty="0">
                <a:solidFill>
                  <a:srgbClr val="00338E"/>
                </a:solidFill>
                <a:latin typeface="Baskerville Old Face" panose="02020602080505020303" pitchFamily="18" charset="0"/>
              </a:rPr>
              <a:t> </a:t>
            </a:r>
          </a:p>
          <a:p>
            <a:pPr fontAlgn="base">
              <a:spcBef>
                <a:spcPct val="0"/>
              </a:spcBef>
              <a:spcAft>
                <a:spcPct val="0"/>
              </a:spcAft>
            </a:pPr>
            <a:endParaRPr lang="en-US" altLang="en-US" sz="1000" dirty="0">
              <a:solidFill>
                <a:srgbClr val="00338E"/>
              </a:solidFill>
              <a:latin typeface="Baskerville Old Face" panose="02020602080505020303" pitchFamily="18" charset="0"/>
            </a:endParaRPr>
          </a:p>
          <a:p>
            <a:pPr fontAlgn="base">
              <a:spcBef>
                <a:spcPct val="0"/>
              </a:spcBef>
              <a:spcAft>
                <a:spcPct val="0"/>
              </a:spcAft>
            </a:pPr>
            <a:r>
              <a:rPr lang="en-US" altLang="en-US" sz="2000" b="1" dirty="0">
                <a:solidFill>
                  <a:srgbClr val="00338E"/>
                </a:solidFill>
                <a:latin typeface="Baskerville Old Face" panose="02020602080505020303" pitchFamily="18" charset="0"/>
              </a:rPr>
              <a:t>Accreditation Statement: </a:t>
            </a:r>
          </a:p>
          <a:p>
            <a:pPr fontAlgn="base">
              <a:spcBef>
                <a:spcPct val="0"/>
              </a:spcBef>
              <a:spcAft>
                <a:spcPct val="0"/>
              </a:spcAft>
            </a:pPr>
            <a:r>
              <a:rPr lang="en-US" altLang="en-US" dirty="0">
                <a:solidFill>
                  <a:srgbClr val="00338E"/>
                </a:solidFill>
                <a:latin typeface="Baskerville Old Face" panose="02020602080505020303" pitchFamily="18" charset="0"/>
              </a:rPr>
              <a:t>The Covenant Health is accredited by the Texas Medical Association (TMA) to provide continuing medical education for physicians. </a:t>
            </a:r>
          </a:p>
          <a:p>
            <a:pPr fontAlgn="base">
              <a:spcBef>
                <a:spcPct val="0"/>
              </a:spcBef>
              <a:spcAft>
                <a:spcPct val="0"/>
              </a:spcAft>
            </a:pPr>
            <a:endParaRPr lang="en-US" altLang="en-US" dirty="0">
              <a:solidFill>
                <a:srgbClr val="00338E"/>
              </a:solidFill>
              <a:latin typeface="Baskerville Old Face" panose="02020602080505020303" pitchFamily="18" charset="0"/>
            </a:endParaRPr>
          </a:p>
          <a:p>
            <a:pPr fontAlgn="base">
              <a:spcBef>
                <a:spcPct val="0"/>
              </a:spcBef>
              <a:spcAft>
                <a:spcPct val="0"/>
              </a:spcAft>
            </a:pPr>
            <a:endParaRPr lang="en-US" altLang="en-US" sz="1100" dirty="0">
              <a:solidFill>
                <a:srgbClr val="00338E"/>
              </a:solidFill>
              <a:latin typeface="Baskerville Old Face" panose="02020602080505020303" pitchFamily="18" charset="0"/>
            </a:endParaRPr>
          </a:p>
          <a:p>
            <a:pPr fontAlgn="base">
              <a:spcBef>
                <a:spcPct val="0"/>
              </a:spcBef>
              <a:spcAft>
                <a:spcPct val="0"/>
              </a:spcAft>
            </a:pPr>
            <a:r>
              <a:rPr lang="en-US" altLang="en-US" sz="2000" b="1" dirty="0">
                <a:solidFill>
                  <a:srgbClr val="00338E"/>
                </a:solidFill>
                <a:latin typeface="Baskerville Old Face" panose="02020602080505020303" pitchFamily="18" charset="0"/>
              </a:rPr>
              <a:t>Credit Designation Statement: </a:t>
            </a:r>
          </a:p>
          <a:p>
            <a:pPr fontAlgn="base">
              <a:spcBef>
                <a:spcPct val="0"/>
              </a:spcBef>
              <a:spcAft>
                <a:spcPct val="0"/>
              </a:spcAft>
            </a:pPr>
            <a:r>
              <a:rPr lang="en-US" altLang="en-US" dirty="0">
                <a:solidFill>
                  <a:srgbClr val="00338E"/>
                </a:solidFill>
                <a:latin typeface="Baskerville Old Face" panose="02020602080505020303" pitchFamily="18" charset="0"/>
              </a:rPr>
              <a:t>The Covenant Health designates this live CME activity for a maximum of 1.0 </a:t>
            </a:r>
            <a:r>
              <a:rPr lang="en-US" altLang="en-US" i="1" dirty="0">
                <a:solidFill>
                  <a:srgbClr val="00338E"/>
                </a:solidFill>
                <a:latin typeface="Baskerville Old Face" panose="02020602080505020303" pitchFamily="18" charset="0"/>
              </a:rPr>
              <a:t>AMA PRA Category 1 Credit(s)™.  </a:t>
            </a:r>
            <a:r>
              <a:rPr lang="en-US" altLang="en-US" dirty="0">
                <a:solidFill>
                  <a:srgbClr val="00338E"/>
                </a:solidFill>
                <a:latin typeface="Baskerville Old Face" panose="02020602080505020303" pitchFamily="18" charset="0"/>
              </a:rPr>
              <a:t>Physicians should claim only the credit commensurate with the extent of their participation in the activity.</a:t>
            </a:r>
          </a:p>
          <a:p>
            <a:pPr fontAlgn="base">
              <a:spcBef>
                <a:spcPct val="0"/>
              </a:spcBef>
              <a:spcAft>
                <a:spcPct val="0"/>
              </a:spcAft>
            </a:pPr>
            <a:endParaRPr lang="en-US" altLang="en-US" i="1" dirty="0">
              <a:solidFill>
                <a:srgbClr val="00338E"/>
              </a:solidFill>
              <a:latin typeface="Baskerville Old Face" panose="02020602080505020303" pitchFamily="18" charset="0"/>
            </a:endParaRPr>
          </a:p>
          <a:p>
            <a:pPr fontAlgn="base">
              <a:spcBef>
                <a:spcPct val="0"/>
              </a:spcBef>
              <a:spcAft>
                <a:spcPct val="0"/>
              </a:spcAft>
            </a:pPr>
            <a:endParaRPr lang="en-US" altLang="en-US" i="1" dirty="0">
              <a:solidFill>
                <a:srgbClr val="00338E"/>
              </a:solidFill>
              <a:latin typeface="Baskerville Old Face" panose="02020602080505020303" pitchFamily="18" charset="0"/>
            </a:endParaRPr>
          </a:p>
          <a:p>
            <a:pPr fontAlgn="base">
              <a:spcBef>
                <a:spcPct val="0"/>
              </a:spcBef>
              <a:spcAft>
                <a:spcPct val="0"/>
              </a:spcAft>
            </a:pPr>
            <a:endParaRPr lang="en-US" altLang="en-US" sz="1100" i="1" dirty="0">
              <a:solidFill>
                <a:srgbClr val="00338E"/>
              </a:solidFill>
              <a:latin typeface="Baskerville Old Face" panose="02020602080505020303" pitchFamily="18" charset="0"/>
            </a:endParaRPr>
          </a:p>
        </p:txBody>
      </p:sp>
    </p:spTree>
    <p:extLst>
      <p:ext uri="{BB962C8B-B14F-4D97-AF65-F5344CB8AC3E}">
        <p14:creationId xmlns:p14="http://schemas.microsoft.com/office/powerpoint/2010/main" val="28720302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7CB08ED-B8B4-5B43-B15E-7FE786C7EA3E}"/>
              </a:ext>
            </a:extLst>
          </p:cNvPr>
          <p:cNvSpPr>
            <a:spLocks noGrp="1"/>
          </p:cNvSpPr>
          <p:nvPr>
            <p:ph type="ftr" sz="quarter" idx="11"/>
          </p:nvPr>
        </p:nvSpPr>
        <p:spPr/>
        <p:txBody>
          <a:bodyPr/>
          <a:lstStyle/>
          <a:p>
            <a:endParaRPr lang="en-US" dirty="0">
              <a:solidFill>
                <a:srgbClr val="00338E"/>
              </a:solidFill>
            </a:endParaRPr>
          </a:p>
        </p:txBody>
      </p:sp>
      <p:sp>
        <p:nvSpPr>
          <p:cNvPr id="3" name="Slide Number Placeholder 2">
            <a:extLst>
              <a:ext uri="{FF2B5EF4-FFF2-40B4-BE49-F238E27FC236}">
                <a16:creationId xmlns:a16="http://schemas.microsoft.com/office/drawing/2014/main" id="{54AAC714-CE93-4D48-A9C6-3FB41BCCC7DE}"/>
              </a:ext>
            </a:extLst>
          </p:cNvPr>
          <p:cNvSpPr>
            <a:spLocks noGrp="1"/>
          </p:cNvSpPr>
          <p:nvPr>
            <p:ph type="sldNum" sz="quarter" idx="12"/>
          </p:nvPr>
        </p:nvSpPr>
        <p:spPr/>
        <p:txBody>
          <a:bodyPr/>
          <a:lstStyle/>
          <a:p>
            <a:fld id="{4FAB73BC-B049-4115-A692-8D63A059BFB8}" type="slidenum">
              <a:rPr lang="en-US">
                <a:solidFill>
                  <a:srgbClr val="00338E"/>
                </a:solidFill>
              </a:rPr>
              <a:pPr/>
              <a:t>20</a:t>
            </a:fld>
            <a:endParaRPr lang="en-US" dirty="0">
              <a:solidFill>
                <a:srgbClr val="00338E"/>
              </a:solidFill>
            </a:endParaRPr>
          </a:p>
        </p:txBody>
      </p:sp>
      <p:pic>
        <p:nvPicPr>
          <p:cNvPr id="5" name="Picture 4">
            <a:extLst>
              <a:ext uri="{FF2B5EF4-FFF2-40B4-BE49-F238E27FC236}">
                <a16:creationId xmlns:a16="http://schemas.microsoft.com/office/drawing/2014/main" id="{0FAAA0FC-6045-D041-9231-F28D57B29503}"/>
              </a:ext>
            </a:extLst>
          </p:cNvPr>
          <p:cNvPicPr>
            <a:picLocks noChangeAspect="1"/>
          </p:cNvPicPr>
          <p:nvPr/>
        </p:nvPicPr>
        <p:blipFill>
          <a:blip r:embed="rId2"/>
          <a:stretch>
            <a:fillRect/>
          </a:stretch>
        </p:blipFill>
        <p:spPr>
          <a:xfrm>
            <a:off x="1589" y="1071843"/>
            <a:ext cx="12188825" cy="4714315"/>
          </a:xfrm>
          <a:prstGeom prst="rect">
            <a:avLst/>
          </a:prstGeom>
        </p:spPr>
      </p:pic>
    </p:spTree>
    <p:extLst>
      <p:ext uri="{BB962C8B-B14F-4D97-AF65-F5344CB8AC3E}">
        <p14:creationId xmlns:p14="http://schemas.microsoft.com/office/powerpoint/2010/main" val="16065561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DDCF598-0520-1E47-A099-376CA966A165}"/>
              </a:ext>
            </a:extLst>
          </p:cNvPr>
          <p:cNvSpPr>
            <a:spLocks noGrp="1"/>
          </p:cNvSpPr>
          <p:nvPr>
            <p:ph type="ftr" sz="quarter" idx="11"/>
          </p:nvPr>
        </p:nvSpPr>
        <p:spPr/>
        <p:txBody>
          <a:bodyPr/>
          <a:lstStyle/>
          <a:p>
            <a:endParaRPr lang="en-US" dirty="0">
              <a:solidFill>
                <a:srgbClr val="00338E"/>
              </a:solidFill>
            </a:endParaRPr>
          </a:p>
        </p:txBody>
      </p:sp>
      <p:sp>
        <p:nvSpPr>
          <p:cNvPr id="3" name="Slide Number Placeholder 2">
            <a:extLst>
              <a:ext uri="{FF2B5EF4-FFF2-40B4-BE49-F238E27FC236}">
                <a16:creationId xmlns:a16="http://schemas.microsoft.com/office/drawing/2014/main" id="{EDEFB855-8853-164E-A1C3-D7F9021B59F5}"/>
              </a:ext>
            </a:extLst>
          </p:cNvPr>
          <p:cNvSpPr>
            <a:spLocks noGrp="1"/>
          </p:cNvSpPr>
          <p:nvPr>
            <p:ph type="sldNum" sz="quarter" idx="12"/>
          </p:nvPr>
        </p:nvSpPr>
        <p:spPr/>
        <p:txBody>
          <a:bodyPr/>
          <a:lstStyle/>
          <a:p>
            <a:fld id="{4FAB73BC-B049-4115-A692-8D63A059BFB8}" type="slidenum">
              <a:rPr lang="en-US">
                <a:solidFill>
                  <a:srgbClr val="00338E"/>
                </a:solidFill>
              </a:rPr>
              <a:pPr/>
              <a:t>21</a:t>
            </a:fld>
            <a:endParaRPr lang="en-US" dirty="0">
              <a:solidFill>
                <a:srgbClr val="00338E"/>
              </a:solidFill>
            </a:endParaRPr>
          </a:p>
        </p:txBody>
      </p:sp>
      <p:pic>
        <p:nvPicPr>
          <p:cNvPr id="5" name="Picture 4">
            <a:extLst>
              <a:ext uri="{FF2B5EF4-FFF2-40B4-BE49-F238E27FC236}">
                <a16:creationId xmlns:a16="http://schemas.microsoft.com/office/drawing/2014/main" id="{81BDBD6C-0160-C640-B587-E5471F5F1238}"/>
              </a:ext>
            </a:extLst>
          </p:cNvPr>
          <p:cNvPicPr>
            <a:picLocks noChangeAspect="1"/>
          </p:cNvPicPr>
          <p:nvPr/>
        </p:nvPicPr>
        <p:blipFill>
          <a:blip r:embed="rId2"/>
          <a:stretch>
            <a:fillRect/>
          </a:stretch>
        </p:blipFill>
        <p:spPr>
          <a:xfrm>
            <a:off x="1519374" y="0"/>
            <a:ext cx="9153255" cy="6858000"/>
          </a:xfrm>
          <a:prstGeom prst="rect">
            <a:avLst/>
          </a:prstGeom>
        </p:spPr>
      </p:pic>
      <p:sp>
        <p:nvSpPr>
          <p:cNvPr id="6" name="TextBox 5">
            <a:extLst>
              <a:ext uri="{FF2B5EF4-FFF2-40B4-BE49-F238E27FC236}">
                <a16:creationId xmlns:a16="http://schemas.microsoft.com/office/drawing/2014/main" id="{C0D15FDF-2BBC-A741-A3D7-2B5750AF1450}"/>
              </a:ext>
            </a:extLst>
          </p:cNvPr>
          <p:cNvSpPr txBox="1"/>
          <p:nvPr/>
        </p:nvSpPr>
        <p:spPr>
          <a:xfrm>
            <a:off x="8386171" y="1922173"/>
            <a:ext cx="1890793" cy="914400"/>
          </a:xfrm>
          <a:prstGeom prst="rect">
            <a:avLst/>
          </a:prstGeom>
          <a:noFill/>
        </p:spPr>
        <p:txBody>
          <a:bodyPr wrap="none" lIns="0" tIns="0" rIns="0" bIns="0" rtlCol="0">
            <a:noAutofit/>
          </a:bodyPr>
          <a:lstStyle/>
          <a:p>
            <a:pPr>
              <a:lnSpc>
                <a:spcPts val="2100"/>
              </a:lnSpc>
              <a:spcAft>
                <a:spcPts val="900"/>
              </a:spcAft>
            </a:pPr>
            <a:r>
              <a:rPr lang="en-US" dirty="0">
                <a:solidFill>
                  <a:srgbClr val="0070C0"/>
                </a:solidFill>
                <a:latin typeface="Barlow" pitchFamily="2" charset="77"/>
              </a:rPr>
              <a:t>United States</a:t>
            </a:r>
          </a:p>
        </p:txBody>
      </p:sp>
    </p:spTree>
    <p:extLst>
      <p:ext uri="{BB962C8B-B14F-4D97-AF65-F5344CB8AC3E}">
        <p14:creationId xmlns:p14="http://schemas.microsoft.com/office/powerpoint/2010/main" val="39006112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AE66A7B-3479-B94B-8DE0-1E71C32DEF96}"/>
              </a:ext>
            </a:extLst>
          </p:cNvPr>
          <p:cNvSpPr>
            <a:spLocks noGrp="1"/>
          </p:cNvSpPr>
          <p:nvPr>
            <p:ph type="ftr" sz="quarter" idx="11"/>
          </p:nvPr>
        </p:nvSpPr>
        <p:spPr/>
        <p:txBody>
          <a:bodyPr/>
          <a:lstStyle/>
          <a:p>
            <a:endParaRPr lang="en-US" dirty="0">
              <a:solidFill>
                <a:srgbClr val="00338E"/>
              </a:solidFill>
            </a:endParaRPr>
          </a:p>
        </p:txBody>
      </p:sp>
      <p:sp>
        <p:nvSpPr>
          <p:cNvPr id="3" name="Slide Number Placeholder 2">
            <a:extLst>
              <a:ext uri="{FF2B5EF4-FFF2-40B4-BE49-F238E27FC236}">
                <a16:creationId xmlns:a16="http://schemas.microsoft.com/office/drawing/2014/main" id="{5F695F4E-30C7-1446-B293-99FFE12381B2}"/>
              </a:ext>
            </a:extLst>
          </p:cNvPr>
          <p:cNvSpPr>
            <a:spLocks noGrp="1"/>
          </p:cNvSpPr>
          <p:nvPr>
            <p:ph type="sldNum" sz="quarter" idx="12"/>
          </p:nvPr>
        </p:nvSpPr>
        <p:spPr/>
        <p:txBody>
          <a:bodyPr/>
          <a:lstStyle/>
          <a:p>
            <a:fld id="{4FAB73BC-B049-4115-A692-8D63A059BFB8}" type="slidenum">
              <a:rPr lang="en-US">
                <a:solidFill>
                  <a:srgbClr val="00338E"/>
                </a:solidFill>
              </a:rPr>
              <a:pPr/>
              <a:t>22</a:t>
            </a:fld>
            <a:endParaRPr lang="en-US" dirty="0">
              <a:solidFill>
                <a:srgbClr val="00338E"/>
              </a:solidFill>
            </a:endParaRPr>
          </a:p>
        </p:txBody>
      </p:sp>
      <p:pic>
        <p:nvPicPr>
          <p:cNvPr id="4" name="Picture 3">
            <a:extLst>
              <a:ext uri="{FF2B5EF4-FFF2-40B4-BE49-F238E27FC236}">
                <a16:creationId xmlns:a16="http://schemas.microsoft.com/office/drawing/2014/main" id="{1AF992CB-85B4-FD45-9DED-248BAB5F68C7}"/>
              </a:ext>
            </a:extLst>
          </p:cNvPr>
          <p:cNvPicPr>
            <a:picLocks noChangeAspect="1"/>
          </p:cNvPicPr>
          <p:nvPr/>
        </p:nvPicPr>
        <p:blipFill>
          <a:blip r:embed="rId2"/>
          <a:stretch>
            <a:fillRect/>
          </a:stretch>
        </p:blipFill>
        <p:spPr>
          <a:xfrm>
            <a:off x="1376937" y="-2"/>
            <a:ext cx="4572000" cy="3424354"/>
          </a:xfrm>
          <a:prstGeom prst="rect">
            <a:avLst/>
          </a:prstGeom>
        </p:spPr>
      </p:pic>
      <p:pic>
        <p:nvPicPr>
          <p:cNvPr id="5" name="Picture 4">
            <a:extLst>
              <a:ext uri="{FF2B5EF4-FFF2-40B4-BE49-F238E27FC236}">
                <a16:creationId xmlns:a16="http://schemas.microsoft.com/office/drawing/2014/main" id="{37F7CC45-B866-6F46-98AD-90F55981AE94}"/>
              </a:ext>
            </a:extLst>
          </p:cNvPr>
          <p:cNvPicPr>
            <a:picLocks noChangeAspect="1"/>
          </p:cNvPicPr>
          <p:nvPr/>
        </p:nvPicPr>
        <p:blipFill>
          <a:blip r:embed="rId3"/>
          <a:stretch>
            <a:fillRect/>
          </a:stretch>
        </p:blipFill>
        <p:spPr>
          <a:xfrm>
            <a:off x="6187249" y="0"/>
            <a:ext cx="4573230" cy="3429000"/>
          </a:xfrm>
          <a:prstGeom prst="rect">
            <a:avLst/>
          </a:prstGeom>
        </p:spPr>
      </p:pic>
      <p:pic>
        <p:nvPicPr>
          <p:cNvPr id="6" name="Picture 5">
            <a:extLst>
              <a:ext uri="{FF2B5EF4-FFF2-40B4-BE49-F238E27FC236}">
                <a16:creationId xmlns:a16="http://schemas.microsoft.com/office/drawing/2014/main" id="{184C70C4-A266-8E46-B958-05212F7147BC}"/>
              </a:ext>
            </a:extLst>
          </p:cNvPr>
          <p:cNvPicPr>
            <a:picLocks noChangeAspect="1"/>
          </p:cNvPicPr>
          <p:nvPr/>
        </p:nvPicPr>
        <p:blipFill>
          <a:blip r:embed="rId4"/>
          <a:stretch>
            <a:fillRect/>
          </a:stretch>
        </p:blipFill>
        <p:spPr>
          <a:xfrm>
            <a:off x="1376937" y="3457367"/>
            <a:ext cx="4572000" cy="3440594"/>
          </a:xfrm>
          <a:prstGeom prst="rect">
            <a:avLst/>
          </a:prstGeom>
        </p:spPr>
      </p:pic>
      <p:pic>
        <p:nvPicPr>
          <p:cNvPr id="7" name="Picture 6">
            <a:extLst>
              <a:ext uri="{FF2B5EF4-FFF2-40B4-BE49-F238E27FC236}">
                <a16:creationId xmlns:a16="http://schemas.microsoft.com/office/drawing/2014/main" id="{4945BCFF-30EB-8F47-BB43-21C9AC65D7AF}"/>
              </a:ext>
            </a:extLst>
          </p:cNvPr>
          <p:cNvPicPr>
            <a:picLocks noChangeAspect="1"/>
          </p:cNvPicPr>
          <p:nvPr/>
        </p:nvPicPr>
        <p:blipFill>
          <a:blip r:embed="rId5"/>
          <a:stretch>
            <a:fillRect/>
          </a:stretch>
        </p:blipFill>
        <p:spPr>
          <a:xfrm>
            <a:off x="6187249" y="3457367"/>
            <a:ext cx="4572000" cy="3427842"/>
          </a:xfrm>
          <a:prstGeom prst="rect">
            <a:avLst/>
          </a:prstGeom>
        </p:spPr>
      </p:pic>
      <p:sp>
        <p:nvSpPr>
          <p:cNvPr id="8" name="Oval 7">
            <a:extLst>
              <a:ext uri="{FF2B5EF4-FFF2-40B4-BE49-F238E27FC236}">
                <a16:creationId xmlns:a16="http://schemas.microsoft.com/office/drawing/2014/main" id="{850812EC-1EE0-BD41-9246-7F6CDFA1C956}"/>
              </a:ext>
            </a:extLst>
          </p:cNvPr>
          <p:cNvSpPr/>
          <p:nvPr/>
        </p:nvSpPr>
        <p:spPr>
          <a:xfrm>
            <a:off x="2277577" y="854331"/>
            <a:ext cx="720840" cy="249624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a:endParaRPr>
          </a:p>
        </p:txBody>
      </p:sp>
      <p:sp>
        <p:nvSpPr>
          <p:cNvPr id="9" name="Oval 8">
            <a:extLst>
              <a:ext uri="{FF2B5EF4-FFF2-40B4-BE49-F238E27FC236}">
                <a16:creationId xmlns:a16="http://schemas.microsoft.com/office/drawing/2014/main" id="{2D0E5C49-62C4-184C-87A8-1DA4F30A7F83}"/>
              </a:ext>
            </a:extLst>
          </p:cNvPr>
          <p:cNvSpPr/>
          <p:nvPr/>
        </p:nvSpPr>
        <p:spPr>
          <a:xfrm>
            <a:off x="7090475" y="854331"/>
            <a:ext cx="720840" cy="249624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a:endParaRPr>
          </a:p>
        </p:txBody>
      </p:sp>
      <p:sp>
        <p:nvSpPr>
          <p:cNvPr id="10" name="Oval 9">
            <a:extLst>
              <a:ext uri="{FF2B5EF4-FFF2-40B4-BE49-F238E27FC236}">
                <a16:creationId xmlns:a16="http://schemas.microsoft.com/office/drawing/2014/main" id="{99827BBB-F25B-2345-BF39-F9BD49151D22}"/>
              </a:ext>
            </a:extLst>
          </p:cNvPr>
          <p:cNvSpPr/>
          <p:nvPr/>
        </p:nvSpPr>
        <p:spPr>
          <a:xfrm>
            <a:off x="6477043" y="4204906"/>
            <a:ext cx="720840" cy="249624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a:endParaRPr>
          </a:p>
        </p:txBody>
      </p:sp>
      <p:sp>
        <p:nvSpPr>
          <p:cNvPr id="11" name="Oval 10">
            <a:extLst>
              <a:ext uri="{FF2B5EF4-FFF2-40B4-BE49-F238E27FC236}">
                <a16:creationId xmlns:a16="http://schemas.microsoft.com/office/drawing/2014/main" id="{8A54644A-702F-014B-AA0E-DD6D9AA73C54}"/>
              </a:ext>
            </a:extLst>
          </p:cNvPr>
          <p:cNvSpPr/>
          <p:nvPr/>
        </p:nvSpPr>
        <p:spPr>
          <a:xfrm>
            <a:off x="1657476" y="4278685"/>
            <a:ext cx="720840" cy="249624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a:endParaRPr>
          </a:p>
        </p:txBody>
      </p:sp>
      <p:sp>
        <p:nvSpPr>
          <p:cNvPr id="12" name="TextBox 11">
            <a:extLst>
              <a:ext uri="{FF2B5EF4-FFF2-40B4-BE49-F238E27FC236}">
                <a16:creationId xmlns:a16="http://schemas.microsoft.com/office/drawing/2014/main" id="{1FC23EE9-7D41-484A-99A0-5F4B0CAA1CEA}"/>
              </a:ext>
            </a:extLst>
          </p:cNvPr>
          <p:cNvSpPr txBox="1"/>
          <p:nvPr/>
        </p:nvSpPr>
        <p:spPr>
          <a:xfrm>
            <a:off x="3841751" y="971939"/>
            <a:ext cx="914400" cy="914400"/>
          </a:xfrm>
          <a:prstGeom prst="rect">
            <a:avLst/>
          </a:prstGeom>
          <a:noFill/>
        </p:spPr>
        <p:txBody>
          <a:bodyPr wrap="none" lIns="0" tIns="0" rIns="0" bIns="0" rtlCol="0">
            <a:noAutofit/>
          </a:bodyPr>
          <a:lstStyle/>
          <a:p>
            <a:pPr>
              <a:lnSpc>
                <a:spcPts val="2100"/>
              </a:lnSpc>
              <a:spcAft>
                <a:spcPts val="900"/>
              </a:spcAft>
            </a:pPr>
            <a:r>
              <a:rPr lang="en-US" dirty="0">
                <a:solidFill>
                  <a:srgbClr val="0070C0"/>
                </a:solidFill>
                <a:latin typeface="Barlow" pitchFamily="2" charset="77"/>
              </a:rPr>
              <a:t>Oregon</a:t>
            </a:r>
          </a:p>
        </p:txBody>
      </p:sp>
      <p:sp>
        <p:nvSpPr>
          <p:cNvPr id="13" name="TextBox 12">
            <a:extLst>
              <a:ext uri="{FF2B5EF4-FFF2-40B4-BE49-F238E27FC236}">
                <a16:creationId xmlns:a16="http://schemas.microsoft.com/office/drawing/2014/main" id="{F48E7261-A826-A64C-A2D2-48A06A56E6AD}"/>
              </a:ext>
            </a:extLst>
          </p:cNvPr>
          <p:cNvSpPr txBox="1"/>
          <p:nvPr/>
        </p:nvSpPr>
        <p:spPr>
          <a:xfrm>
            <a:off x="3845792" y="4432700"/>
            <a:ext cx="914400" cy="914400"/>
          </a:xfrm>
          <a:prstGeom prst="rect">
            <a:avLst/>
          </a:prstGeom>
          <a:noFill/>
        </p:spPr>
        <p:txBody>
          <a:bodyPr wrap="none" lIns="0" tIns="0" rIns="0" bIns="0" rtlCol="0">
            <a:noAutofit/>
          </a:bodyPr>
          <a:lstStyle/>
          <a:p>
            <a:pPr>
              <a:lnSpc>
                <a:spcPts val="2100"/>
              </a:lnSpc>
              <a:spcAft>
                <a:spcPts val="900"/>
              </a:spcAft>
            </a:pPr>
            <a:r>
              <a:rPr lang="en-US" dirty="0">
                <a:solidFill>
                  <a:srgbClr val="0070C0"/>
                </a:solidFill>
                <a:latin typeface="Barlow" pitchFamily="2" charset="77"/>
              </a:rPr>
              <a:t>California</a:t>
            </a:r>
          </a:p>
        </p:txBody>
      </p:sp>
      <p:sp>
        <p:nvSpPr>
          <p:cNvPr id="14" name="TextBox 13">
            <a:extLst>
              <a:ext uri="{FF2B5EF4-FFF2-40B4-BE49-F238E27FC236}">
                <a16:creationId xmlns:a16="http://schemas.microsoft.com/office/drawing/2014/main" id="{F09CB987-D1CF-4240-BA71-EFBA39FF5B5B}"/>
              </a:ext>
            </a:extLst>
          </p:cNvPr>
          <p:cNvSpPr txBox="1"/>
          <p:nvPr/>
        </p:nvSpPr>
        <p:spPr>
          <a:xfrm>
            <a:off x="9155109" y="961610"/>
            <a:ext cx="914400" cy="914400"/>
          </a:xfrm>
          <a:prstGeom prst="rect">
            <a:avLst/>
          </a:prstGeom>
          <a:noFill/>
        </p:spPr>
        <p:txBody>
          <a:bodyPr wrap="none" lIns="0" tIns="0" rIns="0" bIns="0" rtlCol="0">
            <a:noAutofit/>
          </a:bodyPr>
          <a:lstStyle/>
          <a:p>
            <a:pPr>
              <a:lnSpc>
                <a:spcPts val="2100"/>
              </a:lnSpc>
              <a:spcAft>
                <a:spcPts val="900"/>
              </a:spcAft>
            </a:pPr>
            <a:r>
              <a:rPr lang="en-US" dirty="0">
                <a:solidFill>
                  <a:srgbClr val="0070C0"/>
                </a:solidFill>
                <a:latin typeface="Barlow" pitchFamily="2" charset="77"/>
              </a:rPr>
              <a:t>Washington</a:t>
            </a:r>
          </a:p>
        </p:txBody>
      </p:sp>
      <p:sp>
        <p:nvSpPr>
          <p:cNvPr id="15" name="TextBox 14">
            <a:extLst>
              <a:ext uri="{FF2B5EF4-FFF2-40B4-BE49-F238E27FC236}">
                <a16:creationId xmlns:a16="http://schemas.microsoft.com/office/drawing/2014/main" id="{D1B8F4BF-658A-4A40-B397-29FAAC205F5F}"/>
              </a:ext>
            </a:extLst>
          </p:cNvPr>
          <p:cNvSpPr txBox="1"/>
          <p:nvPr/>
        </p:nvSpPr>
        <p:spPr>
          <a:xfrm>
            <a:off x="9159150" y="4422371"/>
            <a:ext cx="914400" cy="914400"/>
          </a:xfrm>
          <a:prstGeom prst="rect">
            <a:avLst/>
          </a:prstGeom>
          <a:noFill/>
        </p:spPr>
        <p:txBody>
          <a:bodyPr wrap="none" lIns="0" tIns="0" rIns="0" bIns="0" rtlCol="0">
            <a:noAutofit/>
          </a:bodyPr>
          <a:lstStyle/>
          <a:p>
            <a:pPr>
              <a:lnSpc>
                <a:spcPts val="2100"/>
              </a:lnSpc>
              <a:spcAft>
                <a:spcPts val="900"/>
              </a:spcAft>
            </a:pPr>
            <a:r>
              <a:rPr lang="en-US" dirty="0">
                <a:solidFill>
                  <a:srgbClr val="0070C0"/>
                </a:solidFill>
                <a:latin typeface="Barlow" pitchFamily="2" charset="77"/>
              </a:rPr>
              <a:t>Texas</a:t>
            </a:r>
          </a:p>
        </p:txBody>
      </p:sp>
    </p:spTree>
    <p:extLst>
      <p:ext uri="{BB962C8B-B14F-4D97-AF65-F5344CB8AC3E}">
        <p14:creationId xmlns:p14="http://schemas.microsoft.com/office/powerpoint/2010/main" val="20204827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896D335-3BAF-2A45-9F92-E7C9A1A664E1}"/>
              </a:ext>
            </a:extLst>
          </p:cNvPr>
          <p:cNvSpPr>
            <a:spLocks noGrp="1"/>
          </p:cNvSpPr>
          <p:nvPr>
            <p:ph type="ftr" sz="quarter" idx="11"/>
          </p:nvPr>
        </p:nvSpPr>
        <p:spPr/>
        <p:txBody>
          <a:bodyPr/>
          <a:lstStyle/>
          <a:p>
            <a:endParaRPr lang="en-US" dirty="0">
              <a:solidFill>
                <a:srgbClr val="00338E"/>
              </a:solidFill>
            </a:endParaRPr>
          </a:p>
        </p:txBody>
      </p:sp>
      <p:sp>
        <p:nvSpPr>
          <p:cNvPr id="3" name="Slide Number Placeholder 2">
            <a:extLst>
              <a:ext uri="{FF2B5EF4-FFF2-40B4-BE49-F238E27FC236}">
                <a16:creationId xmlns:a16="http://schemas.microsoft.com/office/drawing/2014/main" id="{C1347521-BD2E-2E40-9B8B-DF411D2111E1}"/>
              </a:ext>
            </a:extLst>
          </p:cNvPr>
          <p:cNvSpPr>
            <a:spLocks noGrp="1"/>
          </p:cNvSpPr>
          <p:nvPr>
            <p:ph type="sldNum" sz="quarter" idx="12"/>
          </p:nvPr>
        </p:nvSpPr>
        <p:spPr/>
        <p:txBody>
          <a:bodyPr/>
          <a:lstStyle/>
          <a:p>
            <a:fld id="{4FAB73BC-B049-4115-A692-8D63A059BFB8}" type="slidenum">
              <a:rPr lang="en-US">
                <a:solidFill>
                  <a:srgbClr val="00338E"/>
                </a:solidFill>
              </a:rPr>
              <a:pPr/>
              <a:t>23</a:t>
            </a:fld>
            <a:endParaRPr lang="en-US" dirty="0">
              <a:solidFill>
                <a:srgbClr val="00338E"/>
              </a:solidFill>
            </a:endParaRPr>
          </a:p>
        </p:txBody>
      </p:sp>
      <p:pic>
        <p:nvPicPr>
          <p:cNvPr id="5" name="Picture 4">
            <a:extLst>
              <a:ext uri="{FF2B5EF4-FFF2-40B4-BE49-F238E27FC236}">
                <a16:creationId xmlns:a16="http://schemas.microsoft.com/office/drawing/2014/main" id="{6CBAADA9-9E10-5246-8F5D-8E14C6377357}"/>
              </a:ext>
            </a:extLst>
          </p:cNvPr>
          <p:cNvPicPr>
            <a:picLocks noChangeAspect="1"/>
          </p:cNvPicPr>
          <p:nvPr/>
        </p:nvPicPr>
        <p:blipFill>
          <a:blip r:embed="rId2"/>
          <a:stretch>
            <a:fillRect/>
          </a:stretch>
        </p:blipFill>
        <p:spPr>
          <a:xfrm>
            <a:off x="1545714" y="0"/>
            <a:ext cx="9100575" cy="6858000"/>
          </a:xfrm>
          <a:prstGeom prst="rect">
            <a:avLst/>
          </a:prstGeom>
        </p:spPr>
      </p:pic>
    </p:spTree>
    <p:extLst>
      <p:ext uri="{BB962C8B-B14F-4D97-AF65-F5344CB8AC3E}">
        <p14:creationId xmlns:p14="http://schemas.microsoft.com/office/powerpoint/2010/main" val="31217215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3FC4C4F-906C-C44D-A64C-51A92C5E48F3}"/>
              </a:ext>
            </a:extLst>
          </p:cNvPr>
          <p:cNvSpPr>
            <a:spLocks noGrp="1"/>
          </p:cNvSpPr>
          <p:nvPr>
            <p:ph type="ftr" sz="quarter" idx="11"/>
          </p:nvPr>
        </p:nvSpPr>
        <p:spPr/>
        <p:txBody>
          <a:bodyPr/>
          <a:lstStyle/>
          <a:p>
            <a:endParaRPr lang="en-US" dirty="0">
              <a:solidFill>
                <a:srgbClr val="00338E"/>
              </a:solidFill>
            </a:endParaRPr>
          </a:p>
        </p:txBody>
      </p:sp>
      <p:sp>
        <p:nvSpPr>
          <p:cNvPr id="3" name="Slide Number Placeholder 2">
            <a:extLst>
              <a:ext uri="{FF2B5EF4-FFF2-40B4-BE49-F238E27FC236}">
                <a16:creationId xmlns:a16="http://schemas.microsoft.com/office/drawing/2014/main" id="{9591BF5E-B368-0C48-A391-D488A8CFEE36}"/>
              </a:ext>
            </a:extLst>
          </p:cNvPr>
          <p:cNvSpPr>
            <a:spLocks noGrp="1"/>
          </p:cNvSpPr>
          <p:nvPr>
            <p:ph type="sldNum" sz="quarter" idx="12"/>
          </p:nvPr>
        </p:nvSpPr>
        <p:spPr/>
        <p:txBody>
          <a:bodyPr/>
          <a:lstStyle/>
          <a:p>
            <a:fld id="{4FAB73BC-B049-4115-A692-8D63A059BFB8}" type="slidenum">
              <a:rPr lang="en-US">
                <a:solidFill>
                  <a:srgbClr val="00338E"/>
                </a:solidFill>
              </a:rPr>
              <a:pPr/>
              <a:t>24</a:t>
            </a:fld>
            <a:endParaRPr lang="en-US" dirty="0">
              <a:solidFill>
                <a:srgbClr val="00338E"/>
              </a:solidFill>
            </a:endParaRPr>
          </a:p>
        </p:txBody>
      </p:sp>
      <p:pic>
        <p:nvPicPr>
          <p:cNvPr id="5" name="Picture 4">
            <a:extLst>
              <a:ext uri="{FF2B5EF4-FFF2-40B4-BE49-F238E27FC236}">
                <a16:creationId xmlns:a16="http://schemas.microsoft.com/office/drawing/2014/main" id="{94E72501-2948-1D4C-905F-EC272315FCFF}"/>
              </a:ext>
            </a:extLst>
          </p:cNvPr>
          <p:cNvPicPr>
            <a:picLocks noChangeAspect="1"/>
          </p:cNvPicPr>
          <p:nvPr/>
        </p:nvPicPr>
        <p:blipFill>
          <a:blip r:embed="rId2"/>
          <a:stretch>
            <a:fillRect/>
          </a:stretch>
        </p:blipFill>
        <p:spPr>
          <a:xfrm>
            <a:off x="1554767" y="0"/>
            <a:ext cx="9082466" cy="6858000"/>
          </a:xfrm>
          <a:prstGeom prst="rect">
            <a:avLst/>
          </a:prstGeom>
        </p:spPr>
      </p:pic>
      <p:sp>
        <p:nvSpPr>
          <p:cNvPr id="4" name="TextBox 3">
            <a:extLst>
              <a:ext uri="{FF2B5EF4-FFF2-40B4-BE49-F238E27FC236}">
                <a16:creationId xmlns:a16="http://schemas.microsoft.com/office/drawing/2014/main" id="{87C98DD7-B27F-014B-9008-CB313F54B4E0}"/>
              </a:ext>
            </a:extLst>
          </p:cNvPr>
          <p:cNvSpPr txBox="1"/>
          <p:nvPr/>
        </p:nvSpPr>
        <p:spPr>
          <a:xfrm>
            <a:off x="8269934" y="1844681"/>
            <a:ext cx="914400" cy="914400"/>
          </a:xfrm>
          <a:prstGeom prst="rect">
            <a:avLst/>
          </a:prstGeom>
          <a:noFill/>
        </p:spPr>
        <p:txBody>
          <a:bodyPr wrap="none" lIns="0" tIns="0" rIns="0" bIns="0" rtlCol="0">
            <a:noAutofit/>
          </a:bodyPr>
          <a:lstStyle/>
          <a:p>
            <a:pPr>
              <a:lnSpc>
                <a:spcPts val="2100"/>
              </a:lnSpc>
              <a:spcAft>
                <a:spcPts val="900"/>
              </a:spcAft>
            </a:pPr>
            <a:r>
              <a:rPr lang="en-US" dirty="0">
                <a:solidFill>
                  <a:srgbClr val="0070C0"/>
                </a:solidFill>
                <a:latin typeface="Barlow" pitchFamily="2" charset="77"/>
              </a:rPr>
              <a:t>United States</a:t>
            </a:r>
          </a:p>
        </p:txBody>
      </p:sp>
      <p:sp>
        <p:nvSpPr>
          <p:cNvPr id="14" name="Oval 13">
            <a:extLst>
              <a:ext uri="{FF2B5EF4-FFF2-40B4-BE49-F238E27FC236}">
                <a16:creationId xmlns:a16="http://schemas.microsoft.com/office/drawing/2014/main" id="{16BF8855-85B0-E649-A8A6-DDBE62C67849}"/>
              </a:ext>
            </a:extLst>
          </p:cNvPr>
          <p:cNvSpPr/>
          <p:nvPr/>
        </p:nvSpPr>
        <p:spPr>
          <a:xfrm>
            <a:off x="1621160" y="1224366"/>
            <a:ext cx="612183" cy="30221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a:endParaRPr>
          </a:p>
        </p:txBody>
      </p:sp>
      <p:sp>
        <p:nvSpPr>
          <p:cNvPr id="15" name="Oval 14">
            <a:extLst>
              <a:ext uri="{FF2B5EF4-FFF2-40B4-BE49-F238E27FC236}">
                <a16:creationId xmlns:a16="http://schemas.microsoft.com/office/drawing/2014/main" id="{540AA468-5F5C-314B-8BD9-0878D9F88112}"/>
              </a:ext>
            </a:extLst>
          </p:cNvPr>
          <p:cNvSpPr/>
          <p:nvPr/>
        </p:nvSpPr>
        <p:spPr>
          <a:xfrm>
            <a:off x="5565707" y="1224366"/>
            <a:ext cx="1138899" cy="30221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a:endParaRPr>
          </a:p>
        </p:txBody>
      </p:sp>
    </p:spTree>
    <p:extLst>
      <p:ext uri="{BB962C8B-B14F-4D97-AF65-F5344CB8AC3E}">
        <p14:creationId xmlns:p14="http://schemas.microsoft.com/office/powerpoint/2010/main" val="24287789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9ABEC7B-C607-3C45-8FC8-E30E45665F7E}"/>
              </a:ext>
            </a:extLst>
          </p:cNvPr>
          <p:cNvSpPr>
            <a:spLocks noGrp="1"/>
          </p:cNvSpPr>
          <p:nvPr>
            <p:ph type="ftr" sz="quarter" idx="11"/>
          </p:nvPr>
        </p:nvSpPr>
        <p:spPr/>
        <p:txBody>
          <a:bodyPr/>
          <a:lstStyle/>
          <a:p>
            <a:endParaRPr lang="en-US" dirty="0">
              <a:solidFill>
                <a:srgbClr val="00338E"/>
              </a:solidFill>
            </a:endParaRPr>
          </a:p>
        </p:txBody>
      </p:sp>
      <p:sp>
        <p:nvSpPr>
          <p:cNvPr id="3" name="Slide Number Placeholder 2">
            <a:extLst>
              <a:ext uri="{FF2B5EF4-FFF2-40B4-BE49-F238E27FC236}">
                <a16:creationId xmlns:a16="http://schemas.microsoft.com/office/drawing/2014/main" id="{E850E007-E59F-FA4E-B7ED-FC82FD530AC0}"/>
              </a:ext>
            </a:extLst>
          </p:cNvPr>
          <p:cNvSpPr>
            <a:spLocks noGrp="1"/>
          </p:cNvSpPr>
          <p:nvPr>
            <p:ph type="sldNum" sz="quarter" idx="12"/>
          </p:nvPr>
        </p:nvSpPr>
        <p:spPr/>
        <p:txBody>
          <a:bodyPr/>
          <a:lstStyle/>
          <a:p>
            <a:fld id="{4FAB73BC-B049-4115-A692-8D63A059BFB8}" type="slidenum">
              <a:rPr lang="en-US">
                <a:solidFill>
                  <a:srgbClr val="00338E"/>
                </a:solidFill>
              </a:rPr>
              <a:pPr/>
              <a:t>25</a:t>
            </a:fld>
            <a:endParaRPr lang="en-US" dirty="0">
              <a:solidFill>
                <a:srgbClr val="00338E"/>
              </a:solidFill>
            </a:endParaRPr>
          </a:p>
        </p:txBody>
      </p:sp>
      <p:pic>
        <p:nvPicPr>
          <p:cNvPr id="4" name="Picture 3">
            <a:extLst>
              <a:ext uri="{FF2B5EF4-FFF2-40B4-BE49-F238E27FC236}">
                <a16:creationId xmlns:a16="http://schemas.microsoft.com/office/drawing/2014/main" id="{F57BA15A-5410-CA43-97CE-69D738DCC877}"/>
              </a:ext>
            </a:extLst>
          </p:cNvPr>
          <p:cNvPicPr>
            <a:picLocks/>
          </p:cNvPicPr>
          <p:nvPr/>
        </p:nvPicPr>
        <p:blipFill>
          <a:blip r:embed="rId2"/>
          <a:stretch>
            <a:fillRect/>
          </a:stretch>
        </p:blipFill>
        <p:spPr>
          <a:xfrm>
            <a:off x="1421576" y="-2"/>
            <a:ext cx="4572000" cy="3429000"/>
          </a:xfrm>
          <a:prstGeom prst="rect">
            <a:avLst/>
          </a:prstGeom>
        </p:spPr>
      </p:pic>
      <p:pic>
        <p:nvPicPr>
          <p:cNvPr id="5" name="Picture 4">
            <a:extLst>
              <a:ext uri="{FF2B5EF4-FFF2-40B4-BE49-F238E27FC236}">
                <a16:creationId xmlns:a16="http://schemas.microsoft.com/office/drawing/2014/main" id="{EF28F3DD-1553-A447-AAC9-DCF385E4E4F2}"/>
              </a:ext>
            </a:extLst>
          </p:cNvPr>
          <p:cNvPicPr>
            <a:picLocks/>
          </p:cNvPicPr>
          <p:nvPr/>
        </p:nvPicPr>
        <p:blipFill>
          <a:blip r:embed="rId3"/>
          <a:stretch>
            <a:fillRect/>
          </a:stretch>
        </p:blipFill>
        <p:spPr>
          <a:xfrm>
            <a:off x="6387851" y="0"/>
            <a:ext cx="4572000" cy="3429000"/>
          </a:xfrm>
          <a:prstGeom prst="rect">
            <a:avLst/>
          </a:prstGeom>
        </p:spPr>
      </p:pic>
      <p:pic>
        <p:nvPicPr>
          <p:cNvPr id="6" name="Picture 5">
            <a:extLst>
              <a:ext uri="{FF2B5EF4-FFF2-40B4-BE49-F238E27FC236}">
                <a16:creationId xmlns:a16="http://schemas.microsoft.com/office/drawing/2014/main" id="{AB23C789-9185-3143-A8A7-2D942CEBDE5C}"/>
              </a:ext>
            </a:extLst>
          </p:cNvPr>
          <p:cNvPicPr>
            <a:picLocks/>
          </p:cNvPicPr>
          <p:nvPr/>
        </p:nvPicPr>
        <p:blipFill>
          <a:blip r:embed="rId4"/>
          <a:stretch>
            <a:fillRect/>
          </a:stretch>
        </p:blipFill>
        <p:spPr>
          <a:xfrm>
            <a:off x="1421576" y="3428999"/>
            <a:ext cx="4572000" cy="3429000"/>
          </a:xfrm>
          <a:prstGeom prst="rect">
            <a:avLst/>
          </a:prstGeom>
        </p:spPr>
      </p:pic>
      <p:pic>
        <p:nvPicPr>
          <p:cNvPr id="7" name="Picture 6">
            <a:extLst>
              <a:ext uri="{FF2B5EF4-FFF2-40B4-BE49-F238E27FC236}">
                <a16:creationId xmlns:a16="http://schemas.microsoft.com/office/drawing/2014/main" id="{F6E6E9E3-80DE-9642-A5AD-F81090612DD7}"/>
              </a:ext>
            </a:extLst>
          </p:cNvPr>
          <p:cNvPicPr>
            <a:picLocks/>
          </p:cNvPicPr>
          <p:nvPr/>
        </p:nvPicPr>
        <p:blipFill>
          <a:blip r:embed="rId5"/>
          <a:stretch>
            <a:fillRect/>
          </a:stretch>
        </p:blipFill>
        <p:spPr>
          <a:xfrm>
            <a:off x="6387851" y="3429000"/>
            <a:ext cx="4572000" cy="3429000"/>
          </a:xfrm>
          <a:prstGeom prst="rect">
            <a:avLst/>
          </a:prstGeom>
        </p:spPr>
      </p:pic>
      <p:sp>
        <p:nvSpPr>
          <p:cNvPr id="8" name="TextBox 7">
            <a:extLst>
              <a:ext uri="{FF2B5EF4-FFF2-40B4-BE49-F238E27FC236}">
                <a16:creationId xmlns:a16="http://schemas.microsoft.com/office/drawing/2014/main" id="{BF728D11-7D0E-7D4A-81D3-A00B8B1A203F}"/>
              </a:ext>
            </a:extLst>
          </p:cNvPr>
          <p:cNvSpPr txBox="1"/>
          <p:nvPr/>
        </p:nvSpPr>
        <p:spPr>
          <a:xfrm>
            <a:off x="4453933" y="708468"/>
            <a:ext cx="914400" cy="914400"/>
          </a:xfrm>
          <a:prstGeom prst="rect">
            <a:avLst/>
          </a:prstGeom>
          <a:noFill/>
        </p:spPr>
        <p:txBody>
          <a:bodyPr wrap="none" lIns="0" tIns="0" rIns="0" bIns="0" rtlCol="0">
            <a:noAutofit/>
          </a:bodyPr>
          <a:lstStyle/>
          <a:p>
            <a:pPr>
              <a:lnSpc>
                <a:spcPts val="2100"/>
              </a:lnSpc>
              <a:spcAft>
                <a:spcPts val="900"/>
              </a:spcAft>
            </a:pPr>
            <a:r>
              <a:rPr lang="en-US" dirty="0">
                <a:solidFill>
                  <a:srgbClr val="0070C0"/>
                </a:solidFill>
                <a:latin typeface="Barlow" pitchFamily="2" charset="77"/>
              </a:rPr>
              <a:t>Oregon</a:t>
            </a:r>
          </a:p>
        </p:txBody>
      </p:sp>
      <p:sp>
        <p:nvSpPr>
          <p:cNvPr id="9" name="TextBox 8">
            <a:extLst>
              <a:ext uri="{FF2B5EF4-FFF2-40B4-BE49-F238E27FC236}">
                <a16:creationId xmlns:a16="http://schemas.microsoft.com/office/drawing/2014/main" id="{752C6529-5495-0D4D-AC73-6AA847C10ED8}"/>
              </a:ext>
            </a:extLst>
          </p:cNvPr>
          <p:cNvSpPr txBox="1"/>
          <p:nvPr/>
        </p:nvSpPr>
        <p:spPr>
          <a:xfrm>
            <a:off x="4457974" y="4169229"/>
            <a:ext cx="914400" cy="914400"/>
          </a:xfrm>
          <a:prstGeom prst="rect">
            <a:avLst/>
          </a:prstGeom>
          <a:noFill/>
        </p:spPr>
        <p:txBody>
          <a:bodyPr wrap="none" lIns="0" tIns="0" rIns="0" bIns="0" rtlCol="0">
            <a:noAutofit/>
          </a:bodyPr>
          <a:lstStyle/>
          <a:p>
            <a:pPr>
              <a:lnSpc>
                <a:spcPts val="2100"/>
              </a:lnSpc>
              <a:spcAft>
                <a:spcPts val="900"/>
              </a:spcAft>
            </a:pPr>
            <a:r>
              <a:rPr lang="en-US" dirty="0">
                <a:solidFill>
                  <a:srgbClr val="0070C0"/>
                </a:solidFill>
                <a:latin typeface="Barlow" pitchFamily="2" charset="77"/>
              </a:rPr>
              <a:t>California</a:t>
            </a:r>
          </a:p>
        </p:txBody>
      </p:sp>
      <p:sp>
        <p:nvSpPr>
          <p:cNvPr id="10" name="TextBox 9">
            <a:extLst>
              <a:ext uri="{FF2B5EF4-FFF2-40B4-BE49-F238E27FC236}">
                <a16:creationId xmlns:a16="http://schemas.microsoft.com/office/drawing/2014/main" id="{B9323A50-BEFB-1148-B60A-4EFD6C96279A}"/>
              </a:ext>
            </a:extLst>
          </p:cNvPr>
          <p:cNvSpPr txBox="1"/>
          <p:nvPr/>
        </p:nvSpPr>
        <p:spPr>
          <a:xfrm>
            <a:off x="9767291" y="698139"/>
            <a:ext cx="914400" cy="914400"/>
          </a:xfrm>
          <a:prstGeom prst="rect">
            <a:avLst/>
          </a:prstGeom>
          <a:noFill/>
        </p:spPr>
        <p:txBody>
          <a:bodyPr wrap="none" lIns="0" tIns="0" rIns="0" bIns="0" rtlCol="0">
            <a:noAutofit/>
          </a:bodyPr>
          <a:lstStyle/>
          <a:p>
            <a:pPr>
              <a:lnSpc>
                <a:spcPts val="2100"/>
              </a:lnSpc>
              <a:spcAft>
                <a:spcPts val="900"/>
              </a:spcAft>
            </a:pPr>
            <a:r>
              <a:rPr lang="en-US" dirty="0">
                <a:solidFill>
                  <a:srgbClr val="0070C0"/>
                </a:solidFill>
                <a:latin typeface="Barlow" pitchFamily="2" charset="77"/>
              </a:rPr>
              <a:t>Washington</a:t>
            </a:r>
          </a:p>
        </p:txBody>
      </p:sp>
      <p:sp>
        <p:nvSpPr>
          <p:cNvPr id="11" name="TextBox 10">
            <a:extLst>
              <a:ext uri="{FF2B5EF4-FFF2-40B4-BE49-F238E27FC236}">
                <a16:creationId xmlns:a16="http://schemas.microsoft.com/office/drawing/2014/main" id="{2AA0856F-9ACA-4E4E-93C5-03C42DA18229}"/>
              </a:ext>
            </a:extLst>
          </p:cNvPr>
          <p:cNvSpPr txBox="1"/>
          <p:nvPr/>
        </p:nvSpPr>
        <p:spPr>
          <a:xfrm>
            <a:off x="9771332" y="4158900"/>
            <a:ext cx="914400" cy="914400"/>
          </a:xfrm>
          <a:prstGeom prst="rect">
            <a:avLst/>
          </a:prstGeom>
          <a:noFill/>
        </p:spPr>
        <p:txBody>
          <a:bodyPr wrap="none" lIns="0" tIns="0" rIns="0" bIns="0" rtlCol="0">
            <a:noAutofit/>
          </a:bodyPr>
          <a:lstStyle/>
          <a:p>
            <a:pPr>
              <a:lnSpc>
                <a:spcPts val="2100"/>
              </a:lnSpc>
              <a:spcAft>
                <a:spcPts val="900"/>
              </a:spcAft>
            </a:pPr>
            <a:r>
              <a:rPr lang="en-US" dirty="0">
                <a:solidFill>
                  <a:srgbClr val="0070C0"/>
                </a:solidFill>
                <a:latin typeface="Barlow" pitchFamily="2" charset="77"/>
              </a:rPr>
              <a:t>Texas</a:t>
            </a:r>
          </a:p>
        </p:txBody>
      </p:sp>
    </p:spTree>
    <p:extLst>
      <p:ext uri="{BB962C8B-B14F-4D97-AF65-F5344CB8AC3E}">
        <p14:creationId xmlns:p14="http://schemas.microsoft.com/office/powerpoint/2010/main" val="38547781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668A8A6-0FAA-7646-9855-3685815B7722}"/>
              </a:ext>
            </a:extLst>
          </p:cNvPr>
          <p:cNvSpPr>
            <a:spLocks noGrp="1"/>
          </p:cNvSpPr>
          <p:nvPr>
            <p:ph type="ftr" sz="quarter" idx="11"/>
          </p:nvPr>
        </p:nvSpPr>
        <p:spPr/>
        <p:txBody>
          <a:bodyPr/>
          <a:lstStyle/>
          <a:p>
            <a:endParaRPr lang="en-US" dirty="0">
              <a:solidFill>
                <a:srgbClr val="00338E"/>
              </a:solidFill>
            </a:endParaRPr>
          </a:p>
        </p:txBody>
      </p:sp>
      <p:sp>
        <p:nvSpPr>
          <p:cNvPr id="3" name="Slide Number Placeholder 2">
            <a:extLst>
              <a:ext uri="{FF2B5EF4-FFF2-40B4-BE49-F238E27FC236}">
                <a16:creationId xmlns:a16="http://schemas.microsoft.com/office/drawing/2014/main" id="{2B4EEA0A-AFE4-E64A-9EB4-291ACD2D6E9D}"/>
              </a:ext>
            </a:extLst>
          </p:cNvPr>
          <p:cNvSpPr>
            <a:spLocks noGrp="1"/>
          </p:cNvSpPr>
          <p:nvPr>
            <p:ph type="sldNum" sz="quarter" idx="12"/>
          </p:nvPr>
        </p:nvSpPr>
        <p:spPr/>
        <p:txBody>
          <a:bodyPr/>
          <a:lstStyle/>
          <a:p>
            <a:fld id="{4FAB73BC-B049-4115-A692-8D63A059BFB8}" type="slidenum">
              <a:rPr lang="en-US">
                <a:solidFill>
                  <a:srgbClr val="00338E"/>
                </a:solidFill>
              </a:rPr>
              <a:pPr/>
              <a:t>26</a:t>
            </a:fld>
            <a:endParaRPr lang="en-US" dirty="0">
              <a:solidFill>
                <a:srgbClr val="00338E"/>
              </a:solidFill>
            </a:endParaRPr>
          </a:p>
        </p:txBody>
      </p:sp>
      <p:pic>
        <p:nvPicPr>
          <p:cNvPr id="5" name="Picture 4">
            <a:extLst>
              <a:ext uri="{FF2B5EF4-FFF2-40B4-BE49-F238E27FC236}">
                <a16:creationId xmlns:a16="http://schemas.microsoft.com/office/drawing/2014/main" id="{540F6A14-8B48-0342-92DF-E7295FF1665B}"/>
              </a:ext>
            </a:extLst>
          </p:cNvPr>
          <p:cNvPicPr>
            <a:picLocks noChangeAspect="1"/>
          </p:cNvPicPr>
          <p:nvPr/>
        </p:nvPicPr>
        <p:blipFill>
          <a:blip r:embed="rId2"/>
          <a:stretch>
            <a:fillRect/>
          </a:stretch>
        </p:blipFill>
        <p:spPr>
          <a:xfrm>
            <a:off x="1544189" y="0"/>
            <a:ext cx="9103622" cy="6858000"/>
          </a:xfrm>
          <a:prstGeom prst="rect">
            <a:avLst/>
          </a:prstGeom>
        </p:spPr>
      </p:pic>
      <p:sp>
        <p:nvSpPr>
          <p:cNvPr id="6" name="TextBox 5">
            <a:extLst>
              <a:ext uri="{FF2B5EF4-FFF2-40B4-BE49-F238E27FC236}">
                <a16:creationId xmlns:a16="http://schemas.microsoft.com/office/drawing/2014/main" id="{002E634B-F859-494F-838E-15CD679B6691}"/>
              </a:ext>
            </a:extLst>
          </p:cNvPr>
          <p:cNvSpPr txBox="1"/>
          <p:nvPr/>
        </p:nvSpPr>
        <p:spPr>
          <a:xfrm>
            <a:off x="8269934" y="1813685"/>
            <a:ext cx="914400" cy="914400"/>
          </a:xfrm>
          <a:prstGeom prst="rect">
            <a:avLst/>
          </a:prstGeom>
          <a:noFill/>
        </p:spPr>
        <p:txBody>
          <a:bodyPr wrap="none" lIns="0" tIns="0" rIns="0" bIns="0" rtlCol="0">
            <a:noAutofit/>
          </a:bodyPr>
          <a:lstStyle/>
          <a:p>
            <a:pPr>
              <a:lnSpc>
                <a:spcPts val="2100"/>
              </a:lnSpc>
              <a:spcAft>
                <a:spcPts val="900"/>
              </a:spcAft>
            </a:pPr>
            <a:r>
              <a:rPr lang="en-US" dirty="0">
                <a:solidFill>
                  <a:srgbClr val="0070C0"/>
                </a:solidFill>
                <a:latin typeface="Barlow" pitchFamily="2" charset="77"/>
              </a:rPr>
              <a:t>United States</a:t>
            </a:r>
          </a:p>
        </p:txBody>
      </p:sp>
    </p:spTree>
    <p:extLst>
      <p:ext uri="{BB962C8B-B14F-4D97-AF65-F5344CB8AC3E}">
        <p14:creationId xmlns:p14="http://schemas.microsoft.com/office/powerpoint/2010/main" val="25121477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C5FD51B-0FEE-CC4A-957F-92DADFA49B37}"/>
              </a:ext>
            </a:extLst>
          </p:cNvPr>
          <p:cNvSpPr>
            <a:spLocks noGrp="1"/>
          </p:cNvSpPr>
          <p:nvPr>
            <p:ph type="ftr" sz="quarter" idx="11"/>
          </p:nvPr>
        </p:nvSpPr>
        <p:spPr/>
        <p:txBody>
          <a:bodyPr/>
          <a:lstStyle/>
          <a:p>
            <a:endParaRPr lang="en-US" dirty="0">
              <a:solidFill>
                <a:srgbClr val="00338E"/>
              </a:solidFill>
            </a:endParaRPr>
          </a:p>
        </p:txBody>
      </p:sp>
      <p:sp>
        <p:nvSpPr>
          <p:cNvPr id="3" name="Slide Number Placeholder 2">
            <a:extLst>
              <a:ext uri="{FF2B5EF4-FFF2-40B4-BE49-F238E27FC236}">
                <a16:creationId xmlns:a16="http://schemas.microsoft.com/office/drawing/2014/main" id="{AF2E599F-DBE8-D245-AE07-0787B71B92AD}"/>
              </a:ext>
            </a:extLst>
          </p:cNvPr>
          <p:cNvSpPr>
            <a:spLocks noGrp="1"/>
          </p:cNvSpPr>
          <p:nvPr>
            <p:ph type="sldNum" sz="quarter" idx="12"/>
          </p:nvPr>
        </p:nvSpPr>
        <p:spPr/>
        <p:txBody>
          <a:bodyPr/>
          <a:lstStyle/>
          <a:p>
            <a:fld id="{4FAB73BC-B049-4115-A692-8D63A059BFB8}" type="slidenum">
              <a:rPr lang="en-US">
                <a:solidFill>
                  <a:srgbClr val="00338E"/>
                </a:solidFill>
              </a:rPr>
              <a:pPr/>
              <a:t>27</a:t>
            </a:fld>
            <a:endParaRPr lang="en-US" dirty="0">
              <a:solidFill>
                <a:srgbClr val="00338E"/>
              </a:solidFill>
            </a:endParaRPr>
          </a:p>
        </p:txBody>
      </p:sp>
      <p:pic>
        <p:nvPicPr>
          <p:cNvPr id="4" name="Picture 3">
            <a:extLst>
              <a:ext uri="{FF2B5EF4-FFF2-40B4-BE49-F238E27FC236}">
                <a16:creationId xmlns:a16="http://schemas.microsoft.com/office/drawing/2014/main" id="{1213513D-2F60-2F47-B975-4AE079F81F3A}"/>
              </a:ext>
            </a:extLst>
          </p:cNvPr>
          <p:cNvPicPr>
            <a:picLocks noChangeAspect="1"/>
          </p:cNvPicPr>
          <p:nvPr/>
        </p:nvPicPr>
        <p:blipFill>
          <a:blip r:embed="rId2"/>
          <a:stretch>
            <a:fillRect/>
          </a:stretch>
        </p:blipFill>
        <p:spPr>
          <a:xfrm>
            <a:off x="1517771" y="-1"/>
            <a:ext cx="4572000" cy="3440687"/>
          </a:xfrm>
          <a:prstGeom prst="rect">
            <a:avLst/>
          </a:prstGeom>
        </p:spPr>
      </p:pic>
      <p:pic>
        <p:nvPicPr>
          <p:cNvPr id="5" name="Picture 4">
            <a:extLst>
              <a:ext uri="{FF2B5EF4-FFF2-40B4-BE49-F238E27FC236}">
                <a16:creationId xmlns:a16="http://schemas.microsoft.com/office/drawing/2014/main" id="{6206AA65-D18E-CF4C-9662-F1EC71DC8D07}"/>
              </a:ext>
            </a:extLst>
          </p:cNvPr>
          <p:cNvPicPr>
            <a:picLocks noChangeAspect="1"/>
          </p:cNvPicPr>
          <p:nvPr/>
        </p:nvPicPr>
        <p:blipFill>
          <a:blip r:embed="rId3"/>
          <a:stretch>
            <a:fillRect/>
          </a:stretch>
        </p:blipFill>
        <p:spPr>
          <a:xfrm>
            <a:off x="6463415" y="-1"/>
            <a:ext cx="4572000" cy="3423186"/>
          </a:xfrm>
          <a:prstGeom prst="rect">
            <a:avLst/>
          </a:prstGeom>
        </p:spPr>
      </p:pic>
      <p:pic>
        <p:nvPicPr>
          <p:cNvPr id="6" name="Picture 5">
            <a:extLst>
              <a:ext uri="{FF2B5EF4-FFF2-40B4-BE49-F238E27FC236}">
                <a16:creationId xmlns:a16="http://schemas.microsoft.com/office/drawing/2014/main" id="{F8EC0F5A-6564-0A4D-A8D0-A90CF75DF030}"/>
              </a:ext>
            </a:extLst>
          </p:cNvPr>
          <p:cNvPicPr>
            <a:picLocks noChangeAspect="1"/>
          </p:cNvPicPr>
          <p:nvPr/>
        </p:nvPicPr>
        <p:blipFill>
          <a:blip r:embed="rId4"/>
          <a:stretch>
            <a:fillRect/>
          </a:stretch>
        </p:blipFill>
        <p:spPr>
          <a:xfrm>
            <a:off x="1517771" y="3448379"/>
            <a:ext cx="4572000" cy="3424335"/>
          </a:xfrm>
          <a:prstGeom prst="rect">
            <a:avLst/>
          </a:prstGeom>
        </p:spPr>
      </p:pic>
      <p:pic>
        <p:nvPicPr>
          <p:cNvPr id="7" name="Picture 6">
            <a:extLst>
              <a:ext uri="{FF2B5EF4-FFF2-40B4-BE49-F238E27FC236}">
                <a16:creationId xmlns:a16="http://schemas.microsoft.com/office/drawing/2014/main" id="{51D3D470-56DD-8242-9D6E-4CC39AA13062}"/>
              </a:ext>
            </a:extLst>
          </p:cNvPr>
          <p:cNvPicPr>
            <a:picLocks noChangeAspect="1"/>
          </p:cNvPicPr>
          <p:nvPr/>
        </p:nvPicPr>
        <p:blipFill>
          <a:blip r:embed="rId5"/>
          <a:stretch>
            <a:fillRect/>
          </a:stretch>
        </p:blipFill>
        <p:spPr>
          <a:xfrm>
            <a:off x="6463415" y="3448379"/>
            <a:ext cx="4572000" cy="3417361"/>
          </a:xfrm>
          <a:prstGeom prst="rect">
            <a:avLst/>
          </a:prstGeom>
        </p:spPr>
      </p:pic>
      <p:sp>
        <p:nvSpPr>
          <p:cNvPr id="8" name="TextBox 7">
            <a:extLst>
              <a:ext uri="{FF2B5EF4-FFF2-40B4-BE49-F238E27FC236}">
                <a16:creationId xmlns:a16="http://schemas.microsoft.com/office/drawing/2014/main" id="{DB617748-78B5-4C4C-B685-18264EC7B7F0}"/>
              </a:ext>
            </a:extLst>
          </p:cNvPr>
          <p:cNvSpPr txBox="1"/>
          <p:nvPr/>
        </p:nvSpPr>
        <p:spPr>
          <a:xfrm>
            <a:off x="4477180" y="708468"/>
            <a:ext cx="914400" cy="914400"/>
          </a:xfrm>
          <a:prstGeom prst="rect">
            <a:avLst/>
          </a:prstGeom>
          <a:noFill/>
        </p:spPr>
        <p:txBody>
          <a:bodyPr wrap="none" lIns="0" tIns="0" rIns="0" bIns="0" rtlCol="0">
            <a:noAutofit/>
          </a:bodyPr>
          <a:lstStyle/>
          <a:p>
            <a:pPr>
              <a:lnSpc>
                <a:spcPts val="2100"/>
              </a:lnSpc>
              <a:spcAft>
                <a:spcPts val="900"/>
              </a:spcAft>
            </a:pPr>
            <a:r>
              <a:rPr lang="en-US" dirty="0">
                <a:solidFill>
                  <a:srgbClr val="0070C0"/>
                </a:solidFill>
                <a:latin typeface="Barlow" pitchFamily="2" charset="77"/>
              </a:rPr>
              <a:t>Oregon</a:t>
            </a:r>
          </a:p>
        </p:txBody>
      </p:sp>
      <p:sp>
        <p:nvSpPr>
          <p:cNvPr id="9" name="TextBox 8">
            <a:extLst>
              <a:ext uri="{FF2B5EF4-FFF2-40B4-BE49-F238E27FC236}">
                <a16:creationId xmlns:a16="http://schemas.microsoft.com/office/drawing/2014/main" id="{135512FC-E6F1-D146-BB43-68D0E36EF16E}"/>
              </a:ext>
            </a:extLst>
          </p:cNvPr>
          <p:cNvSpPr txBox="1"/>
          <p:nvPr/>
        </p:nvSpPr>
        <p:spPr>
          <a:xfrm>
            <a:off x="4481221" y="4169229"/>
            <a:ext cx="914400" cy="914400"/>
          </a:xfrm>
          <a:prstGeom prst="rect">
            <a:avLst/>
          </a:prstGeom>
          <a:noFill/>
        </p:spPr>
        <p:txBody>
          <a:bodyPr wrap="none" lIns="0" tIns="0" rIns="0" bIns="0" rtlCol="0">
            <a:noAutofit/>
          </a:bodyPr>
          <a:lstStyle/>
          <a:p>
            <a:pPr>
              <a:lnSpc>
                <a:spcPts val="2100"/>
              </a:lnSpc>
              <a:spcAft>
                <a:spcPts val="900"/>
              </a:spcAft>
            </a:pPr>
            <a:r>
              <a:rPr lang="en-US" dirty="0">
                <a:solidFill>
                  <a:srgbClr val="0070C0"/>
                </a:solidFill>
                <a:latin typeface="Barlow" pitchFamily="2" charset="77"/>
              </a:rPr>
              <a:t>California</a:t>
            </a:r>
          </a:p>
        </p:txBody>
      </p:sp>
      <p:sp>
        <p:nvSpPr>
          <p:cNvPr id="10" name="TextBox 9">
            <a:extLst>
              <a:ext uri="{FF2B5EF4-FFF2-40B4-BE49-F238E27FC236}">
                <a16:creationId xmlns:a16="http://schemas.microsoft.com/office/drawing/2014/main" id="{F45B471F-6604-294E-9BAB-734A69D42FB4}"/>
              </a:ext>
            </a:extLst>
          </p:cNvPr>
          <p:cNvSpPr txBox="1"/>
          <p:nvPr/>
        </p:nvSpPr>
        <p:spPr>
          <a:xfrm>
            <a:off x="9790538" y="698139"/>
            <a:ext cx="914400" cy="914400"/>
          </a:xfrm>
          <a:prstGeom prst="rect">
            <a:avLst/>
          </a:prstGeom>
          <a:noFill/>
        </p:spPr>
        <p:txBody>
          <a:bodyPr wrap="none" lIns="0" tIns="0" rIns="0" bIns="0" rtlCol="0">
            <a:noAutofit/>
          </a:bodyPr>
          <a:lstStyle/>
          <a:p>
            <a:pPr>
              <a:lnSpc>
                <a:spcPts val="2100"/>
              </a:lnSpc>
              <a:spcAft>
                <a:spcPts val="900"/>
              </a:spcAft>
            </a:pPr>
            <a:r>
              <a:rPr lang="en-US" dirty="0">
                <a:solidFill>
                  <a:srgbClr val="0070C0"/>
                </a:solidFill>
                <a:latin typeface="Barlow" pitchFamily="2" charset="77"/>
              </a:rPr>
              <a:t>Washington</a:t>
            </a:r>
          </a:p>
        </p:txBody>
      </p:sp>
      <p:sp>
        <p:nvSpPr>
          <p:cNvPr id="11" name="TextBox 10">
            <a:extLst>
              <a:ext uri="{FF2B5EF4-FFF2-40B4-BE49-F238E27FC236}">
                <a16:creationId xmlns:a16="http://schemas.microsoft.com/office/drawing/2014/main" id="{EFC76C30-7551-9547-AD8F-C231CA4846A9}"/>
              </a:ext>
            </a:extLst>
          </p:cNvPr>
          <p:cNvSpPr txBox="1"/>
          <p:nvPr/>
        </p:nvSpPr>
        <p:spPr>
          <a:xfrm>
            <a:off x="9794579" y="4158900"/>
            <a:ext cx="914400" cy="914400"/>
          </a:xfrm>
          <a:prstGeom prst="rect">
            <a:avLst/>
          </a:prstGeom>
          <a:noFill/>
        </p:spPr>
        <p:txBody>
          <a:bodyPr wrap="none" lIns="0" tIns="0" rIns="0" bIns="0" rtlCol="0">
            <a:noAutofit/>
          </a:bodyPr>
          <a:lstStyle/>
          <a:p>
            <a:pPr>
              <a:lnSpc>
                <a:spcPts val="2100"/>
              </a:lnSpc>
              <a:spcAft>
                <a:spcPts val="900"/>
              </a:spcAft>
            </a:pPr>
            <a:r>
              <a:rPr lang="en-US" dirty="0">
                <a:solidFill>
                  <a:srgbClr val="0070C0"/>
                </a:solidFill>
                <a:latin typeface="Barlow" pitchFamily="2" charset="77"/>
              </a:rPr>
              <a:t>Texas</a:t>
            </a:r>
          </a:p>
        </p:txBody>
      </p:sp>
    </p:spTree>
    <p:extLst>
      <p:ext uri="{BB962C8B-B14F-4D97-AF65-F5344CB8AC3E}">
        <p14:creationId xmlns:p14="http://schemas.microsoft.com/office/powerpoint/2010/main" val="34985784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4B0CBC2-3DD6-2F4D-B524-79ACD8D6B5EF}"/>
              </a:ext>
            </a:extLst>
          </p:cNvPr>
          <p:cNvSpPr>
            <a:spLocks noGrp="1"/>
          </p:cNvSpPr>
          <p:nvPr>
            <p:ph type="ftr" sz="quarter" idx="11"/>
          </p:nvPr>
        </p:nvSpPr>
        <p:spPr/>
        <p:txBody>
          <a:bodyPr/>
          <a:lstStyle/>
          <a:p>
            <a:endParaRPr lang="en-US" dirty="0">
              <a:solidFill>
                <a:srgbClr val="00338E"/>
              </a:solidFill>
            </a:endParaRPr>
          </a:p>
        </p:txBody>
      </p:sp>
      <p:sp>
        <p:nvSpPr>
          <p:cNvPr id="3" name="Slide Number Placeholder 2">
            <a:extLst>
              <a:ext uri="{FF2B5EF4-FFF2-40B4-BE49-F238E27FC236}">
                <a16:creationId xmlns:a16="http://schemas.microsoft.com/office/drawing/2014/main" id="{0D1F947E-7705-4F42-839B-09CB177A0628}"/>
              </a:ext>
            </a:extLst>
          </p:cNvPr>
          <p:cNvSpPr>
            <a:spLocks noGrp="1"/>
          </p:cNvSpPr>
          <p:nvPr>
            <p:ph type="sldNum" sz="quarter" idx="12"/>
          </p:nvPr>
        </p:nvSpPr>
        <p:spPr/>
        <p:txBody>
          <a:bodyPr/>
          <a:lstStyle/>
          <a:p>
            <a:fld id="{4FAB73BC-B049-4115-A692-8D63A059BFB8}" type="slidenum">
              <a:rPr lang="en-US">
                <a:solidFill>
                  <a:srgbClr val="00338E"/>
                </a:solidFill>
              </a:rPr>
              <a:pPr/>
              <a:t>28</a:t>
            </a:fld>
            <a:endParaRPr lang="en-US" dirty="0">
              <a:solidFill>
                <a:srgbClr val="00338E"/>
              </a:solidFill>
            </a:endParaRPr>
          </a:p>
        </p:txBody>
      </p:sp>
      <p:pic>
        <p:nvPicPr>
          <p:cNvPr id="5" name="Picture 4">
            <a:extLst>
              <a:ext uri="{FF2B5EF4-FFF2-40B4-BE49-F238E27FC236}">
                <a16:creationId xmlns:a16="http://schemas.microsoft.com/office/drawing/2014/main" id="{7E957E74-765A-CA4C-859D-E4F925BB6B4E}"/>
              </a:ext>
            </a:extLst>
          </p:cNvPr>
          <p:cNvPicPr>
            <a:picLocks noChangeAspect="1"/>
          </p:cNvPicPr>
          <p:nvPr/>
        </p:nvPicPr>
        <p:blipFill>
          <a:blip r:embed="rId2"/>
          <a:stretch>
            <a:fillRect/>
          </a:stretch>
        </p:blipFill>
        <p:spPr>
          <a:xfrm>
            <a:off x="1534871" y="0"/>
            <a:ext cx="9122258" cy="6858000"/>
          </a:xfrm>
          <a:prstGeom prst="rect">
            <a:avLst/>
          </a:prstGeom>
        </p:spPr>
      </p:pic>
      <p:sp>
        <p:nvSpPr>
          <p:cNvPr id="4" name="Oval 3">
            <a:extLst>
              <a:ext uri="{FF2B5EF4-FFF2-40B4-BE49-F238E27FC236}">
                <a16:creationId xmlns:a16="http://schemas.microsoft.com/office/drawing/2014/main" id="{6322D2C3-8464-7B40-8004-EE9FA9938C25}"/>
              </a:ext>
            </a:extLst>
          </p:cNvPr>
          <p:cNvSpPr/>
          <p:nvPr/>
        </p:nvSpPr>
        <p:spPr>
          <a:xfrm>
            <a:off x="1590164" y="867906"/>
            <a:ext cx="612183" cy="30221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a:endParaRPr>
          </a:p>
        </p:txBody>
      </p:sp>
      <p:sp>
        <p:nvSpPr>
          <p:cNvPr id="6" name="Oval 5">
            <a:extLst>
              <a:ext uri="{FF2B5EF4-FFF2-40B4-BE49-F238E27FC236}">
                <a16:creationId xmlns:a16="http://schemas.microsoft.com/office/drawing/2014/main" id="{C153CC75-B9CC-8842-B72C-27D7B15F8FEF}"/>
              </a:ext>
            </a:extLst>
          </p:cNvPr>
          <p:cNvSpPr/>
          <p:nvPr/>
        </p:nvSpPr>
        <p:spPr>
          <a:xfrm>
            <a:off x="5565707" y="867906"/>
            <a:ext cx="1138899" cy="30221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a:endParaRPr>
          </a:p>
        </p:txBody>
      </p:sp>
      <p:sp>
        <p:nvSpPr>
          <p:cNvPr id="7" name="TextBox 6">
            <a:extLst>
              <a:ext uri="{FF2B5EF4-FFF2-40B4-BE49-F238E27FC236}">
                <a16:creationId xmlns:a16="http://schemas.microsoft.com/office/drawing/2014/main" id="{56F9ADAA-3C6A-E146-9A52-318E12F456CA}"/>
              </a:ext>
            </a:extLst>
          </p:cNvPr>
          <p:cNvSpPr txBox="1"/>
          <p:nvPr/>
        </p:nvSpPr>
        <p:spPr>
          <a:xfrm>
            <a:off x="8269934" y="1844681"/>
            <a:ext cx="914400" cy="914400"/>
          </a:xfrm>
          <a:prstGeom prst="rect">
            <a:avLst/>
          </a:prstGeom>
          <a:noFill/>
        </p:spPr>
        <p:txBody>
          <a:bodyPr wrap="none" lIns="0" tIns="0" rIns="0" bIns="0" rtlCol="0">
            <a:noAutofit/>
          </a:bodyPr>
          <a:lstStyle/>
          <a:p>
            <a:pPr>
              <a:lnSpc>
                <a:spcPts val="2100"/>
              </a:lnSpc>
              <a:spcAft>
                <a:spcPts val="900"/>
              </a:spcAft>
            </a:pPr>
            <a:r>
              <a:rPr lang="en-US" dirty="0">
                <a:solidFill>
                  <a:srgbClr val="0070C0"/>
                </a:solidFill>
                <a:latin typeface="Barlow" pitchFamily="2" charset="77"/>
              </a:rPr>
              <a:t>United States</a:t>
            </a:r>
          </a:p>
        </p:txBody>
      </p:sp>
    </p:spTree>
    <p:extLst>
      <p:ext uri="{BB962C8B-B14F-4D97-AF65-F5344CB8AC3E}">
        <p14:creationId xmlns:p14="http://schemas.microsoft.com/office/powerpoint/2010/main" val="20046812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E85C12B-67C4-DF48-BE64-EDFC12F8F6D7}"/>
              </a:ext>
            </a:extLst>
          </p:cNvPr>
          <p:cNvSpPr>
            <a:spLocks noGrp="1"/>
          </p:cNvSpPr>
          <p:nvPr>
            <p:ph type="ftr" sz="quarter" idx="11"/>
          </p:nvPr>
        </p:nvSpPr>
        <p:spPr/>
        <p:txBody>
          <a:bodyPr/>
          <a:lstStyle/>
          <a:p>
            <a:endParaRPr lang="en-US" dirty="0">
              <a:solidFill>
                <a:srgbClr val="00338E"/>
              </a:solidFill>
            </a:endParaRPr>
          </a:p>
        </p:txBody>
      </p:sp>
      <p:sp>
        <p:nvSpPr>
          <p:cNvPr id="3" name="Slide Number Placeholder 2">
            <a:extLst>
              <a:ext uri="{FF2B5EF4-FFF2-40B4-BE49-F238E27FC236}">
                <a16:creationId xmlns:a16="http://schemas.microsoft.com/office/drawing/2014/main" id="{045C1DF9-02FA-8940-AA57-AE805AE6CEDE}"/>
              </a:ext>
            </a:extLst>
          </p:cNvPr>
          <p:cNvSpPr>
            <a:spLocks noGrp="1"/>
          </p:cNvSpPr>
          <p:nvPr>
            <p:ph type="sldNum" sz="quarter" idx="12"/>
          </p:nvPr>
        </p:nvSpPr>
        <p:spPr/>
        <p:txBody>
          <a:bodyPr/>
          <a:lstStyle/>
          <a:p>
            <a:fld id="{4FAB73BC-B049-4115-A692-8D63A059BFB8}" type="slidenum">
              <a:rPr lang="en-US">
                <a:solidFill>
                  <a:srgbClr val="00338E"/>
                </a:solidFill>
              </a:rPr>
              <a:pPr/>
              <a:t>29</a:t>
            </a:fld>
            <a:endParaRPr lang="en-US" dirty="0">
              <a:solidFill>
                <a:srgbClr val="00338E"/>
              </a:solidFill>
            </a:endParaRPr>
          </a:p>
        </p:txBody>
      </p:sp>
      <p:pic>
        <p:nvPicPr>
          <p:cNvPr id="4" name="Picture 3">
            <a:extLst>
              <a:ext uri="{FF2B5EF4-FFF2-40B4-BE49-F238E27FC236}">
                <a16:creationId xmlns:a16="http://schemas.microsoft.com/office/drawing/2014/main" id="{ED85994F-2AA0-D24C-B99D-9F394860D9BA}"/>
              </a:ext>
            </a:extLst>
          </p:cNvPr>
          <p:cNvPicPr>
            <a:picLocks noChangeAspect="1"/>
          </p:cNvPicPr>
          <p:nvPr/>
        </p:nvPicPr>
        <p:blipFill>
          <a:blip r:embed="rId2"/>
          <a:stretch>
            <a:fillRect/>
          </a:stretch>
        </p:blipFill>
        <p:spPr>
          <a:xfrm>
            <a:off x="1542586" y="-1"/>
            <a:ext cx="4572000" cy="3442996"/>
          </a:xfrm>
          <a:prstGeom prst="rect">
            <a:avLst/>
          </a:prstGeom>
        </p:spPr>
      </p:pic>
      <p:pic>
        <p:nvPicPr>
          <p:cNvPr id="5" name="Picture 4">
            <a:extLst>
              <a:ext uri="{FF2B5EF4-FFF2-40B4-BE49-F238E27FC236}">
                <a16:creationId xmlns:a16="http://schemas.microsoft.com/office/drawing/2014/main" id="{1F771AAE-F69C-0B47-BAD2-3963C4893F1D}"/>
              </a:ext>
            </a:extLst>
          </p:cNvPr>
          <p:cNvPicPr>
            <a:picLocks noChangeAspect="1"/>
          </p:cNvPicPr>
          <p:nvPr/>
        </p:nvPicPr>
        <p:blipFill>
          <a:blip r:embed="rId3"/>
          <a:stretch>
            <a:fillRect/>
          </a:stretch>
        </p:blipFill>
        <p:spPr>
          <a:xfrm>
            <a:off x="6413374" y="1"/>
            <a:ext cx="4572000" cy="3444147"/>
          </a:xfrm>
          <a:prstGeom prst="rect">
            <a:avLst/>
          </a:prstGeom>
        </p:spPr>
      </p:pic>
      <p:pic>
        <p:nvPicPr>
          <p:cNvPr id="6" name="Picture 5">
            <a:extLst>
              <a:ext uri="{FF2B5EF4-FFF2-40B4-BE49-F238E27FC236}">
                <a16:creationId xmlns:a16="http://schemas.microsoft.com/office/drawing/2014/main" id="{9DA42E73-05BE-B443-8A09-DEFC5DCEF0B0}"/>
              </a:ext>
            </a:extLst>
          </p:cNvPr>
          <p:cNvPicPr>
            <a:picLocks noChangeAspect="1"/>
          </p:cNvPicPr>
          <p:nvPr/>
        </p:nvPicPr>
        <p:blipFill>
          <a:blip r:embed="rId4"/>
          <a:stretch>
            <a:fillRect/>
          </a:stretch>
        </p:blipFill>
        <p:spPr>
          <a:xfrm>
            <a:off x="1542586" y="3472174"/>
            <a:ext cx="4572000" cy="3409152"/>
          </a:xfrm>
          <a:prstGeom prst="rect">
            <a:avLst/>
          </a:prstGeom>
        </p:spPr>
      </p:pic>
      <p:pic>
        <p:nvPicPr>
          <p:cNvPr id="7" name="Picture 6">
            <a:extLst>
              <a:ext uri="{FF2B5EF4-FFF2-40B4-BE49-F238E27FC236}">
                <a16:creationId xmlns:a16="http://schemas.microsoft.com/office/drawing/2014/main" id="{F8633D01-6CC1-714A-92C9-98082C24E2B7}"/>
              </a:ext>
            </a:extLst>
          </p:cNvPr>
          <p:cNvPicPr>
            <a:picLocks noChangeAspect="1"/>
          </p:cNvPicPr>
          <p:nvPr/>
        </p:nvPicPr>
        <p:blipFill>
          <a:blip r:embed="rId5"/>
          <a:stretch>
            <a:fillRect/>
          </a:stretch>
        </p:blipFill>
        <p:spPr>
          <a:xfrm>
            <a:off x="6413374" y="3442996"/>
            <a:ext cx="4572000" cy="3438331"/>
          </a:xfrm>
          <a:prstGeom prst="rect">
            <a:avLst/>
          </a:prstGeom>
        </p:spPr>
      </p:pic>
      <p:sp>
        <p:nvSpPr>
          <p:cNvPr id="8" name="TextBox 7">
            <a:extLst>
              <a:ext uri="{FF2B5EF4-FFF2-40B4-BE49-F238E27FC236}">
                <a16:creationId xmlns:a16="http://schemas.microsoft.com/office/drawing/2014/main" id="{2027E321-23EB-544A-B0F6-989933B723DA}"/>
              </a:ext>
            </a:extLst>
          </p:cNvPr>
          <p:cNvSpPr txBox="1"/>
          <p:nvPr/>
        </p:nvSpPr>
        <p:spPr>
          <a:xfrm>
            <a:off x="4469431" y="607731"/>
            <a:ext cx="914400" cy="914400"/>
          </a:xfrm>
          <a:prstGeom prst="rect">
            <a:avLst/>
          </a:prstGeom>
          <a:noFill/>
        </p:spPr>
        <p:txBody>
          <a:bodyPr wrap="none" lIns="0" tIns="0" rIns="0" bIns="0" rtlCol="0">
            <a:noAutofit/>
          </a:bodyPr>
          <a:lstStyle/>
          <a:p>
            <a:pPr>
              <a:lnSpc>
                <a:spcPts val="2100"/>
              </a:lnSpc>
              <a:spcAft>
                <a:spcPts val="900"/>
              </a:spcAft>
            </a:pPr>
            <a:r>
              <a:rPr lang="en-US" dirty="0">
                <a:solidFill>
                  <a:srgbClr val="0070C0"/>
                </a:solidFill>
                <a:latin typeface="Barlow" pitchFamily="2" charset="77"/>
              </a:rPr>
              <a:t>Oregon</a:t>
            </a:r>
          </a:p>
        </p:txBody>
      </p:sp>
      <p:sp>
        <p:nvSpPr>
          <p:cNvPr id="9" name="TextBox 8">
            <a:extLst>
              <a:ext uri="{FF2B5EF4-FFF2-40B4-BE49-F238E27FC236}">
                <a16:creationId xmlns:a16="http://schemas.microsoft.com/office/drawing/2014/main" id="{304090CA-7F55-474C-9AAD-4FF7C718AB59}"/>
              </a:ext>
            </a:extLst>
          </p:cNvPr>
          <p:cNvSpPr txBox="1"/>
          <p:nvPr/>
        </p:nvSpPr>
        <p:spPr>
          <a:xfrm>
            <a:off x="4473472" y="4068492"/>
            <a:ext cx="914400" cy="914400"/>
          </a:xfrm>
          <a:prstGeom prst="rect">
            <a:avLst/>
          </a:prstGeom>
          <a:noFill/>
        </p:spPr>
        <p:txBody>
          <a:bodyPr wrap="none" lIns="0" tIns="0" rIns="0" bIns="0" rtlCol="0">
            <a:noAutofit/>
          </a:bodyPr>
          <a:lstStyle/>
          <a:p>
            <a:pPr>
              <a:lnSpc>
                <a:spcPts val="2100"/>
              </a:lnSpc>
              <a:spcAft>
                <a:spcPts val="900"/>
              </a:spcAft>
            </a:pPr>
            <a:r>
              <a:rPr lang="en-US" dirty="0">
                <a:solidFill>
                  <a:srgbClr val="0070C0"/>
                </a:solidFill>
                <a:latin typeface="Barlow" pitchFamily="2" charset="77"/>
              </a:rPr>
              <a:t>California</a:t>
            </a:r>
          </a:p>
        </p:txBody>
      </p:sp>
      <p:sp>
        <p:nvSpPr>
          <p:cNvPr id="10" name="TextBox 9">
            <a:extLst>
              <a:ext uri="{FF2B5EF4-FFF2-40B4-BE49-F238E27FC236}">
                <a16:creationId xmlns:a16="http://schemas.microsoft.com/office/drawing/2014/main" id="{4D88BC4D-F99E-F442-BEFD-6D3DDA3EF8E7}"/>
              </a:ext>
            </a:extLst>
          </p:cNvPr>
          <p:cNvSpPr txBox="1"/>
          <p:nvPr/>
        </p:nvSpPr>
        <p:spPr>
          <a:xfrm>
            <a:off x="9782789" y="597402"/>
            <a:ext cx="914400" cy="914400"/>
          </a:xfrm>
          <a:prstGeom prst="rect">
            <a:avLst/>
          </a:prstGeom>
          <a:noFill/>
        </p:spPr>
        <p:txBody>
          <a:bodyPr wrap="none" lIns="0" tIns="0" rIns="0" bIns="0" rtlCol="0">
            <a:noAutofit/>
          </a:bodyPr>
          <a:lstStyle/>
          <a:p>
            <a:pPr>
              <a:lnSpc>
                <a:spcPts val="2100"/>
              </a:lnSpc>
              <a:spcAft>
                <a:spcPts val="900"/>
              </a:spcAft>
            </a:pPr>
            <a:r>
              <a:rPr lang="en-US" dirty="0">
                <a:solidFill>
                  <a:srgbClr val="0070C0"/>
                </a:solidFill>
                <a:latin typeface="Barlow" pitchFamily="2" charset="77"/>
              </a:rPr>
              <a:t>Washington</a:t>
            </a:r>
          </a:p>
        </p:txBody>
      </p:sp>
      <p:sp>
        <p:nvSpPr>
          <p:cNvPr id="11" name="TextBox 10">
            <a:extLst>
              <a:ext uri="{FF2B5EF4-FFF2-40B4-BE49-F238E27FC236}">
                <a16:creationId xmlns:a16="http://schemas.microsoft.com/office/drawing/2014/main" id="{14D414F3-E179-034C-A597-A6564767BEC3}"/>
              </a:ext>
            </a:extLst>
          </p:cNvPr>
          <p:cNvSpPr txBox="1"/>
          <p:nvPr/>
        </p:nvSpPr>
        <p:spPr>
          <a:xfrm>
            <a:off x="9786830" y="4058163"/>
            <a:ext cx="914400" cy="914400"/>
          </a:xfrm>
          <a:prstGeom prst="rect">
            <a:avLst/>
          </a:prstGeom>
          <a:noFill/>
        </p:spPr>
        <p:txBody>
          <a:bodyPr wrap="none" lIns="0" tIns="0" rIns="0" bIns="0" rtlCol="0">
            <a:noAutofit/>
          </a:bodyPr>
          <a:lstStyle/>
          <a:p>
            <a:pPr>
              <a:lnSpc>
                <a:spcPts val="2100"/>
              </a:lnSpc>
              <a:spcAft>
                <a:spcPts val="900"/>
              </a:spcAft>
            </a:pPr>
            <a:r>
              <a:rPr lang="en-US" dirty="0">
                <a:solidFill>
                  <a:srgbClr val="0070C0"/>
                </a:solidFill>
                <a:latin typeface="Barlow" pitchFamily="2" charset="77"/>
              </a:rPr>
              <a:t>Texas</a:t>
            </a:r>
          </a:p>
        </p:txBody>
      </p:sp>
    </p:spTree>
    <p:extLst>
      <p:ext uri="{BB962C8B-B14F-4D97-AF65-F5344CB8AC3E}">
        <p14:creationId xmlns:p14="http://schemas.microsoft.com/office/powerpoint/2010/main" val="34648462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4">
            <a:extLst>
              <a:ext uri="{FF2B5EF4-FFF2-40B4-BE49-F238E27FC236}">
                <a16:creationId xmlns:a16="http://schemas.microsoft.com/office/drawing/2014/main" id="{54BDDF32-1FD0-4F8B-ACB7-85F983E6389B}"/>
              </a:ext>
            </a:extLst>
          </p:cNvPr>
          <p:cNvSpPr>
            <a:spLocks noGrp="1" noChangeArrowheads="1"/>
          </p:cNvSpPr>
          <p:nvPr>
            <p:ph type="ctrTitle"/>
          </p:nvPr>
        </p:nvSpPr>
        <p:spPr bwMode="auto">
          <a:xfrm>
            <a:off x="2933700" y="384175"/>
            <a:ext cx="5989638" cy="18161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dirty="0">
                <a:latin typeface="Baskerville Old Face" panose="02020602080505020303" pitchFamily="18" charset="0"/>
              </a:rPr>
              <a:t>Disclosures of Commercial Interest</a:t>
            </a:r>
          </a:p>
        </p:txBody>
      </p:sp>
      <p:sp>
        <p:nvSpPr>
          <p:cNvPr id="15363" name="Rectangle 5">
            <a:extLst>
              <a:ext uri="{FF2B5EF4-FFF2-40B4-BE49-F238E27FC236}">
                <a16:creationId xmlns:a16="http://schemas.microsoft.com/office/drawing/2014/main" id="{B8D7D4E9-FB0C-4082-8170-B0E9D5C59B71}"/>
              </a:ext>
            </a:extLst>
          </p:cNvPr>
          <p:cNvSpPr>
            <a:spLocks noGrp="1" noChangeArrowheads="1"/>
          </p:cNvSpPr>
          <p:nvPr>
            <p:ph type="subTitle" idx="1"/>
          </p:nvPr>
        </p:nvSpPr>
        <p:spPr>
          <a:xfrm>
            <a:off x="2185989" y="2265364"/>
            <a:ext cx="7743825" cy="2452687"/>
          </a:xfrm>
        </p:spPr>
        <p:txBody>
          <a:bodyPr>
            <a:normAutofit/>
          </a:bodyPr>
          <a:lstStyle/>
          <a:p>
            <a:pPr algn="ctr" eaLnBrk="1" fontAlgn="auto" hangingPunct="1">
              <a:spcAft>
                <a:spcPts val="0"/>
              </a:spcAft>
              <a:defRPr/>
            </a:pPr>
            <a:endParaRPr lang="en-US" altLang="en-US" sz="3200" dirty="0">
              <a:latin typeface="Baskerville Old Face" pitchFamily="18" charset="0"/>
            </a:endParaRPr>
          </a:p>
          <a:p>
            <a:pPr algn="ctr" eaLnBrk="1" fontAlgn="auto" hangingPunct="1">
              <a:spcAft>
                <a:spcPts val="0"/>
              </a:spcAft>
              <a:defRPr/>
            </a:pPr>
            <a:r>
              <a:rPr lang="en-US" altLang="en-US" sz="3200" dirty="0">
                <a:solidFill>
                  <a:schemeClr val="tx1"/>
                </a:solidFill>
                <a:latin typeface="Baskerville Old Face" pitchFamily="18" charset="0"/>
              </a:rPr>
              <a:t>The speakers and planners of this activity </a:t>
            </a:r>
          </a:p>
          <a:p>
            <a:pPr algn="ctr" eaLnBrk="1" fontAlgn="auto" hangingPunct="1">
              <a:spcAft>
                <a:spcPts val="0"/>
              </a:spcAft>
              <a:defRPr/>
            </a:pPr>
            <a:r>
              <a:rPr lang="en-US" altLang="en-US" sz="3200" dirty="0">
                <a:solidFill>
                  <a:schemeClr val="tx1"/>
                </a:solidFill>
                <a:latin typeface="Baskerville Old Face" pitchFamily="18" charset="0"/>
              </a:rPr>
              <a:t>have no relevant financial interests</a:t>
            </a:r>
          </a:p>
          <a:p>
            <a:pPr algn="ctr" eaLnBrk="1" fontAlgn="auto" hangingPunct="1">
              <a:spcAft>
                <a:spcPts val="0"/>
              </a:spcAft>
              <a:defRPr/>
            </a:pPr>
            <a:endParaRPr lang="en-US" altLang="en-US" sz="3200" dirty="0">
              <a:latin typeface="Baskerville Old Face" pitchFamily="18" charset="0"/>
            </a:endParaRPr>
          </a:p>
        </p:txBody>
      </p:sp>
    </p:spTree>
    <p:extLst>
      <p:ext uri="{BB962C8B-B14F-4D97-AF65-F5344CB8AC3E}">
        <p14:creationId xmlns:p14="http://schemas.microsoft.com/office/powerpoint/2010/main" val="13297349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60F575B-7465-234F-B342-96270D4BC8BB}"/>
              </a:ext>
            </a:extLst>
          </p:cNvPr>
          <p:cNvSpPr>
            <a:spLocks noGrp="1"/>
          </p:cNvSpPr>
          <p:nvPr>
            <p:ph type="ftr" sz="quarter" idx="11"/>
          </p:nvPr>
        </p:nvSpPr>
        <p:spPr/>
        <p:txBody>
          <a:bodyPr/>
          <a:lstStyle/>
          <a:p>
            <a:endParaRPr lang="en-US" dirty="0">
              <a:solidFill>
                <a:srgbClr val="00338E"/>
              </a:solidFill>
            </a:endParaRPr>
          </a:p>
        </p:txBody>
      </p:sp>
      <p:sp>
        <p:nvSpPr>
          <p:cNvPr id="3" name="Slide Number Placeholder 2">
            <a:extLst>
              <a:ext uri="{FF2B5EF4-FFF2-40B4-BE49-F238E27FC236}">
                <a16:creationId xmlns:a16="http://schemas.microsoft.com/office/drawing/2014/main" id="{1B51B4AE-44C8-F84C-8933-52D8099AA3E1}"/>
              </a:ext>
            </a:extLst>
          </p:cNvPr>
          <p:cNvSpPr>
            <a:spLocks noGrp="1"/>
          </p:cNvSpPr>
          <p:nvPr>
            <p:ph type="sldNum" sz="quarter" idx="12"/>
          </p:nvPr>
        </p:nvSpPr>
        <p:spPr/>
        <p:txBody>
          <a:bodyPr/>
          <a:lstStyle/>
          <a:p>
            <a:fld id="{4FAB73BC-B049-4115-A692-8D63A059BFB8}" type="slidenum">
              <a:rPr lang="en-US">
                <a:solidFill>
                  <a:srgbClr val="00338E"/>
                </a:solidFill>
              </a:rPr>
              <a:pPr/>
              <a:t>30</a:t>
            </a:fld>
            <a:endParaRPr lang="en-US" dirty="0">
              <a:solidFill>
                <a:srgbClr val="00338E"/>
              </a:solidFill>
            </a:endParaRPr>
          </a:p>
        </p:txBody>
      </p:sp>
      <p:graphicFrame>
        <p:nvGraphicFramePr>
          <p:cNvPr id="4" name="Table 3">
            <a:extLst>
              <a:ext uri="{FF2B5EF4-FFF2-40B4-BE49-F238E27FC236}">
                <a16:creationId xmlns:a16="http://schemas.microsoft.com/office/drawing/2014/main" id="{010E439C-45A1-8E45-A7A6-AA97B7644A9A}"/>
              </a:ext>
            </a:extLst>
          </p:cNvPr>
          <p:cNvGraphicFramePr>
            <a:graphicFrameLocks noGrp="1"/>
          </p:cNvGraphicFramePr>
          <p:nvPr>
            <p:extLst/>
          </p:nvPr>
        </p:nvGraphicFramePr>
        <p:xfrm>
          <a:off x="2134735" y="1330760"/>
          <a:ext cx="8483395" cy="5456941"/>
        </p:xfrm>
        <a:graphic>
          <a:graphicData uri="http://schemas.openxmlformats.org/drawingml/2006/table">
            <a:tbl>
              <a:tblPr>
                <a:tableStyleId>{5C22544A-7EE6-4342-B048-85BDC9FD1C3A}</a:tableStyleId>
              </a:tblPr>
              <a:tblGrid>
                <a:gridCol w="3434539">
                  <a:extLst>
                    <a:ext uri="{9D8B030D-6E8A-4147-A177-3AD203B41FA5}">
                      <a16:colId xmlns:a16="http://schemas.microsoft.com/office/drawing/2014/main" val="1258477948"/>
                    </a:ext>
                  </a:extLst>
                </a:gridCol>
                <a:gridCol w="207874">
                  <a:extLst>
                    <a:ext uri="{9D8B030D-6E8A-4147-A177-3AD203B41FA5}">
                      <a16:colId xmlns:a16="http://schemas.microsoft.com/office/drawing/2014/main" val="631870169"/>
                    </a:ext>
                  </a:extLst>
                </a:gridCol>
                <a:gridCol w="1432763">
                  <a:extLst>
                    <a:ext uri="{9D8B030D-6E8A-4147-A177-3AD203B41FA5}">
                      <a16:colId xmlns:a16="http://schemas.microsoft.com/office/drawing/2014/main" val="2111813405"/>
                    </a:ext>
                  </a:extLst>
                </a:gridCol>
                <a:gridCol w="778694">
                  <a:extLst>
                    <a:ext uri="{9D8B030D-6E8A-4147-A177-3AD203B41FA5}">
                      <a16:colId xmlns:a16="http://schemas.microsoft.com/office/drawing/2014/main" val="2742241123"/>
                    </a:ext>
                  </a:extLst>
                </a:gridCol>
                <a:gridCol w="212688">
                  <a:extLst>
                    <a:ext uri="{9D8B030D-6E8A-4147-A177-3AD203B41FA5}">
                      <a16:colId xmlns:a16="http://schemas.microsoft.com/office/drawing/2014/main" val="3990860650"/>
                    </a:ext>
                  </a:extLst>
                </a:gridCol>
                <a:gridCol w="1499618">
                  <a:extLst>
                    <a:ext uri="{9D8B030D-6E8A-4147-A177-3AD203B41FA5}">
                      <a16:colId xmlns:a16="http://schemas.microsoft.com/office/drawing/2014/main" val="1970225704"/>
                    </a:ext>
                  </a:extLst>
                </a:gridCol>
                <a:gridCol w="917219">
                  <a:extLst>
                    <a:ext uri="{9D8B030D-6E8A-4147-A177-3AD203B41FA5}">
                      <a16:colId xmlns:a16="http://schemas.microsoft.com/office/drawing/2014/main" val="640264340"/>
                    </a:ext>
                  </a:extLst>
                </a:gridCol>
              </a:tblGrid>
              <a:tr h="758366">
                <a:tc>
                  <a:txBody>
                    <a:bodyPr/>
                    <a:lstStyle/>
                    <a:p>
                      <a:pPr algn="l" fontAlgn="b"/>
                      <a:endParaRPr lang="en-US" sz="1200" b="0" i="0" u="none" strike="noStrike" dirty="0">
                        <a:solidFill>
                          <a:schemeClr val="bg1"/>
                        </a:solidFill>
                        <a:effectLst/>
                        <a:latin typeface="Calibri" panose="020F0502020204030204" pitchFamily="34" charset="0"/>
                      </a:endParaRPr>
                    </a:p>
                  </a:txBody>
                  <a:tcPr marL="9525" marR="9525" marT="9525" marB="0" anchor="b">
                    <a:solidFill>
                      <a:schemeClr val="accent1">
                        <a:lumMod val="75000"/>
                      </a:schemeClr>
                    </a:solidFill>
                  </a:tcPr>
                </a:tc>
                <a:tc gridSpan="3">
                  <a:txBody>
                    <a:bodyPr/>
                    <a:lstStyle/>
                    <a:p>
                      <a:pPr algn="ctr" fontAlgn="b"/>
                      <a:r>
                        <a:rPr lang="en-US" sz="2000" b="1" i="0" u="none" strike="noStrike" dirty="0">
                          <a:solidFill>
                            <a:schemeClr val="bg1"/>
                          </a:solidFill>
                          <a:effectLst/>
                          <a:latin typeface="Barlow" pitchFamily="2" charset="77"/>
                        </a:rPr>
                        <a:t>University Medical </a:t>
                      </a:r>
                      <a:r>
                        <a:rPr lang="en-US" sz="2000" b="1" i="0" dirty="0">
                          <a:solidFill>
                            <a:schemeClr val="bg1"/>
                          </a:solidFill>
                          <a:latin typeface="Barlow" pitchFamily="2" charset="77"/>
                        </a:rPr>
                        <a:t>Center</a:t>
                      </a:r>
                      <a:endParaRPr lang="en-US" sz="2000" b="1" i="0" u="none" strike="noStrike" dirty="0">
                        <a:solidFill>
                          <a:schemeClr val="bg1"/>
                        </a:solidFill>
                        <a:effectLst/>
                        <a:latin typeface="Calibri" panose="020F0502020204030204" pitchFamily="34" charset="0"/>
                      </a:endParaRPr>
                    </a:p>
                  </a:txBody>
                  <a:tcPr marL="9525" marR="9525" marT="9525" marB="0" anchor="b">
                    <a:solidFill>
                      <a:schemeClr val="accent1">
                        <a:lumMod val="75000"/>
                      </a:schemeClr>
                    </a:solidFill>
                  </a:tcPr>
                </a:tc>
                <a:tc hMerge="1">
                  <a:txBody>
                    <a:bodyPr/>
                    <a:lstStyle/>
                    <a:p>
                      <a:endParaRPr lang="en-US"/>
                    </a:p>
                  </a:txBody>
                  <a:tcPr/>
                </a:tc>
                <a:tc hMerge="1">
                  <a:txBody>
                    <a:bodyPr/>
                    <a:lstStyle/>
                    <a:p>
                      <a:endParaRPr lang="en-US"/>
                    </a:p>
                  </a:txBody>
                  <a:tcPr/>
                </a:tc>
                <a:tc>
                  <a:txBody>
                    <a:bodyPr/>
                    <a:lstStyle/>
                    <a:p>
                      <a:pPr algn="l" fontAlgn="b"/>
                      <a:endParaRPr lang="en-US" sz="1600" b="1" i="0" u="none" strike="noStrike" dirty="0">
                        <a:solidFill>
                          <a:schemeClr val="bg1"/>
                        </a:solidFill>
                        <a:effectLst/>
                        <a:latin typeface="Calibri" panose="020F0502020204030204" pitchFamily="34" charset="0"/>
                      </a:endParaRPr>
                    </a:p>
                  </a:txBody>
                  <a:tcPr marL="9525" marR="9525" marT="9525" marB="0" anchor="b">
                    <a:solidFill>
                      <a:schemeClr val="accent1">
                        <a:lumMod val="75000"/>
                      </a:schemeClr>
                    </a:solidFill>
                  </a:tcPr>
                </a:tc>
                <a:tc gridSpan="2">
                  <a:txBody>
                    <a:bodyPr/>
                    <a:lstStyle/>
                    <a:p>
                      <a:pPr algn="ctr"/>
                      <a:r>
                        <a:rPr lang="en-US" sz="2000" b="1" i="0" dirty="0">
                          <a:solidFill>
                            <a:schemeClr val="bg1"/>
                          </a:solidFill>
                          <a:latin typeface="Barlow" pitchFamily="2" charset="77"/>
                        </a:rPr>
                        <a:t>Covenant Medical Center</a:t>
                      </a:r>
                      <a:endParaRPr lang="en-US" sz="2000" b="1" dirty="0">
                        <a:solidFill>
                          <a:schemeClr val="bg1"/>
                        </a:solidFill>
                      </a:endParaRPr>
                    </a:p>
                  </a:txBody>
                  <a:tcPr>
                    <a:solidFill>
                      <a:schemeClr val="accent1">
                        <a:lumMod val="75000"/>
                      </a:schemeClr>
                    </a:solidFill>
                  </a:tcPr>
                </a:tc>
                <a:tc hMerge="1">
                  <a:txBody>
                    <a:bodyPr/>
                    <a:lstStyle/>
                    <a:p>
                      <a:endParaRPr lang="en-US"/>
                    </a:p>
                  </a:txBody>
                  <a:tcPr/>
                </a:tc>
                <a:extLst>
                  <a:ext uri="{0D108BD9-81ED-4DB2-BD59-A6C34878D82A}">
                    <a16:rowId xmlns:a16="http://schemas.microsoft.com/office/drawing/2014/main" val="1227070455"/>
                  </a:ext>
                </a:extLst>
              </a:tr>
              <a:tr h="161855">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solidFill>
                      <a:schemeClr val="accent1">
                        <a:lumMod val="75000"/>
                      </a:schemeClr>
                    </a:solidFill>
                  </a:tcPr>
                </a:tc>
                <a:tc rowSpan="15">
                  <a:txBody>
                    <a:bodyPr/>
                    <a:lstStyle/>
                    <a:p>
                      <a:pPr algn="l" fontAlgn="b"/>
                      <a:endParaRPr lang="en-US" sz="1200" b="0" i="0" u="none" strike="noStrike" dirty="0">
                        <a:solidFill>
                          <a:schemeClr val="bg1"/>
                        </a:solidFill>
                        <a:effectLst/>
                        <a:latin typeface="Calibri" panose="020F0502020204030204" pitchFamily="34" charset="0"/>
                      </a:endParaRPr>
                    </a:p>
                  </a:txBody>
                  <a:tcPr marL="9525" marR="9525" marT="9525" marB="0" anchor="b">
                    <a:solidFill>
                      <a:schemeClr val="accent1">
                        <a:lumMod val="75000"/>
                      </a:schemeClr>
                    </a:solidFill>
                  </a:tcPr>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solidFill>
                      <a:schemeClr val="accent1">
                        <a:lumMod val="75000"/>
                      </a:schemeClr>
                    </a:solidFill>
                  </a:tcPr>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solidFill>
                      <a:schemeClr val="accent1">
                        <a:lumMod val="75000"/>
                      </a:schemeClr>
                    </a:solidFill>
                  </a:tcPr>
                </a:tc>
                <a:tc rowSpan="15">
                  <a:txBody>
                    <a:bodyPr/>
                    <a:lstStyle/>
                    <a:p>
                      <a:pPr algn="l" fontAlgn="b"/>
                      <a:endParaRPr lang="en-US" sz="1200" b="0" i="0" u="none" strike="noStrike" dirty="0">
                        <a:solidFill>
                          <a:schemeClr val="bg1"/>
                        </a:solidFill>
                        <a:effectLst/>
                        <a:latin typeface="Calibri" panose="020F0502020204030204" pitchFamily="34" charset="0"/>
                      </a:endParaRPr>
                    </a:p>
                  </a:txBody>
                  <a:tcPr marL="9525" marR="9525" marT="9525" marB="0" anchor="b">
                    <a:solidFill>
                      <a:schemeClr val="accent1">
                        <a:lumMod val="75000"/>
                      </a:schemeClr>
                    </a:solidFill>
                  </a:tcPr>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solidFill>
                      <a:schemeClr val="accent1">
                        <a:lumMod val="75000"/>
                      </a:schemeClr>
                    </a:solidFill>
                  </a:tcPr>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solidFill>
                      <a:schemeClr val="accent1">
                        <a:lumMod val="75000"/>
                      </a:schemeClr>
                    </a:solidFill>
                  </a:tcPr>
                </a:tc>
                <a:extLst>
                  <a:ext uri="{0D108BD9-81ED-4DB2-BD59-A6C34878D82A}">
                    <a16:rowId xmlns:a16="http://schemas.microsoft.com/office/drawing/2014/main" val="1920557110"/>
                  </a:ext>
                </a:extLst>
              </a:tr>
              <a:tr h="349460">
                <a:tc>
                  <a:txBody>
                    <a:bodyPr/>
                    <a:lstStyle/>
                    <a:p>
                      <a:pPr algn="l" fontAlgn="b"/>
                      <a:r>
                        <a:rPr lang="en-US" sz="2000" u="none" strike="noStrike" dirty="0">
                          <a:effectLst/>
                        </a:rPr>
                        <a:t>Med-</a:t>
                      </a:r>
                      <a:r>
                        <a:rPr lang="en-US" sz="2000" u="none" strike="noStrike" dirty="0" err="1">
                          <a:effectLst/>
                        </a:rPr>
                        <a:t>Surg</a:t>
                      </a:r>
                      <a:r>
                        <a:rPr lang="en-US" sz="2000" u="none" strike="noStrike" dirty="0">
                          <a:effectLst/>
                        </a:rPr>
                        <a:t> Floor Patients</a:t>
                      </a:r>
                      <a:endParaRPr lang="en-US" sz="2000" b="0" i="0" u="none" strike="noStrike" dirty="0">
                        <a:solidFill>
                          <a:srgbClr val="000000"/>
                        </a:solidFill>
                        <a:effectLst/>
                        <a:latin typeface="Calibri" panose="020F0502020204030204" pitchFamily="34" charset="0"/>
                      </a:endParaRPr>
                    </a:p>
                  </a:txBody>
                  <a:tcPr marL="9525" marR="9525" marT="9525" marB="0" anchor="b"/>
                </a:tc>
                <a:tc vMerge="1">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solidFill>
                      <a:schemeClr val="tx1"/>
                    </a:solidFill>
                  </a:tcPr>
                </a:tc>
                <a:tc>
                  <a:txBody>
                    <a:bodyPr/>
                    <a:lstStyle/>
                    <a:p>
                      <a:pPr algn="r" fontAlgn="b"/>
                      <a:r>
                        <a:rPr lang="en-US" sz="2000" u="none" strike="noStrike" dirty="0">
                          <a:effectLst/>
                        </a:rPr>
                        <a:t>1234</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tc>
                <a:tc vMerge="1">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2000" u="none" strike="noStrike" dirty="0">
                          <a:effectLst/>
                        </a:rPr>
                        <a:t>1732</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87307875"/>
                  </a:ext>
                </a:extLst>
              </a:tr>
              <a:tr h="222471">
                <a:tc>
                  <a:txBody>
                    <a:bodyPr/>
                    <a:lstStyle/>
                    <a:p>
                      <a:pPr algn="l" fontAlgn="b"/>
                      <a:r>
                        <a:rPr lang="en-US" sz="2000" u="none" strike="noStrike">
                          <a:effectLst/>
                        </a:rPr>
                        <a:t>ICU Patients</a:t>
                      </a:r>
                      <a:endParaRPr lang="en-US" sz="2000" b="0" i="0" u="none" strike="noStrike">
                        <a:solidFill>
                          <a:srgbClr val="000000"/>
                        </a:solidFill>
                        <a:effectLst/>
                        <a:latin typeface="Calibri" panose="020F0502020204030204" pitchFamily="34" charset="0"/>
                      </a:endParaRPr>
                    </a:p>
                  </a:txBody>
                  <a:tcPr marL="9525" marR="9525" marT="9525" marB="0" anchor="b"/>
                </a:tc>
                <a:tc vMerge="1">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solidFill>
                      <a:schemeClr val="tx1"/>
                    </a:solidFill>
                  </a:tcPr>
                </a:tc>
                <a:tc>
                  <a:txBody>
                    <a:bodyPr/>
                    <a:lstStyle/>
                    <a:p>
                      <a:pPr algn="r" fontAlgn="b"/>
                      <a:r>
                        <a:rPr lang="en-US" sz="2000" u="none" strike="noStrike" dirty="0">
                          <a:effectLst/>
                        </a:rPr>
                        <a:t>690</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tc>
                <a:tc vMerge="1">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2000" u="none" strike="noStrike">
                          <a:effectLst/>
                        </a:rPr>
                        <a:t>443</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80813761"/>
                  </a:ext>
                </a:extLst>
              </a:tr>
              <a:tr h="222471">
                <a:tc>
                  <a:txBody>
                    <a:bodyPr/>
                    <a:lstStyle/>
                    <a:p>
                      <a:pPr algn="l" fontAlgn="b"/>
                      <a:r>
                        <a:rPr lang="en-US" sz="2000" u="none" strike="noStrike">
                          <a:effectLst/>
                        </a:rPr>
                        <a:t>Ventilated Patients</a:t>
                      </a:r>
                      <a:endParaRPr lang="en-US" sz="2000" b="0" i="0" u="none" strike="noStrike">
                        <a:solidFill>
                          <a:srgbClr val="000000"/>
                        </a:solidFill>
                        <a:effectLst/>
                        <a:latin typeface="Calibri" panose="020F0502020204030204" pitchFamily="34" charset="0"/>
                      </a:endParaRPr>
                    </a:p>
                  </a:txBody>
                  <a:tcPr marL="9525" marR="9525" marT="9525" marB="0" anchor="b"/>
                </a:tc>
                <a:tc vMerge="1">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solidFill>
                      <a:schemeClr val="tx1"/>
                    </a:solidFill>
                  </a:tcPr>
                </a:tc>
                <a:tc>
                  <a:txBody>
                    <a:bodyPr/>
                    <a:lstStyle/>
                    <a:p>
                      <a:pPr algn="r" fontAlgn="b"/>
                      <a:r>
                        <a:rPr lang="en-US" sz="2000" u="none" strike="noStrike" dirty="0">
                          <a:effectLst/>
                        </a:rPr>
                        <a:t>536</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tc>
                <a:tc vMerge="1">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2000" u="none" strike="noStrike">
                          <a:effectLst/>
                        </a:rPr>
                        <a:t>224</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78715148"/>
                  </a:ext>
                </a:extLst>
              </a:tr>
              <a:tr h="222471">
                <a:tc>
                  <a:txBody>
                    <a:bodyPr/>
                    <a:lstStyle/>
                    <a:p>
                      <a:pPr algn="l" fontAlgn="b"/>
                      <a:r>
                        <a:rPr lang="en-US" sz="2000" u="none" strike="noStrike">
                          <a:effectLst/>
                        </a:rPr>
                        <a:t>Deaths</a:t>
                      </a:r>
                      <a:endParaRPr lang="en-US" sz="2000" b="0" i="0" u="none" strike="noStrike">
                        <a:solidFill>
                          <a:srgbClr val="000000"/>
                        </a:solidFill>
                        <a:effectLst/>
                        <a:latin typeface="Calibri" panose="020F0502020204030204" pitchFamily="34" charset="0"/>
                      </a:endParaRPr>
                    </a:p>
                  </a:txBody>
                  <a:tcPr marL="9525" marR="9525" marT="9525" marB="0" anchor="b"/>
                </a:tc>
                <a:tc vMerge="1">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solidFill>
                      <a:schemeClr val="tx1"/>
                    </a:solidFill>
                  </a:tcPr>
                </a:tc>
                <a:tc>
                  <a:txBody>
                    <a:bodyPr/>
                    <a:lstStyle/>
                    <a:p>
                      <a:pPr algn="r" fontAlgn="b"/>
                      <a:r>
                        <a:rPr lang="en-US" sz="2000" u="none" strike="noStrike" dirty="0">
                          <a:effectLst/>
                        </a:rPr>
                        <a:t>293</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tc>
                <a:tc vMerge="1">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2000" u="none" strike="noStrike">
                          <a:effectLst/>
                        </a:rPr>
                        <a:t>344</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10609059"/>
                  </a:ext>
                </a:extLst>
              </a:tr>
              <a:tr h="222471">
                <a:tc>
                  <a:txBody>
                    <a:bodyPr/>
                    <a:lstStyle/>
                    <a:p>
                      <a:pPr algn="l" fontAlgn="b"/>
                      <a:endParaRPr lang="en-US" sz="2000" b="0" i="0" u="none" strike="noStrike">
                        <a:solidFill>
                          <a:srgbClr val="000000"/>
                        </a:solidFill>
                        <a:effectLst/>
                        <a:latin typeface="Calibri" panose="020F0502020204030204" pitchFamily="34" charset="0"/>
                      </a:endParaRPr>
                    </a:p>
                  </a:txBody>
                  <a:tcPr marL="9525" marR="9525" marT="9525" marB="0" anchor="b"/>
                </a:tc>
                <a:tc vMerge="1">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solidFill>
                      <a:schemeClr val="tx1"/>
                    </a:solidFill>
                  </a:tcPr>
                </a:tc>
                <a:tc>
                  <a:txBody>
                    <a:bodyPr/>
                    <a:lstStyle/>
                    <a:p>
                      <a:pPr algn="l" fontAlgn="b"/>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tc>
                <a:tc vMerge="1">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2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0461954"/>
                  </a:ext>
                </a:extLst>
              </a:tr>
              <a:tr h="402204">
                <a:tc>
                  <a:txBody>
                    <a:bodyPr/>
                    <a:lstStyle/>
                    <a:p>
                      <a:pPr algn="ctr" fontAlgn="b"/>
                      <a:r>
                        <a:rPr lang="en-US" sz="2000" u="none" strike="noStrike" dirty="0">
                          <a:solidFill>
                            <a:schemeClr val="bg1"/>
                          </a:solidFill>
                          <a:effectLst/>
                        </a:rPr>
                        <a:t>Total Number of Covid-19 Patients Treated</a:t>
                      </a:r>
                      <a:endParaRPr lang="en-US" sz="2000" b="0" i="0" u="none" strike="noStrike" dirty="0">
                        <a:solidFill>
                          <a:schemeClr val="bg1"/>
                        </a:solidFill>
                        <a:effectLst/>
                        <a:latin typeface="Calibri" panose="020F0502020204030204" pitchFamily="34" charset="0"/>
                      </a:endParaRPr>
                    </a:p>
                  </a:txBody>
                  <a:tcPr marL="9525" marR="9525" marT="9525" marB="0" anchor="b">
                    <a:solidFill>
                      <a:schemeClr val="accent1">
                        <a:lumMod val="75000"/>
                      </a:schemeClr>
                    </a:solidFill>
                  </a:tcPr>
                </a:tc>
                <a:tc vMerge="1">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solidFill>
                      <a:schemeClr val="tx1"/>
                    </a:solidFill>
                  </a:tcPr>
                </a:tc>
                <a:tc>
                  <a:txBody>
                    <a:bodyPr/>
                    <a:lstStyle/>
                    <a:p>
                      <a:pPr algn="r" fontAlgn="b"/>
                      <a:r>
                        <a:rPr lang="en-US" sz="2000" u="none" strike="noStrike" dirty="0">
                          <a:solidFill>
                            <a:schemeClr val="bg1"/>
                          </a:solidFill>
                          <a:effectLst/>
                        </a:rPr>
                        <a:t>1924</a:t>
                      </a:r>
                      <a:endParaRPr lang="en-US" sz="2000" b="0" i="0" u="none" strike="noStrike" dirty="0">
                        <a:solidFill>
                          <a:schemeClr val="bg1"/>
                        </a:solidFill>
                        <a:effectLst/>
                        <a:latin typeface="Calibri" panose="020F0502020204030204" pitchFamily="34" charset="0"/>
                      </a:endParaRPr>
                    </a:p>
                  </a:txBody>
                  <a:tcPr marL="9525" marR="9525" marT="9525" marB="0" anchor="b">
                    <a:solidFill>
                      <a:schemeClr val="accent1">
                        <a:lumMod val="75000"/>
                      </a:schemeClr>
                    </a:solidFill>
                  </a:tcPr>
                </a:tc>
                <a:tc>
                  <a:txBody>
                    <a:bodyPr/>
                    <a:lstStyle/>
                    <a:p>
                      <a:pPr algn="l" fontAlgn="b"/>
                      <a:endParaRPr lang="en-US" sz="1400" b="0" i="0" u="none" strike="noStrike" dirty="0">
                        <a:solidFill>
                          <a:schemeClr val="bg1"/>
                        </a:solidFill>
                        <a:effectLst/>
                        <a:latin typeface="Calibri" panose="020F0502020204030204" pitchFamily="34" charset="0"/>
                      </a:endParaRPr>
                    </a:p>
                  </a:txBody>
                  <a:tcPr marL="9525" marR="9525" marT="9525" marB="0" anchor="b">
                    <a:solidFill>
                      <a:schemeClr val="accent1">
                        <a:lumMod val="75000"/>
                      </a:schemeClr>
                    </a:solidFill>
                  </a:tcPr>
                </a:tc>
                <a:tc vMerge="1">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2000" u="none" strike="noStrike" dirty="0">
                          <a:solidFill>
                            <a:schemeClr val="bg1"/>
                          </a:solidFill>
                          <a:effectLst/>
                        </a:rPr>
                        <a:t>2175</a:t>
                      </a:r>
                      <a:endParaRPr lang="en-US" sz="2000" b="0" i="0" u="none" strike="noStrike" dirty="0">
                        <a:solidFill>
                          <a:schemeClr val="bg1"/>
                        </a:solidFill>
                        <a:effectLst/>
                        <a:latin typeface="Calibri" panose="020F0502020204030204" pitchFamily="34" charset="0"/>
                      </a:endParaRPr>
                    </a:p>
                  </a:txBody>
                  <a:tcPr marL="9525" marR="9525" marT="9525" marB="0" anchor="b">
                    <a:solidFill>
                      <a:schemeClr val="accent1">
                        <a:lumMod val="75000"/>
                      </a:schemeClr>
                    </a:solidFill>
                  </a:tcPr>
                </a:tc>
                <a:tc>
                  <a:txBody>
                    <a:bodyPr/>
                    <a:lstStyle/>
                    <a:p>
                      <a:pPr algn="l" fontAlgn="b"/>
                      <a:endParaRPr lang="en-US" sz="1200" b="0" i="0" u="none" strike="noStrike" dirty="0">
                        <a:solidFill>
                          <a:schemeClr val="bg1"/>
                        </a:solidFill>
                        <a:effectLst/>
                        <a:latin typeface="Calibri" panose="020F0502020204030204" pitchFamily="34" charset="0"/>
                      </a:endParaRPr>
                    </a:p>
                  </a:txBody>
                  <a:tcPr marL="9525" marR="9525" marT="9525" marB="0" anchor="b">
                    <a:solidFill>
                      <a:schemeClr val="accent1">
                        <a:lumMod val="75000"/>
                      </a:schemeClr>
                    </a:solidFill>
                  </a:tcPr>
                </a:tc>
                <a:extLst>
                  <a:ext uri="{0D108BD9-81ED-4DB2-BD59-A6C34878D82A}">
                    <a16:rowId xmlns:a16="http://schemas.microsoft.com/office/drawing/2014/main" val="808028887"/>
                  </a:ext>
                </a:extLst>
              </a:tr>
              <a:tr h="222471">
                <a:tc>
                  <a:txBody>
                    <a:bodyPr/>
                    <a:lstStyle/>
                    <a:p>
                      <a:pPr algn="l" fontAlgn="b"/>
                      <a:endParaRPr lang="en-US" sz="2000" b="0" i="0" u="none" strike="noStrike">
                        <a:solidFill>
                          <a:srgbClr val="000000"/>
                        </a:solidFill>
                        <a:effectLst/>
                        <a:latin typeface="Calibri" panose="020F0502020204030204" pitchFamily="34" charset="0"/>
                      </a:endParaRPr>
                    </a:p>
                  </a:txBody>
                  <a:tcPr marL="9525" marR="9525" marT="9525" marB="0" anchor="b"/>
                </a:tc>
                <a:tc vMerge="1">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solidFill>
                      <a:schemeClr val="tx1"/>
                    </a:solidFill>
                  </a:tcPr>
                </a:tc>
                <a:tc>
                  <a:txBody>
                    <a:bodyPr/>
                    <a:lstStyle/>
                    <a:p>
                      <a:pPr algn="l" fontAlgn="b"/>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tc>
                <a:tc vMerge="1">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US" sz="12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68680705"/>
                  </a:ext>
                </a:extLst>
              </a:tr>
              <a:tr h="222471">
                <a:tc>
                  <a:txBody>
                    <a:bodyPr/>
                    <a:lstStyle/>
                    <a:p>
                      <a:pPr algn="l" fontAlgn="b"/>
                      <a:r>
                        <a:rPr lang="en-US" sz="2000" u="none" strike="noStrike">
                          <a:effectLst/>
                        </a:rPr>
                        <a:t>% of patients in ICU</a:t>
                      </a:r>
                      <a:endParaRPr lang="en-US" sz="2000" b="0" i="0" u="none" strike="noStrike">
                        <a:solidFill>
                          <a:srgbClr val="000000"/>
                        </a:solidFill>
                        <a:effectLst/>
                        <a:latin typeface="Calibri" panose="020F0502020204030204" pitchFamily="34" charset="0"/>
                      </a:endParaRPr>
                    </a:p>
                  </a:txBody>
                  <a:tcPr marL="9525" marR="9525" marT="9525" marB="0" anchor="b"/>
                </a:tc>
                <a:tc vMerge="1">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solidFill>
                      <a:schemeClr val="tx1"/>
                    </a:solidFill>
                  </a:tcPr>
                </a:tc>
                <a:tc>
                  <a:txBody>
                    <a:bodyPr/>
                    <a:lstStyle/>
                    <a:p>
                      <a:pPr algn="r" fontAlgn="b"/>
                      <a:r>
                        <a:rPr lang="en-US" sz="2000" u="none" strike="noStrike" dirty="0">
                          <a:effectLst/>
                        </a:rPr>
                        <a:t>35.8</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tc>
                <a:tc vMerge="1">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2000" u="none" strike="noStrike">
                          <a:effectLst/>
                        </a:rPr>
                        <a:t>20.36</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17188586"/>
                  </a:ext>
                </a:extLst>
              </a:tr>
              <a:tr h="0">
                <a:tc>
                  <a:txBody>
                    <a:bodyPr/>
                    <a:lstStyle/>
                    <a:p>
                      <a:pPr algn="l" fontAlgn="b"/>
                      <a:r>
                        <a:rPr lang="en-US" sz="2000" u="none" strike="noStrike">
                          <a:effectLst/>
                        </a:rPr>
                        <a:t>% of patients on Vents</a:t>
                      </a:r>
                      <a:endParaRPr lang="en-US" sz="2000" b="0" i="0" u="none" strike="noStrike">
                        <a:solidFill>
                          <a:srgbClr val="000000"/>
                        </a:solidFill>
                        <a:effectLst/>
                        <a:latin typeface="Calibri" panose="020F0502020204030204" pitchFamily="34" charset="0"/>
                      </a:endParaRPr>
                    </a:p>
                  </a:txBody>
                  <a:tcPr marL="9525" marR="9525" marT="9525" marB="0" anchor="b"/>
                </a:tc>
                <a:tc vMerge="1">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solidFill>
                      <a:schemeClr val="tx1"/>
                    </a:solidFill>
                  </a:tcPr>
                </a:tc>
                <a:tc>
                  <a:txBody>
                    <a:bodyPr/>
                    <a:lstStyle/>
                    <a:p>
                      <a:pPr algn="r" fontAlgn="b"/>
                      <a:r>
                        <a:rPr lang="en-US" sz="2000" u="none" strike="noStrike" dirty="0">
                          <a:effectLst/>
                        </a:rPr>
                        <a:t>27.8</a:t>
                      </a:r>
                      <a:endParaRPr lang="en-US" sz="20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tc>
                <a:tc vMerge="1">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2000" u="none" strike="noStrike">
                          <a:effectLst/>
                        </a:rPr>
                        <a:t>10.3</a:t>
                      </a:r>
                      <a:endParaRPr lang="en-US" sz="20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61413873"/>
                  </a:ext>
                </a:extLst>
              </a:tr>
              <a:tr h="289797">
                <a:tc>
                  <a:txBody>
                    <a:bodyPr/>
                    <a:lstStyle/>
                    <a:p>
                      <a:pPr algn="l" fontAlgn="b"/>
                      <a:r>
                        <a:rPr lang="en-US" sz="2000" u="none" strike="noStrike" dirty="0">
                          <a:solidFill>
                            <a:schemeClr val="bg1"/>
                          </a:solidFill>
                          <a:effectLst/>
                        </a:rPr>
                        <a:t>% of Deaths</a:t>
                      </a:r>
                      <a:endParaRPr lang="en-US" sz="2000" b="0" i="0" u="none" strike="noStrike" dirty="0">
                        <a:solidFill>
                          <a:schemeClr val="bg1"/>
                        </a:solidFill>
                        <a:effectLst/>
                        <a:latin typeface="Calibri" panose="020F0502020204030204" pitchFamily="34" charset="0"/>
                      </a:endParaRPr>
                    </a:p>
                  </a:txBody>
                  <a:tcPr marL="9525" marR="9525" marT="9525" marB="0" anchor="b">
                    <a:solidFill>
                      <a:schemeClr val="accent1">
                        <a:lumMod val="75000"/>
                      </a:schemeClr>
                    </a:solidFill>
                  </a:tcPr>
                </a:tc>
                <a:tc vMerge="1">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solidFill>
                      <a:schemeClr val="tx1"/>
                    </a:solidFill>
                  </a:tcPr>
                </a:tc>
                <a:tc>
                  <a:txBody>
                    <a:bodyPr/>
                    <a:lstStyle/>
                    <a:p>
                      <a:pPr algn="r" fontAlgn="b"/>
                      <a:r>
                        <a:rPr lang="en-US" sz="2000" u="none" strike="noStrike" dirty="0">
                          <a:solidFill>
                            <a:schemeClr val="bg1"/>
                          </a:solidFill>
                          <a:effectLst/>
                        </a:rPr>
                        <a:t>15.23</a:t>
                      </a:r>
                      <a:endParaRPr lang="en-US" sz="2000" b="0" i="0" u="none" strike="noStrike" dirty="0">
                        <a:solidFill>
                          <a:schemeClr val="bg1"/>
                        </a:solidFill>
                        <a:effectLst/>
                        <a:latin typeface="Calibri" panose="020F0502020204030204" pitchFamily="34" charset="0"/>
                      </a:endParaRPr>
                    </a:p>
                  </a:txBody>
                  <a:tcPr marL="9525" marR="9525" marT="9525" marB="0" anchor="b">
                    <a:solidFill>
                      <a:schemeClr val="accent1">
                        <a:lumMod val="75000"/>
                      </a:schemeClr>
                    </a:solidFill>
                  </a:tcPr>
                </a:tc>
                <a:tc>
                  <a:txBody>
                    <a:bodyPr/>
                    <a:lstStyle/>
                    <a:p>
                      <a:pPr algn="l" fontAlgn="b"/>
                      <a:endParaRPr lang="en-US" sz="1400" b="0" i="0" u="none" strike="noStrike" dirty="0">
                        <a:solidFill>
                          <a:schemeClr val="bg1"/>
                        </a:solidFill>
                        <a:effectLst/>
                        <a:latin typeface="Calibri" panose="020F0502020204030204" pitchFamily="34" charset="0"/>
                      </a:endParaRPr>
                    </a:p>
                  </a:txBody>
                  <a:tcPr marL="9525" marR="9525" marT="9525" marB="0" anchor="b">
                    <a:solidFill>
                      <a:schemeClr val="accent1">
                        <a:lumMod val="75000"/>
                      </a:schemeClr>
                    </a:solidFill>
                  </a:tcPr>
                </a:tc>
                <a:tc vMerge="1">
                  <a:txBody>
                    <a:bodyPr/>
                    <a:lstStyle/>
                    <a:p>
                      <a:pPr algn="l" fontAlgn="b"/>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2000" u="none" strike="noStrike" dirty="0">
                          <a:solidFill>
                            <a:schemeClr val="bg1"/>
                          </a:solidFill>
                          <a:effectLst/>
                        </a:rPr>
                        <a:t>15.8</a:t>
                      </a:r>
                      <a:endParaRPr lang="en-US" sz="2000" b="0" i="0" u="none" strike="noStrike" dirty="0">
                        <a:solidFill>
                          <a:schemeClr val="bg1"/>
                        </a:solidFill>
                        <a:effectLst/>
                        <a:latin typeface="Calibri" panose="020F0502020204030204" pitchFamily="34" charset="0"/>
                      </a:endParaRPr>
                    </a:p>
                  </a:txBody>
                  <a:tcPr marL="9525" marR="9525" marT="9525" marB="0" anchor="b">
                    <a:solidFill>
                      <a:schemeClr val="accent1">
                        <a:lumMod val="75000"/>
                      </a:schemeClr>
                    </a:solidFill>
                  </a:tcPr>
                </a:tc>
                <a:tc>
                  <a:txBody>
                    <a:bodyPr/>
                    <a:lstStyle/>
                    <a:p>
                      <a:pPr algn="l" fontAlgn="b"/>
                      <a:endParaRPr lang="en-US" sz="1200" b="0" i="0" u="none" strike="noStrike" dirty="0">
                        <a:solidFill>
                          <a:schemeClr val="bg1"/>
                        </a:solidFill>
                        <a:effectLst/>
                        <a:latin typeface="Calibri" panose="020F0502020204030204" pitchFamily="34" charset="0"/>
                      </a:endParaRPr>
                    </a:p>
                  </a:txBody>
                  <a:tcPr marL="9525" marR="9525" marT="9525" marB="0" anchor="b">
                    <a:solidFill>
                      <a:schemeClr val="accent1">
                        <a:lumMod val="75000"/>
                      </a:schemeClr>
                    </a:solidFill>
                  </a:tcPr>
                </a:tc>
                <a:extLst>
                  <a:ext uri="{0D108BD9-81ED-4DB2-BD59-A6C34878D82A}">
                    <a16:rowId xmlns:a16="http://schemas.microsoft.com/office/drawing/2014/main" val="3267444563"/>
                  </a:ext>
                </a:extLst>
              </a:tr>
              <a:tr h="187344">
                <a:tc>
                  <a:txBody>
                    <a:bodyPr/>
                    <a:lstStyle/>
                    <a:p>
                      <a:pPr algn="l" fontAlgn="b"/>
                      <a:endParaRPr lang="en-US" sz="1200" b="0" i="0" u="none" strike="noStrike">
                        <a:solidFill>
                          <a:srgbClr val="000000"/>
                        </a:solidFill>
                        <a:effectLst/>
                        <a:latin typeface="Calibri" panose="020F0502020204030204" pitchFamily="34" charset="0"/>
                      </a:endParaRPr>
                    </a:p>
                  </a:txBody>
                  <a:tcPr marL="9525" marR="9525" marT="9525" marB="0" anchor="b"/>
                </a:tc>
                <a:tc vMerge="1">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solidFill>
                      <a:schemeClr val="tx1"/>
                    </a:solidFill>
                  </a:tcPr>
                </a:tc>
                <a:tc>
                  <a:txBody>
                    <a:bodyPr/>
                    <a:lstStyle/>
                    <a:p>
                      <a:pPr algn="l" fontAlgn="b"/>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tc>
                <a:tc vMerge="1">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2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525448982"/>
                  </a:ext>
                </a:extLst>
              </a:tr>
              <a:tr h="187344">
                <a:tc>
                  <a:txBody>
                    <a:bodyPr/>
                    <a:lstStyle/>
                    <a:p>
                      <a:pPr algn="l" fontAlgn="b"/>
                      <a:endParaRPr lang="en-US" sz="1200" b="0" i="0" u="none" strike="noStrike">
                        <a:solidFill>
                          <a:srgbClr val="000000"/>
                        </a:solidFill>
                        <a:effectLst/>
                        <a:latin typeface="Calibri" panose="020F0502020204030204" pitchFamily="34" charset="0"/>
                      </a:endParaRPr>
                    </a:p>
                  </a:txBody>
                  <a:tcPr marL="9525" marR="9525" marT="9525" marB="0" anchor="b"/>
                </a:tc>
                <a:tc vMerge="1">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solidFill>
                      <a:schemeClr val="tx1"/>
                    </a:solidFill>
                  </a:tcPr>
                </a:tc>
                <a:tc>
                  <a:txBody>
                    <a:bodyPr/>
                    <a:lstStyle/>
                    <a:p>
                      <a:pPr algn="l" fontAlgn="b"/>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tc>
                <a:tc vMerge="1">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2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16075795"/>
                  </a:ext>
                </a:extLst>
              </a:tr>
              <a:tr h="187344">
                <a:tc>
                  <a:txBody>
                    <a:bodyPr/>
                    <a:lstStyle/>
                    <a:p>
                      <a:pPr algn="l" fontAlgn="b"/>
                      <a:endParaRPr lang="en-US" sz="1200" b="0" i="0" u="none" strike="noStrike">
                        <a:solidFill>
                          <a:srgbClr val="000000"/>
                        </a:solidFill>
                        <a:effectLst/>
                        <a:latin typeface="Calibri" panose="020F0502020204030204" pitchFamily="34" charset="0"/>
                      </a:endParaRPr>
                    </a:p>
                  </a:txBody>
                  <a:tcPr marL="9525" marR="9525" marT="9525" marB="0" anchor="b"/>
                </a:tc>
                <a:tc vMerge="1">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solidFill>
                      <a:schemeClr val="tx1"/>
                    </a:solidFill>
                  </a:tcPr>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tc>
                <a:tc vMerge="1">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2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61275491"/>
                  </a:ext>
                </a:extLst>
              </a:tr>
              <a:tr h="187344">
                <a:tc>
                  <a:txBody>
                    <a:bodyPr/>
                    <a:lstStyle/>
                    <a:p>
                      <a:pPr algn="l" fontAlgn="b"/>
                      <a:endParaRPr lang="en-US" sz="1200" b="0" i="0" u="none" strike="noStrike">
                        <a:solidFill>
                          <a:srgbClr val="000000"/>
                        </a:solidFill>
                        <a:effectLst/>
                        <a:latin typeface="Calibri" panose="020F0502020204030204" pitchFamily="34" charset="0"/>
                      </a:endParaRPr>
                    </a:p>
                  </a:txBody>
                  <a:tcPr marL="9525" marR="9525" marT="9525" marB="0" anchor="b"/>
                </a:tc>
                <a:tc vMerge="1">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solidFill>
                      <a:schemeClr val="tx1"/>
                    </a:solidFill>
                  </a:tcPr>
                </a:tc>
                <a:tc>
                  <a:txBody>
                    <a:bodyPr/>
                    <a:lstStyle/>
                    <a:p>
                      <a:pPr algn="l" fontAlgn="b"/>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endParaRPr lang="en-US" sz="1200" b="0" i="0" u="none" strike="noStrike">
                        <a:solidFill>
                          <a:srgbClr val="000000"/>
                        </a:solidFill>
                        <a:effectLst/>
                        <a:latin typeface="Calibri" panose="020F0502020204030204" pitchFamily="34" charset="0"/>
                      </a:endParaRPr>
                    </a:p>
                  </a:txBody>
                  <a:tcPr marL="9525" marR="9525" marT="9525" marB="0" anchor="b"/>
                </a:tc>
                <a:tc vMerge="1">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735328571"/>
                  </a:ext>
                </a:extLst>
              </a:tr>
              <a:tr h="245889">
                <a:tc gridSpan="7">
                  <a:txBody>
                    <a:bodyPr/>
                    <a:lstStyle/>
                    <a:p>
                      <a:pPr algn="ctr" fontAlgn="b"/>
                      <a:r>
                        <a:rPr lang="en-US" sz="1600" u="none" strike="noStrike" dirty="0">
                          <a:effectLst/>
                        </a:rPr>
                        <a:t>These Figures are through 12-7-2020</a:t>
                      </a:r>
                      <a:endParaRPr lang="en-US" sz="1600" b="0" i="0" u="none" strike="noStrike" dirty="0">
                        <a:solidFill>
                          <a:srgbClr val="000000"/>
                        </a:solidFill>
                        <a:effectLst/>
                        <a:latin typeface="Calibri" panose="020F0502020204030204" pitchFamily="34" charset="0"/>
                      </a:endParaRPr>
                    </a:p>
                  </a:txBody>
                  <a:tcPr marL="9525" marR="9525" marT="9525" marB="0" anchor="b"/>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6658898"/>
                  </a:ext>
                </a:extLst>
              </a:tr>
            </a:tbl>
          </a:graphicData>
        </a:graphic>
      </p:graphicFrame>
      <p:sp>
        <p:nvSpPr>
          <p:cNvPr id="5" name="TextBox 4">
            <a:extLst>
              <a:ext uri="{FF2B5EF4-FFF2-40B4-BE49-F238E27FC236}">
                <a16:creationId xmlns:a16="http://schemas.microsoft.com/office/drawing/2014/main" id="{988E6D0A-0DA3-F04F-9EDF-F90D4056C9C3}"/>
              </a:ext>
            </a:extLst>
          </p:cNvPr>
          <p:cNvSpPr txBox="1"/>
          <p:nvPr/>
        </p:nvSpPr>
        <p:spPr>
          <a:xfrm>
            <a:off x="5867998" y="372642"/>
            <a:ext cx="914400" cy="914400"/>
          </a:xfrm>
          <a:prstGeom prst="rect">
            <a:avLst/>
          </a:prstGeom>
          <a:noFill/>
        </p:spPr>
        <p:txBody>
          <a:bodyPr wrap="none" lIns="0" tIns="0" rIns="0" bIns="0" rtlCol="0">
            <a:noAutofit/>
          </a:bodyPr>
          <a:lstStyle/>
          <a:p>
            <a:pPr algn="ctr">
              <a:lnSpc>
                <a:spcPts val="2100"/>
              </a:lnSpc>
              <a:spcAft>
                <a:spcPts val="900"/>
              </a:spcAft>
            </a:pPr>
            <a:r>
              <a:rPr lang="en-US" sz="2400" b="1" dirty="0">
                <a:solidFill>
                  <a:srgbClr val="000000"/>
                </a:solidFill>
                <a:latin typeface="Barlow" pitchFamily="2" charset="77"/>
              </a:rPr>
              <a:t>Comparison of Cases, Treatment, and Outcomes Of Covid-19 Patients </a:t>
            </a:r>
          </a:p>
          <a:p>
            <a:pPr algn="ctr">
              <a:lnSpc>
                <a:spcPts val="2100"/>
              </a:lnSpc>
              <a:spcAft>
                <a:spcPts val="900"/>
              </a:spcAft>
            </a:pPr>
            <a:r>
              <a:rPr lang="en-US" sz="2400" b="1" dirty="0">
                <a:solidFill>
                  <a:srgbClr val="000000"/>
                </a:solidFill>
                <a:latin typeface="Barlow" pitchFamily="2" charset="77"/>
              </a:rPr>
              <a:t>at an Academic Medical </a:t>
            </a:r>
            <a:r>
              <a:rPr lang="en-US" sz="2400" b="1" dirty="0" err="1">
                <a:solidFill>
                  <a:srgbClr val="000000"/>
                </a:solidFill>
                <a:latin typeface="Barlow" pitchFamily="2" charset="77"/>
              </a:rPr>
              <a:t>Center,and</a:t>
            </a:r>
            <a:r>
              <a:rPr lang="en-US" sz="2400" b="1" dirty="0">
                <a:solidFill>
                  <a:srgbClr val="000000"/>
                </a:solidFill>
                <a:latin typeface="Barlow" pitchFamily="2" charset="77"/>
              </a:rPr>
              <a:t> at a Covenant Medical Center in Lubbock, Texas</a:t>
            </a:r>
          </a:p>
        </p:txBody>
      </p:sp>
    </p:spTree>
    <p:extLst>
      <p:ext uri="{BB962C8B-B14F-4D97-AF65-F5344CB8AC3E}">
        <p14:creationId xmlns:p14="http://schemas.microsoft.com/office/powerpoint/2010/main" val="34663817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5F75915-083D-4EA5-8B77-DEA76FF8363D}"/>
              </a:ext>
            </a:extLst>
          </p:cNvPr>
          <p:cNvPicPr>
            <a:picLocks noChangeAspect="1"/>
          </p:cNvPicPr>
          <p:nvPr/>
        </p:nvPicPr>
        <p:blipFill>
          <a:blip r:embed="rId2"/>
          <a:stretch>
            <a:fillRect/>
          </a:stretch>
        </p:blipFill>
        <p:spPr>
          <a:xfrm>
            <a:off x="523875" y="0"/>
            <a:ext cx="11144250" cy="6858000"/>
          </a:xfrm>
          <a:prstGeom prst="rect">
            <a:avLst/>
          </a:prstGeom>
        </p:spPr>
      </p:pic>
      <p:sp>
        <p:nvSpPr>
          <p:cNvPr id="6" name="Rectangle 5">
            <a:extLst>
              <a:ext uri="{FF2B5EF4-FFF2-40B4-BE49-F238E27FC236}">
                <a16:creationId xmlns:a16="http://schemas.microsoft.com/office/drawing/2014/main" id="{0976C035-52ED-4D68-8D1F-76A0313FA1BA}"/>
              </a:ext>
            </a:extLst>
          </p:cNvPr>
          <p:cNvSpPr/>
          <p:nvPr/>
        </p:nvSpPr>
        <p:spPr>
          <a:xfrm>
            <a:off x="4903747" y="553317"/>
            <a:ext cx="4262705"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338E"/>
                </a:solidFill>
                <a:effectLst/>
                <a:uLnTx/>
                <a:uFillTx/>
                <a:latin typeface="Lora" pitchFamily="2" charset="77"/>
                <a:ea typeface="+mn-ea"/>
                <a:cs typeface="+mn-cs"/>
              </a:rPr>
              <a:t>Data from patients admitted through 12.11.2020</a:t>
            </a:r>
            <a:endPar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1048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C3A6086-E7B0-4167-87F0-5A11EE25879A}"/>
              </a:ext>
            </a:extLst>
          </p:cNvPr>
          <p:cNvPicPr>
            <a:picLocks noChangeAspect="1"/>
          </p:cNvPicPr>
          <p:nvPr/>
        </p:nvPicPr>
        <p:blipFill>
          <a:blip r:embed="rId2"/>
          <a:stretch>
            <a:fillRect/>
          </a:stretch>
        </p:blipFill>
        <p:spPr>
          <a:xfrm>
            <a:off x="523875" y="0"/>
            <a:ext cx="11144250" cy="6858000"/>
          </a:xfrm>
          <a:prstGeom prst="rect">
            <a:avLst/>
          </a:prstGeom>
        </p:spPr>
      </p:pic>
      <p:sp>
        <p:nvSpPr>
          <p:cNvPr id="5" name="Rectangle 4">
            <a:extLst>
              <a:ext uri="{FF2B5EF4-FFF2-40B4-BE49-F238E27FC236}">
                <a16:creationId xmlns:a16="http://schemas.microsoft.com/office/drawing/2014/main" id="{37F96ECE-096D-4D94-AE69-5880923CC704}"/>
              </a:ext>
            </a:extLst>
          </p:cNvPr>
          <p:cNvSpPr/>
          <p:nvPr/>
        </p:nvSpPr>
        <p:spPr>
          <a:xfrm>
            <a:off x="4903747" y="553317"/>
            <a:ext cx="4262705"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338E"/>
                </a:solidFill>
                <a:effectLst/>
                <a:uLnTx/>
                <a:uFillTx/>
                <a:latin typeface="Lora" pitchFamily="2" charset="77"/>
                <a:ea typeface="+mn-ea"/>
                <a:cs typeface="+mn-cs"/>
              </a:rPr>
              <a:t>Data from patients admitted through 12.11.2020</a:t>
            </a:r>
            <a:endPar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45949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812007-3984-46E7-930A-C7B29C2FCF5D}"/>
              </a:ext>
            </a:extLst>
          </p:cNvPr>
          <p:cNvSpPr>
            <a:spLocks noGrp="1"/>
          </p:cNvSpPr>
          <p:nvPr>
            <p:ph type="title"/>
          </p:nvPr>
        </p:nvSpPr>
        <p:spPr>
          <a:xfrm>
            <a:off x="462877" y="196218"/>
            <a:ext cx="11266245" cy="876299"/>
          </a:xfrm>
        </p:spPr>
        <p:txBody>
          <a:bodyPr/>
          <a:lstStyle/>
          <a:p>
            <a:r>
              <a:rPr lang="en-US" dirty="0"/>
              <a:t>Do Hispanic patients in TX have a different comorbidity profile than in other regions?</a:t>
            </a:r>
            <a:r>
              <a:rPr lang="en-US" sz="1800" dirty="0"/>
              <a:t> (Data from patients admitted through 12.11.2020)</a:t>
            </a:r>
          </a:p>
        </p:txBody>
      </p:sp>
      <p:pic>
        <p:nvPicPr>
          <p:cNvPr id="25" name="Picture 24">
            <a:extLst>
              <a:ext uri="{FF2B5EF4-FFF2-40B4-BE49-F238E27FC236}">
                <a16:creationId xmlns:a16="http://schemas.microsoft.com/office/drawing/2014/main" id="{D2A2D6CC-3855-4722-A52A-61075E31FE4B}"/>
              </a:ext>
            </a:extLst>
          </p:cNvPr>
          <p:cNvPicPr>
            <a:picLocks noChangeAspect="1"/>
          </p:cNvPicPr>
          <p:nvPr/>
        </p:nvPicPr>
        <p:blipFill>
          <a:blip r:embed="rId2"/>
          <a:stretch>
            <a:fillRect/>
          </a:stretch>
        </p:blipFill>
        <p:spPr>
          <a:xfrm>
            <a:off x="462877" y="1288801"/>
            <a:ext cx="10814723" cy="4280397"/>
          </a:xfrm>
          <a:prstGeom prst="rect">
            <a:avLst/>
          </a:prstGeom>
        </p:spPr>
      </p:pic>
    </p:spTree>
    <p:extLst>
      <p:ext uri="{BB962C8B-B14F-4D97-AF65-F5344CB8AC3E}">
        <p14:creationId xmlns:p14="http://schemas.microsoft.com/office/powerpoint/2010/main" val="40488329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911ED-9C3E-FB43-A8F7-F80D06BC4103}"/>
              </a:ext>
            </a:extLst>
          </p:cNvPr>
          <p:cNvSpPr>
            <a:spLocks noGrp="1"/>
          </p:cNvSpPr>
          <p:nvPr>
            <p:ph type="title"/>
          </p:nvPr>
        </p:nvSpPr>
        <p:spPr/>
        <p:txBody>
          <a:bodyPr/>
          <a:lstStyle/>
          <a:p>
            <a:r>
              <a:rPr lang="en-US" dirty="0"/>
              <a:t>Impact for West Texas</a:t>
            </a:r>
          </a:p>
        </p:txBody>
      </p:sp>
      <p:sp>
        <p:nvSpPr>
          <p:cNvPr id="3" name="Content Placeholder 2">
            <a:extLst>
              <a:ext uri="{FF2B5EF4-FFF2-40B4-BE49-F238E27FC236}">
                <a16:creationId xmlns:a16="http://schemas.microsoft.com/office/drawing/2014/main" id="{E7927177-1D52-1145-A70E-E83084D55E87}"/>
              </a:ext>
            </a:extLst>
          </p:cNvPr>
          <p:cNvSpPr>
            <a:spLocks noGrp="1"/>
          </p:cNvSpPr>
          <p:nvPr>
            <p:ph idx="1"/>
          </p:nvPr>
        </p:nvSpPr>
        <p:spPr/>
        <p:txBody>
          <a:bodyPr/>
          <a:lstStyle/>
          <a:p>
            <a:r>
              <a:rPr lang="en-US" sz="2800" dirty="0"/>
              <a:t>We do live in different environment in the South Plains and are receiving patients from vast distances across our area and the rest of Texas</a:t>
            </a:r>
          </a:p>
          <a:p>
            <a:r>
              <a:rPr lang="en-US" sz="2800" dirty="0"/>
              <a:t>Specialty care in our area (such as the stroke program) demands that patients be transferred to us for complications sustained in other facilities</a:t>
            </a:r>
          </a:p>
          <a:p>
            <a:r>
              <a:rPr lang="en-US" sz="2800" dirty="0"/>
              <a:t>Comparison of mortality statistics between regions cannot be done equitably without taking these parameters into account.</a:t>
            </a:r>
          </a:p>
          <a:p>
            <a:r>
              <a:rPr lang="en-US" sz="2800" dirty="0"/>
              <a:t>We do need to be sensitive to the special susceptibility of our Hispanic patients.</a:t>
            </a:r>
          </a:p>
        </p:txBody>
      </p:sp>
    </p:spTree>
    <p:extLst>
      <p:ext uri="{BB962C8B-B14F-4D97-AF65-F5344CB8AC3E}">
        <p14:creationId xmlns:p14="http://schemas.microsoft.com/office/powerpoint/2010/main" val="28317520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A0263C-C3E1-6144-ADA2-9D030CB1856C}"/>
              </a:ext>
            </a:extLst>
          </p:cNvPr>
          <p:cNvSpPr>
            <a:spLocks noGrp="1"/>
          </p:cNvSpPr>
          <p:nvPr>
            <p:ph type="title"/>
          </p:nvPr>
        </p:nvSpPr>
        <p:spPr/>
        <p:txBody>
          <a:bodyPr/>
          <a:lstStyle/>
          <a:p>
            <a:r>
              <a:rPr lang="en-US" sz="4000" dirty="0"/>
              <a:t>Regional Chief Diversity Officer – Kevin </a:t>
            </a:r>
            <a:r>
              <a:rPr lang="en-US" sz="4000" dirty="0" err="1"/>
              <a:t>McConic</a:t>
            </a:r>
            <a:endParaRPr lang="en-US" sz="4000" dirty="0"/>
          </a:p>
        </p:txBody>
      </p:sp>
      <p:pic>
        <p:nvPicPr>
          <p:cNvPr id="4" name="Content Placeholder 3">
            <a:extLst>
              <a:ext uri="{FF2B5EF4-FFF2-40B4-BE49-F238E27FC236}">
                <a16:creationId xmlns:a16="http://schemas.microsoft.com/office/drawing/2014/main" id="{536094E9-75DB-C347-9D0D-667199469032}"/>
              </a:ext>
            </a:extLst>
          </p:cNvPr>
          <p:cNvPicPr>
            <a:picLocks noGrp="1" noChangeAspect="1"/>
          </p:cNvPicPr>
          <p:nvPr>
            <p:ph idx="1"/>
          </p:nvPr>
        </p:nvPicPr>
        <p:blipFill>
          <a:blip r:embed="rId2"/>
          <a:stretch>
            <a:fillRect/>
          </a:stretch>
        </p:blipFill>
        <p:spPr>
          <a:xfrm>
            <a:off x="1189037" y="1219200"/>
            <a:ext cx="9813926" cy="4906963"/>
          </a:xfrm>
        </p:spPr>
      </p:pic>
    </p:spTree>
    <p:extLst>
      <p:ext uri="{BB962C8B-B14F-4D97-AF65-F5344CB8AC3E}">
        <p14:creationId xmlns:p14="http://schemas.microsoft.com/office/powerpoint/2010/main" val="21147757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776618-2B82-CD49-AEE9-755AA60797D2}"/>
              </a:ext>
            </a:extLst>
          </p:cNvPr>
          <p:cNvSpPr>
            <a:spLocks noGrp="1"/>
          </p:cNvSpPr>
          <p:nvPr>
            <p:ph type="ctrTitle"/>
          </p:nvPr>
        </p:nvSpPr>
        <p:spPr/>
        <p:txBody>
          <a:bodyPr/>
          <a:lstStyle/>
          <a:p>
            <a:r>
              <a:rPr lang="en-US" dirty="0">
                <a:solidFill>
                  <a:schemeClr val="bg1"/>
                </a:solidFill>
                <a:effectLst>
                  <a:outerShdw blurRad="50800" dist="38100" dir="2700000" algn="tl" rotWithShape="0">
                    <a:prstClr val="black">
                      <a:alpha val="40000"/>
                    </a:prstClr>
                  </a:outerShdw>
                </a:effectLst>
              </a:rPr>
              <a:t>New Physician Screening and Mask Replacement Process for CMC</a:t>
            </a:r>
          </a:p>
        </p:txBody>
      </p:sp>
      <p:sp>
        <p:nvSpPr>
          <p:cNvPr id="4" name="Subtitle 3">
            <a:extLst>
              <a:ext uri="{FF2B5EF4-FFF2-40B4-BE49-F238E27FC236}">
                <a16:creationId xmlns:a16="http://schemas.microsoft.com/office/drawing/2014/main" id="{AB19671A-0FCD-9749-9B4D-94ED609DEBE3}"/>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7253322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1F2AB1-09FD-B24B-B704-6C9A30EB6A8C}"/>
              </a:ext>
            </a:extLst>
          </p:cNvPr>
          <p:cNvSpPr>
            <a:spLocks noGrp="1"/>
          </p:cNvSpPr>
          <p:nvPr>
            <p:ph type="title"/>
          </p:nvPr>
        </p:nvSpPr>
        <p:spPr/>
        <p:txBody>
          <a:bodyPr/>
          <a:lstStyle/>
          <a:p>
            <a:r>
              <a:rPr lang="en-US" dirty="0"/>
              <a:t>Physician Dining Room Screening Site</a:t>
            </a:r>
          </a:p>
        </p:txBody>
      </p:sp>
      <p:sp>
        <p:nvSpPr>
          <p:cNvPr id="3" name="Content Placeholder 2">
            <a:extLst>
              <a:ext uri="{FF2B5EF4-FFF2-40B4-BE49-F238E27FC236}">
                <a16:creationId xmlns:a16="http://schemas.microsoft.com/office/drawing/2014/main" id="{0539FE56-5797-234E-B81B-674CBFD29248}"/>
              </a:ext>
            </a:extLst>
          </p:cNvPr>
          <p:cNvSpPr>
            <a:spLocks noGrp="1"/>
          </p:cNvSpPr>
          <p:nvPr>
            <p:ph idx="1"/>
          </p:nvPr>
        </p:nvSpPr>
        <p:spPr/>
        <p:txBody>
          <a:bodyPr/>
          <a:lstStyle/>
          <a:p>
            <a:pPr marL="0" indent="0">
              <a:buNone/>
            </a:pPr>
            <a:r>
              <a:rPr lang="en-US" b="1" u="sng" dirty="0"/>
              <a:t>Do your daily screenings:</a:t>
            </a:r>
            <a:endParaRPr lang="en-US" dirty="0"/>
          </a:p>
          <a:p>
            <a:r>
              <a:rPr lang="en-US" dirty="0"/>
              <a:t>In the </a:t>
            </a:r>
            <a:r>
              <a:rPr lang="en-US" dirty="0">
                <a:solidFill>
                  <a:srgbClr val="FF0000"/>
                </a:solidFill>
                <a:effectLst>
                  <a:outerShdw blurRad="50800" dist="38100" dir="2700000" algn="tl" rotWithShape="0">
                    <a:prstClr val="black">
                      <a:alpha val="40000"/>
                    </a:prstClr>
                  </a:outerShdw>
                </a:effectLst>
              </a:rPr>
              <a:t>Physicians Lounge </a:t>
            </a:r>
            <a:r>
              <a:rPr lang="en-US" dirty="0"/>
              <a:t>- New Dots for the next day will be placed in the physician's lounge at 10pm the night before and will be available for self screening 24 hours a day/7 days a week</a:t>
            </a:r>
          </a:p>
          <a:p>
            <a:r>
              <a:rPr lang="en-US" dirty="0"/>
              <a:t>In the </a:t>
            </a:r>
            <a:r>
              <a:rPr lang="en-US" dirty="0">
                <a:solidFill>
                  <a:srgbClr val="FF0000"/>
                </a:solidFill>
                <a:effectLst>
                  <a:outerShdw blurRad="50800" dist="38100" dir="2700000" algn="tl" rotWithShape="0">
                    <a:prstClr val="black">
                      <a:alpha val="40000"/>
                    </a:prstClr>
                  </a:outerShdw>
                </a:effectLst>
              </a:rPr>
              <a:t>Front Lobby </a:t>
            </a:r>
            <a:r>
              <a:rPr lang="en-US" dirty="0"/>
              <a:t>- Between the hours of 5am - 10:30pm, physicians can self screen at the physician table located behind the screener desk in the second cubby on the right.</a:t>
            </a:r>
          </a:p>
          <a:p>
            <a:r>
              <a:rPr lang="en-US" dirty="0"/>
              <a:t>On the </a:t>
            </a:r>
            <a:r>
              <a:rPr lang="en-US" dirty="0">
                <a:solidFill>
                  <a:srgbClr val="FF0000"/>
                </a:solidFill>
                <a:effectLst>
                  <a:outerShdw blurRad="50800" dist="38100" dir="2700000" algn="tl" rotWithShape="0">
                    <a:prstClr val="black">
                      <a:alpha val="40000"/>
                    </a:prstClr>
                  </a:outerShdw>
                </a:effectLst>
              </a:rPr>
              <a:t>Units</a:t>
            </a:r>
            <a:r>
              <a:rPr lang="en-US" dirty="0"/>
              <a:t> - 24/7 access </a:t>
            </a:r>
          </a:p>
          <a:p>
            <a:endParaRPr lang="en-US" dirty="0"/>
          </a:p>
        </p:txBody>
      </p:sp>
    </p:spTree>
    <p:extLst>
      <p:ext uri="{BB962C8B-B14F-4D97-AF65-F5344CB8AC3E}">
        <p14:creationId xmlns:p14="http://schemas.microsoft.com/office/powerpoint/2010/main" val="26179635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9F80B-B1AE-6A4A-9517-ECB728A43CD1}"/>
              </a:ext>
            </a:extLst>
          </p:cNvPr>
          <p:cNvSpPr>
            <a:spLocks noGrp="1"/>
          </p:cNvSpPr>
          <p:nvPr>
            <p:ph type="title"/>
          </p:nvPr>
        </p:nvSpPr>
        <p:spPr/>
        <p:txBody>
          <a:bodyPr/>
          <a:lstStyle/>
          <a:p>
            <a:r>
              <a:rPr lang="en-US" dirty="0"/>
              <a:t>Reprocess or Replace N-95s</a:t>
            </a:r>
            <a:br>
              <a:rPr lang="en-US" dirty="0"/>
            </a:br>
            <a:endParaRPr lang="en-US" dirty="0"/>
          </a:p>
        </p:txBody>
      </p:sp>
      <p:sp>
        <p:nvSpPr>
          <p:cNvPr id="3" name="Content Placeholder 2">
            <a:extLst>
              <a:ext uri="{FF2B5EF4-FFF2-40B4-BE49-F238E27FC236}">
                <a16:creationId xmlns:a16="http://schemas.microsoft.com/office/drawing/2014/main" id="{3FD39DD8-79B3-E64C-8BEB-F5CB430A137A}"/>
              </a:ext>
            </a:extLst>
          </p:cNvPr>
          <p:cNvSpPr>
            <a:spLocks noGrp="1"/>
          </p:cNvSpPr>
          <p:nvPr>
            <p:ph idx="1"/>
          </p:nvPr>
        </p:nvSpPr>
        <p:spPr>
          <a:xfrm>
            <a:off x="539798" y="1093559"/>
            <a:ext cx="10972800" cy="4906963"/>
          </a:xfrm>
        </p:spPr>
        <p:txBody>
          <a:bodyPr/>
          <a:lstStyle/>
          <a:p>
            <a:r>
              <a:rPr lang="en-US" sz="2800" dirty="0"/>
              <a:t>On the </a:t>
            </a:r>
            <a:r>
              <a:rPr lang="en-US" sz="2800" dirty="0">
                <a:solidFill>
                  <a:srgbClr val="FF0000"/>
                </a:solidFill>
                <a:effectLst>
                  <a:outerShdw blurRad="50800" dist="38100" dir="2700000" algn="tl" rotWithShape="0">
                    <a:prstClr val="black">
                      <a:alpha val="40000"/>
                    </a:prstClr>
                  </a:outerShdw>
                </a:effectLst>
              </a:rPr>
              <a:t>Units</a:t>
            </a:r>
            <a:r>
              <a:rPr lang="en-US" sz="2800" dirty="0"/>
              <a:t> - 24/7 Access</a:t>
            </a:r>
          </a:p>
          <a:p>
            <a:r>
              <a:rPr lang="en-US" sz="2800" dirty="0"/>
              <a:t>In the </a:t>
            </a:r>
            <a:r>
              <a:rPr lang="en-US" sz="2800" dirty="0">
                <a:solidFill>
                  <a:srgbClr val="FF0000"/>
                </a:solidFill>
                <a:effectLst>
                  <a:outerShdw blurRad="50800" dist="38100" dir="2700000" algn="tl" rotWithShape="0">
                    <a:prstClr val="black">
                      <a:alpha val="40000"/>
                    </a:prstClr>
                  </a:outerShdw>
                </a:effectLst>
              </a:rPr>
              <a:t>Front Lobby </a:t>
            </a:r>
            <a:r>
              <a:rPr lang="en-US" sz="2800" dirty="0"/>
              <a:t>- between the hours of 5am - 10:30pm - Check in with our screener who is greeting and taking temperatures.</a:t>
            </a:r>
          </a:p>
          <a:p>
            <a:r>
              <a:rPr lang="en-US" sz="2800" dirty="0"/>
              <a:t>This should give you greater accessibility to receive or reprocess masks by being available 7 days a week and for extended hours each day, increasing availability by 100 hours a week.</a:t>
            </a:r>
          </a:p>
          <a:p>
            <a:r>
              <a:rPr lang="en-US" sz="2800" dirty="0"/>
              <a:t>Type 2 Masks and shields will be available on nursing units and the physician table in the front lobby.</a:t>
            </a:r>
          </a:p>
          <a:p>
            <a:endParaRPr lang="en-US" sz="2800" dirty="0"/>
          </a:p>
          <a:p>
            <a:pPr marL="0" indent="0" algn="ctr">
              <a:buNone/>
            </a:pPr>
            <a:r>
              <a:rPr lang="en-US" sz="2800" i="1" dirty="0"/>
              <a:t>For any questions or concerns, reach out to Lauren </a:t>
            </a:r>
            <a:r>
              <a:rPr lang="en-US" sz="2800" i="1" dirty="0" err="1"/>
              <a:t>Orta</a:t>
            </a:r>
            <a:r>
              <a:rPr lang="en-US" sz="2800" i="1" dirty="0"/>
              <a:t>  (254-855-2117) or Shannon Charlton (806)723-9623. </a:t>
            </a:r>
          </a:p>
          <a:p>
            <a:endParaRPr lang="en-US" dirty="0"/>
          </a:p>
        </p:txBody>
      </p:sp>
    </p:spTree>
    <p:extLst>
      <p:ext uri="{BB962C8B-B14F-4D97-AF65-F5344CB8AC3E}">
        <p14:creationId xmlns:p14="http://schemas.microsoft.com/office/powerpoint/2010/main" val="14399941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9248E-B47A-0E4F-861E-61BE6A2C9C65}"/>
              </a:ext>
            </a:extLst>
          </p:cNvPr>
          <p:cNvSpPr>
            <a:spLocks noGrp="1"/>
          </p:cNvSpPr>
          <p:nvPr>
            <p:ph type="ctrTitle"/>
          </p:nvPr>
        </p:nvSpPr>
        <p:spPr/>
        <p:txBody>
          <a:bodyPr/>
          <a:lstStyle/>
          <a:p>
            <a:r>
              <a:rPr lang="en-US" dirty="0"/>
              <a:t>Current Regional Covid-19 Census</a:t>
            </a:r>
          </a:p>
        </p:txBody>
      </p:sp>
      <p:sp>
        <p:nvSpPr>
          <p:cNvPr id="3" name="Subtitle 2">
            <a:extLst>
              <a:ext uri="{FF2B5EF4-FFF2-40B4-BE49-F238E27FC236}">
                <a16:creationId xmlns:a16="http://schemas.microsoft.com/office/drawing/2014/main" id="{9428FF28-2036-AA45-9039-11A5E95F7ADA}"/>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922653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4">
            <a:extLst>
              <a:ext uri="{FF2B5EF4-FFF2-40B4-BE49-F238E27FC236}">
                <a16:creationId xmlns:a16="http://schemas.microsoft.com/office/drawing/2014/main" id="{9D71B441-4AE7-4B71-B9EF-B632FB3CBEC7}"/>
              </a:ext>
            </a:extLst>
          </p:cNvPr>
          <p:cNvSpPr>
            <a:spLocks noGrp="1" noChangeArrowheads="1"/>
          </p:cNvSpPr>
          <p:nvPr>
            <p:ph type="ctrTitle"/>
          </p:nvPr>
        </p:nvSpPr>
        <p:spPr bwMode="auto">
          <a:xfrm>
            <a:off x="3276601" y="292101"/>
            <a:ext cx="5260975" cy="1019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dirty="0">
                <a:latin typeface="Baskerville Old Face" panose="02020602080505020303" pitchFamily="18" charset="0"/>
              </a:rPr>
              <a:t>Disclosures</a:t>
            </a:r>
          </a:p>
        </p:txBody>
      </p:sp>
      <p:sp>
        <p:nvSpPr>
          <p:cNvPr id="14339" name="Rectangle 5">
            <a:extLst>
              <a:ext uri="{FF2B5EF4-FFF2-40B4-BE49-F238E27FC236}">
                <a16:creationId xmlns:a16="http://schemas.microsoft.com/office/drawing/2014/main" id="{85B51B83-4FDF-440A-AAF9-8ED1A5A41A67}"/>
              </a:ext>
            </a:extLst>
          </p:cNvPr>
          <p:cNvSpPr>
            <a:spLocks noGrp="1" noChangeArrowheads="1"/>
          </p:cNvSpPr>
          <p:nvPr>
            <p:ph type="subTitle" idx="1"/>
          </p:nvPr>
        </p:nvSpPr>
        <p:spPr>
          <a:xfrm>
            <a:off x="2278063" y="1697038"/>
            <a:ext cx="7427912" cy="3987800"/>
          </a:xfrm>
        </p:spPr>
        <p:txBody>
          <a:bodyPr rtlCol="0">
            <a:normAutofit/>
          </a:bodyPr>
          <a:lstStyle/>
          <a:p>
            <a:pPr algn="ctr" eaLnBrk="1" fontAlgn="auto" hangingPunct="1">
              <a:lnSpc>
                <a:spcPct val="90000"/>
              </a:lnSpc>
              <a:spcAft>
                <a:spcPts val="0"/>
              </a:spcAft>
              <a:defRPr/>
            </a:pPr>
            <a:r>
              <a:rPr lang="en-US" altLang="en-US" sz="2800" dirty="0">
                <a:solidFill>
                  <a:schemeClr val="tx1"/>
                </a:solidFill>
                <a:latin typeface="Baskerville Old Face" pitchFamily="18" charset="0"/>
              </a:rPr>
              <a:t>This activity is provided by </a:t>
            </a:r>
          </a:p>
          <a:p>
            <a:pPr algn="ctr" eaLnBrk="1" fontAlgn="auto" hangingPunct="1">
              <a:lnSpc>
                <a:spcPct val="90000"/>
              </a:lnSpc>
              <a:spcAft>
                <a:spcPts val="0"/>
              </a:spcAft>
              <a:defRPr/>
            </a:pPr>
            <a:r>
              <a:rPr lang="en-US" altLang="en-US" sz="2800" dirty="0">
                <a:solidFill>
                  <a:schemeClr val="tx1"/>
                </a:solidFill>
                <a:latin typeface="Baskerville Old Face" pitchFamily="18" charset="0"/>
              </a:rPr>
              <a:t>Covenant Health</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No commercial support has been received.</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No products will be endorsed.</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Speakers will notify the audience if off label drug use will be discussed.</a:t>
            </a:r>
          </a:p>
          <a:p>
            <a:pP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endParaRPr lang="en-US" altLang="en-US" sz="2500" dirty="0">
              <a:latin typeface="Baskerville Old Face" pitchFamily="18" charset="0"/>
            </a:endParaRPr>
          </a:p>
        </p:txBody>
      </p:sp>
    </p:spTree>
    <p:extLst>
      <p:ext uri="{BB962C8B-B14F-4D97-AF65-F5344CB8AC3E}">
        <p14:creationId xmlns:p14="http://schemas.microsoft.com/office/powerpoint/2010/main" val="41874654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nvPr>
        </p:nvGraphicFramePr>
        <p:xfrm>
          <a:off x="439735" y="5325869"/>
          <a:ext cx="11582596" cy="1341120"/>
        </p:xfrm>
        <a:graphic>
          <a:graphicData uri="http://schemas.openxmlformats.org/drawingml/2006/table">
            <a:tbl>
              <a:tblPr firstRow="1" bandRow="1">
                <a:tableStyleId>{073A0DAA-6AF3-43AB-8588-CEC1D06C72B9}</a:tableStyleId>
              </a:tblPr>
              <a:tblGrid>
                <a:gridCol w="1332058">
                  <a:extLst>
                    <a:ext uri="{9D8B030D-6E8A-4147-A177-3AD203B41FA5}">
                      <a16:colId xmlns:a16="http://schemas.microsoft.com/office/drawing/2014/main" val="20000"/>
                    </a:ext>
                  </a:extLst>
                </a:gridCol>
                <a:gridCol w="1022207">
                  <a:extLst>
                    <a:ext uri="{9D8B030D-6E8A-4147-A177-3AD203B41FA5}">
                      <a16:colId xmlns:a16="http://schemas.microsoft.com/office/drawing/2014/main" val="20001"/>
                    </a:ext>
                  </a:extLst>
                </a:gridCol>
                <a:gridCol w="1003300">
                  <a:extLst>
                    <a:ext uri="{9D8B030D-6E8A-4147-A177-3AD203B41FA5}">
                      <a16:colId xmlns:a16="http://schemas.microsoft.com/office/drawing/2014/main" val="20002"/>
                    </a:ext>
                  </a:extLst>
                </a:gridCol>
                <a:gridCol w="850900">
                  <a:extLst>
                    <a:ext uri="{9D8B030D-6E8A-4147-A177-3AD203B41FA5}">
                      <a16:colId xmlns:a16="http://schemas.microsoft.com/office/drawing/2014/main" val="20003"/>
                    </a:ext>
                  </a:extLst>
                </a:gridCol>
                <a:gridCol w="825500">
                  <a:extLst>
                    <a:ext uri="{9D8B030D-6E8A-4147-A177-3AD203B41FA5}">
                      <a16:colId xmlns:a16="http://schemas.microsoft.com/office/drawing/2014/main" val="20004"/>
                    </a:ext>
                  </a:extLst>
                </a:gridCol>
                <a:gridCol w="850900">
                  <a:extLst>
                    <a:ext uri="{9D8B030D-6E8A-4147-A177-3AD203B41FA5}">
                      <a16:colId xmlns:a16="http://schemas.microsoft.com/office/drawing/2014/main" val="20005"/>
                    </a:ext>
                  </a:extLst>
                </a:gridCol>
                <a:gridCol w="800100">
                  <a:extLst>
                    <a:ext uri="{9D8B030D-6E8A-4147-A177-3AD203B41FA5}">
                      <a16:colId xmlns:a16="http://schemas.microsoft.com/office/drawing/2014/main" val="20006"/>
                    </a:ext>
                  </a:extLst>
                </a:gridCol>
                <a:gridCol w="800100">
                  <a:extLst>
                    <a:ext uri="{9D8B030D-6E8A-4147-A177-3AD203B41FA5}">
                      <a16:colId xmlns:a16="http://schemas.microsoft.com/office/drawing/2014/main" val="20007"/>
                    </a:ext>
                  </a:extLst>
                </a:gridCol>
                <a:gridCol w="838200">
                  <a:extLst>
                    <a:ext uri="{9D8B030D-6E8A-4147-A177-3AD203B41FA5}">
                      <a16:colId xmlns:a16="http://schemas.microsoft.com/office/drawing/2014/main" val="20008"/>
                    </a:ext>
                  </a:extLst>
                </a:gridCol>
                <a:gridCol w="812800">
                  <a:extLst>
                    <a:ext uri="{9D8B030D-6E8A-4147-A177-3AD203B41FA5}">
                      <a16:colId xmlns:a16="http://schemas.microsoft.com/office/drawing/2014/main" val="20009"/>
                    </a:ext>
                  </a:extLst>
                </a:gridCol>
                <a:gridCol w="787400">
                  <a:extLst>
                    <a:ext uri="{9D8B030D-6E8A-4147-A177-3AD203B41FA5}">
                      <a16:colId xmlns:a16="http://schemas.microsoft.com/office/drawing/2014/main" val="20010"/>
                    </a:ext>
                  </a:extLst>
                </a:gridCol>
                <a:gridCol w="838200">
                  <a:extLst>
                    <a:ext uri="{9D8B030D-6E8A-4147-A177-3AD203B41FA5}">
                      <a16:colId xmlns:a16="http://schemas.microsoft.com/office/drawing/2014/main" val="20011"/>
                    </a:ext>
                  </a:extLst>
                </a:gridCol>
                <a:gridCol w="820931">
                  <a:extLst>
                    <a:ext uri="{9D8B030D-6E8A-4147-A177-3AD203B41FA5}">
                      <a16:colId xmlns:a16="http://schemas.microsoft.com/office/drawing/2014/main" val="20012"/>
                    </a:ext>
                  </a:extLst>
                </a:gridCol>
              </a:tblGrid>
              <a:tr h="0">
                <a:tc>
                  <a:txBody>
                    <a:bodyPr/>
                    <a:lstStyle/>
                    <a:p>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11/30</a:t>
                      </a:r>
                    </a:p>
                  </a:txBody>
                  <a:tcPr/>
                </a:tc>
                <a:tc>
                  <a:txBody>
                    <a:bodyPr/>
                    <a:lstStyle/>
                    <a:p>
                      <a:pPr algn="ctr"/>
                      <a:r>
                        <a:rPr lang="en-US" sz="1600" dirty="0">
                          <a:latin typeface="Arial" panose="020B0604020202020204" pitchFamily="34" charset="0"/>
                          <a:cs typeface="Arial" panose="020B0604020202020204" pitchFamily="34" charset="0"/>
                        </a:rPr>
                        <a:t>11/16</a:t>
                      </a:r>
                    </a:p>
                  </a:txBody>
                  <a:tcPr/>
                </a:tc>
                <a:tc>
                  <a:txBody>
                    <a:bodyPr/>
                    <a:lstStyle/>
                    <a:p>
                      <a:pPr algn="ctr"/>
                      <a:r>
                        <a:rPr lang="en-US" sz="1600" dirty="0">
                          <a:latin typeface="Arial" panose="020B0604020202020204" pitchFamily="34" charset="0"/>
                          <a:cs typeface="Arial" panose="020B0604020202020204" pitchFamily="34" charset="0"/>
                        </a:rPr>
                        <a:t>11/04</a:t>
                      </a:r>
                    </a:p>
                  </a:txBody>
                  <a:tcPr/>
                </a:tc>
                <a:tc>
                  <a:txBody>
                    <a:bodyPr/>
                    <a:lstStyle/>
                    <a:p>
                      <a:pPr algn="ctr"/>
                      <a:r>
                        <a:rPr lang="en-US" sz="1600" dirty="0">
                          <a:latin typeface="Arial" panose="020B0604020202020204" pitchFamily="34" charset="0"/>
                          <a:cs typeface="Arial" panose="020B0604020202020204" pitchFamily="34" charset="0"/>
                        </a:rPr>
                        <a:t>10/21</a:t>
                      </a:r>
                    </a:p>
                  </a:txBody>
                  <a:tcPr/>
                </a:tc>
                <a:tc>
                  <a:txBody>
                    <a:bodyPr/>
                    <a:lstStyle/>
                    <a:p>
                      <a:pPr algn="ctr"/>
                      <a:r>
                        <a:rPr lang="en-US" sz="1600" dirty="0">
                          <a:latin typeface="Arial" panose="020B0604020202020204" pitchFamily="34" charset="0"/>
                          <a:cs typeface="Arial" panose="020B0604020202020204" pitchFamily="34" charset="0"/>
                        </a:rPr>
                        <a:t>10/5</a:t>
                      </a:r>
                    </a:p>
                  </a:txBody>
                  <a:tcPr/>
                </a:tc>
                <a:tc>
                  <a:txBody>
                    <a:bodyPr/>
                    <a:lstStyle/>
                    <a:p>
                      <a:pPr algn="ctr"/>
                      <a:r>
                        <a:rPr lang="en-US" sz="1600" dirty="0">
                          <a:latin typeface="Arial" panose="020B0604020202020204" pitchFamily="34" charset="0"/>
                          <a:cs typeface="Arial" panose="020B0604020202020204" pitchFamily="34" charset="0"/>
                        </a:rPr>
                        <a:t>9/23</a:t>
                      </a:r>
                    </a:p>
                  </a:txBody>
                  <a:tcPr/>
                </a:tc>
                <a:tc>
                  <a:txBody>
                    <a:bodyPr/>
                    <a:lstStyle/>
                    <a:p>
                      <a:pPr algn="ctr"/>
                      <a:r>
                        <a:rPr lang="en-US" sz="1600" dirty="0">
                          <a:latin typeface="Arial" panose="020B0604020202020204" pitchFamily="34" charset="0"/>
                          <a:cs typeface="Arial" panose="020B0604020202020204" pitchFamily="34" charset="0"/>
                        </a:rPr>
                        <a:t>9/9</a:t>
                      </a:r>
                    </a:p>
                  </a:txBody>
                  <a:tcPr/>
                </a:tc>
                <a:tc>
                  <a:txBody>
                    <a:bodyPr/>
                    <a:lstStyle/>
                    <a:p>
                      <a:pPr algn="ctr"/>
                      <a:r>
                        <a:rPr lang="en-US" sz="1600" dirty="0">
                          <a:latin typeface="Arial" panose="020B0604020202020204" pitchFamily="34" charset="0"/>
                          <a:cs typeface="Arial" panose="020B0604020202020204" pitchFamily="34" charset="0"/>
                        </a:rPr>
                        <a:t>8/26</a:t>
                      </a:r>
                    </a:p>
                  </a:txBody>
                  <a:tcPr/>
                </a:tc>
                <a:tc>
                  <a:txBody>
                    <a:bodyPr/>
                    <a:lstStyle/>
                    <a:p>
                      <a:pPr algn="ctr"/>
                      <a:r>
                        <a:rPr lang="en-US" sz="1600" dirty="0">
                          <a:latin typeface="Arial" panose="020B0604020202020204" pitchFamily="34" charset="0"/>
                          <a:cs typeface="Arial" panose="020B0604020202020204" pitchFamily="34" charset="0"/>
                        </a:rPr>
                        <a:t>8/12</a:t>
                      </a:r>
                    </a:p>
                  </a:txBody>
                  <a:tcPr/>
                </a:tc>
                <a:tc>
                  <a:txBody>
                    <a:bodyPr/>
                    <a:lstStyle/>
                    <a:p>
                      <a:pPr algn="ctr"/>
                      <a:r>
                        <a:rPr lang="en-US" sz="1600" dirty="0">
                          <a:latin typeface="Arial" panose="020B0604020202020204" pitchFamily="34" charset="0"/>
                          <a:cs typeface="Arial" panose="020B0604020202020204" pitchFamily="34" charset="0"/>
                        </a:rPr>
                        <a:t>7/29</a:t>
                      </a:r>
                    </a:p>
                  </a:txBody>
                  <a:tcPr/>
                </a:tc>
                <a:tc>
                  <a:txBody>
                    <a:bodyPr/>
                    <a:lstStyle/>
                    <a:p>
                      <a:pPr algn="ctr"/>
                      <a:r>
                        <a:rPr lang="en-US" sz="1600" dirty="0">
                          <a:latin typeface="Arial" panose="020B0604020202020204" pitchFamily="34" charset="0"/>
                          <a:cs typeface="Arial" panose="020B0604020202020204" pitchFamily="34" charset="0"/>
                        </a:rPr>
                        <a:t>7/15</a:t>
                      </a:r>
                      <a:r>
                        <a:rPr lang="en-US" sz="1600" baseline="0" dirty="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0"/>
                  </a:ext>
                </a:extLst>
              </a:tr>
              <a:tr h="274767">
                <a:tc>
                  <a:txBody>
                    <a:bodyPr/>
                    <a:lstStyle/>
                    <a:p>
                      <a:r>
                        <a:rPr lang="en-US" sz="1600" dirty="0">
                          <a:latin typeface="Arial" panose="020B0604020202020204" pitchFamily="34" charset="0"/>
                          <a:cs typeface="Arial" panose="020B0604020202020204" pitchFamily="34" charset="0"/>
                        </a:rPr>
                        <a:t>Cases</a:t>
                      </a:r>
                    </a:p>
                  </a:txBody>
                  <a:tcPr/>
                </a:tc>
                <a:tc>
                  <a:txBody>
                    <a:bodyPr/>
                    <a:lstStyle/>
                    <a:p>
                      <a:pPr algn="ctr"/>
                      <a:r>
                        <a:rPr lang="en-US" sz="1600" dirty="0">
                          <a:latin typeface="Arial Narrow" panose="020B0606020202030204" pitchFamily="34" charset="0"/>
                          <a:cs typeface="Arial" panose="020B0604020202020204" pitchFamily="34" charset="0"/>
                        </a:rPr>
                        <a:t>1,168,111</a:t>
                      </a:r>
                    </a:p>
                  </a:txBody>
                  <a:tcPr/>
                </a:tc>
                <a:tc>
                  <a:txBody>
                    <a:bodyPr/>
                    <a:lstStyle/>
                    <a:p>
                      <a:pPr algn="ctr"/>
                      <a:r>
                        <a:rPr lang="en-US" sz="1600" dirty="0">
                          <a:latin typeface="Arial Narrow" panose="020B0606020202030204" pitchFamily="34" charset="0"/>
                          <a:cs typeface="Arial" panose="020B0604020202020204" pitchFamily="34" charset="0"/>
                        </a:rPr>
                        <a:t>1,027,889</a:t>
                      </a:r>
                    </a:p>
                  </a:txBody>
                  <a:tcPr/>
                </a:tc>
                <a:tc>
                  <a:txBody>
                    <a:bodyPr/>
                    <a:lstStyle/>
                    <a:p>
                      <a:pPr algn="ctr"/>
                      <a:r>
                        <a:rPr lang="en-US" sz="1600" dirty="0">
                          <a:latin typeface="Arial Narrow" panose="020B0606020202030204" pitchFamily="34" charset="0"/>
                          <a:cs typeface="Arial" panose="020B0604020202020204" pitchFamily="34" charset="0"/>
                        </a:rPr>
                        <a:t>926,400</a:t>
                      </a:r>
                    </a:p>
                  </a:txBody>
                  <a:tcPr/>
                </a:tc>
                <a:tc>
                  <a:txBody>
                    <a:bodyPr/>
                    <a:lstStyle/>
                    <a:p>
                      <a:pPr algn="ctr"/>
                      <a:r>
                        <a:rPr lang="en-US" sz="1600" dirty="0">
                          <a:latin typeface="Arial Narrow" panose="020B0606020202030204" pitchFamily="34" charset="0"/>
                          <a:cs typeface="Arial" panose="020B0604020202020204" pitchFamily="34" charset="0"/>
                        </a:rPr>
                        <a:t>838,809</a:t>
                      </a:r>
                    </a:p>
                  </a:txBody>
                  <a:tcPr/>
                </a:tc>
                <a:tc>
                  <a:txBody>
                    <a:bodyPr/>
                    <a:lstStyle/>
                    <a:p>
                      <a:pPr algn="ctr"/>
                      <a:r>
                        <a:rPr lang="en-US" sz="1600" dirty="0">
                          <a:latin typeface="Arial Narrow" panose="020B0606020202030204" pitchFamily="34" charset="0"/>
                          <a:cs typeface="Arial" panose="020B0604020202020204" pitchFamily="34" charset="0"/>
                        </a:rPr>
                        <a:t>769,303</a:t>
                      </a:r>
                    </a:p>
                  </a:txBody>
                  <a:tcPr/>
                </a:tc>
                <a:tc>
                  <a:txBody>
                    <a:bodyPr/>
                    <a:lstStyle/>
                    <a:p>
                      <a:pPr algn="ctr"/>
                      <a:r>
                        <a:rPr lang="en-US" sz="1600" dirty="0">
                          <a:latin typeface="Arial Narrow" panose="020B0606020202030204" pitchFamily="34" charset="0"/>
                          <a:cs typeface="Arial" panose="020B0604020202020204" pitchFamily="34" charset="0"/>
                        </a:rPr>
                        <a:t>719,599</a:t>
                      </a:r>
                    </a:p>
                  </a:txBody>
                  <a:tcPr/>
                </a:tc>
                <a:tc>
                  <a:txBody>
                    <a:bodyPr/>
                    <a:lstStyle/>
                    <a:p>
                      <a:pPr algn="ctr"/>
                      <a:r>
                        <a:rPr lang="en-US" sz="1600" dirty="0">
                          <a:latin typeface="Arial Narrow" panose="020B0606020202030204" pitchFamily="34" charset="0"/>
                          <a:cs typeface="Arial" panose="020B0604020202020204" pitchFamily="34" charset="0"/>
                        </a:rPr>
                        <a:t>645,791</a:t>
                      </a:r>
                    </a:p>
                  </a:txBody>
                  <a:tcPr/>
                </a:tc>
                <a:tc>
                  <a:txBody>
                    <a:bodyPr/>
                    <a:lstStyle/>
                    <a:p>
                      <a:pPr algn="ctr"/>
                      <a:r>
                        <a:rPr lang="en-US" sz="1600" dirty="0">
                          <a:latin typeface="Arial Narrow" panose="020B0606020202030204" pitchFamily="34" charset="0"/>
                          <a:cs typeface="Arial" panose="020B0604020202020204" pitchFamily="34" charset="0"/>
                        </a:rPr>
                        <a:t>592,137</a:t>
                      </a:r>
                    </a:p>
                  </a:txBody>
                  <a:tcPr/>
                </a:tc>
                <a:tc>
                  <a:txBody>
                    <a:bodyPr/>
                    <a:lstStyle/>
                    <a:p>
                      <a:pPr algn="ctr"/>
                      <a:r>
                        <a:rPr lang="en-US" sz="1600" dirty="0">
                          <a:latin typeface="Arial Narrow" panose="020B0606020202030204" pitchFamily="34" charset="0"/>
                          <a:cs typeface="Arial" panose="020B0604020202020204" pitchFamily="34" charset="0"/>
                        </a:rPr>
                        <a:t>506,820</a:t>
                      </a:r>
                    </a:p>
                  </a:txBody>
                  <a:tcPr/>
                </a:tc>
                <a:tc>
                  <a:txBody>
                    <a:bodyPr/>
                    <a:lstStyle/>
                    <a:p>
                      <a:pPr algn="ctr"/>
                      <a:r>
                        <a:rPr lang="en-US" sz="1600" dirty="0">
                          <a:latin typeface="Arial Narrow" panose="020B0606020202030204" pitchFamily="34" charset="0"/>
                          <a:cs typeface="Arial" panose="020B0604020202020204" pitchFamily="34" charset="0"/>
                        </a:rPr>
                        <a:t>403,307</a:t>
                      </a:r>
                    </a:p>
                  </a:txBody>
                  <a:tcPr/>
                </a:tc>
                <a:tc>
                  <a:txBody>
                    <a:bodyPr/>
                    <a:lstStyle/>
                    <a:p>
                      <a:pPr algn="ctr"/>
                      <a:r>
                        <a:rPr lang="en-US" sz="1600" dirty="0">
                          <a:latin typeface="Arial Narrow" panose="020B0606020202030204" pitchFamily="34" charset="0"/>
                          <a:cs typeface="Arial" panose="020B0604020202020204" pitchFamily="34" charset="0"/>
                        </a:rPr>
                        <a:t>282,365</a:t>
                      </a:r>
                    </a:p>
                  </a:txBody>
                  <a:tcPr/>
                </a:tc>
                <a:tc>
                  <a:txBody>
                    <a:bodyPr/>
                    <a:lstStyle/>
                    <a:p>
                      <a:pPr algn="ctr"/>
                      <a:r>
                        <a:rPr lang="en-US" sz="1600" dirty="0">
                          <a:latin typeface="Arial Narrow" panose="020B0606020202030204" pitchFamily="34" charset="0"/>
                          <a:cs typeface="Arial" panose="020B0604020202020204" pitchFamily="34" charset="0"/>
                        </a:rPr>
                        <a:t>168,062</a:t>
                      </a:r>
                    </a:p>
                  </a:txBody>
                  <a:tcPr/>
                </a:tc>
                <a:extLst>
                  <a:ext uri="{0D108BD9-81ED-4DB2-BD59-A6C34878D82A}">
                    <a16:rowId xmlns:a16="http://schemas.microsoft.com/office/drawing/2014/main" val="10001"/>
                  </a:ext>
                </a:extLst>
              </a:tr>
              <a:tr h="0">
                <a:tc>
                  <a:txBody>
                    <a:bodyPr/>
                    <a:lstStyle/>
                    <a:p>
                      <a:r>
                        <a:rPr lang="en-US" sz="1600" dirty="0">
                          <a:latin typeface="Arial" panose="020B0604020202020204" pitchFamily="34" charset="0"/>
                          <a:cs typeface="Arial" panose="020B0604020202020204" pitchFamily="34" charset="0"/>
                        </a:rPr>
                        <a:t>Deaths</a:t>
                      </a:r>
                    </a:p>
                  </a:txBody>
                  <a:tcPr/>
                </a:tc>
                <a:tc>
                  <a:txBody>
                    <a:bodyPr/>
                    <a:lstStyle/>
                    <a:p>
                      <a:pPr algn="ctr"/>
                      <a:r>
                        <a:rPr lang="en-US" sz="1600" dirty="0">
                          <a:latin typeface="Arial Narrow" panose="020B0606020202030204" pitchFamily="34" charset="0"/>
                          <a:cs typeface="Arial" panose="020B0604020202020204" pitchFamily="34" charset="0"/>
                        </a:rPr>
                        <a:t>21,379</a:t>
                      </a:r>
                    </a:p>
                  </a:txBody>
                  <a:tcPr/>
                </a:tc>
                <a:tc>
                  <a:txBody>
                    <a:bodyPr/>
                    <a:lstStyle/>
                    <a:p>
                      <a:pPr algn="ctr"/>
                      <a:r>
                        <a:rPr lang="en-US" sz="1600" dirty="0">
                          <a:latin typeface="Arial Narrow" panose="020B0606020202030204" pitchFamily="34" charset="0"/>
                          <a:cs typeface="Arial" panose="020B0604020202020204" pitchFamily="34" charset="0"/>
                        </a:rPr>
                        <a:t>19,579</a:t>
                      </a:r>
                    </a:p>
                  </a:txBody>
                  <a:tcPr/>
                </a:tc>
                <a:tc>
                  <a:txBody>
                    <a:bodyPr/>
                    <a:lstStyle/>
                    <a:p>
                      <a:pPr algn="ctr"/>
                      <a:r>
                        <a:rPr lang="en-US" sz="1600" dirty="0">
                          <a:latin typeface="Arial Narrow" panose="020B0606020202030204" pitchFamily="34" charset="0"/>
                          <a:cs typeface="Arial" panose="020B0604020202020204" pitchFamily="34" charset="0"/>
                        </a:rPr>
                        <a:t>18,320</a:t>
                      </a:r>
                    </a:p>
                  </a:txBody>
                  <a:tcPr/>
                </a:tc>
                <a:tc>
                  <a:txBody>
                    <a:bodyPr/>
                    <a:lstStyle/>
                    <a:p>
                      <a:pPr algn="ctr"/>
                      <a:r>
                        <a:rPr lang="en-US" sz="1600" dirty="0">
                          <a:latin typeface="Arial Narrow" panose="020B0606020202030204" pitchFamily="34" charset="0"/>
                          <a:cs typeface="Arial" panose="020B0604020202020204" pitchFamily="34" charset="0"/>
                        </a:rPr>
                        <a:t>17,210</a:t>
                      </a:r>
                    </a:p>
                  </a:txBody>
                  <a:tcPr/>
                </a:tc>
                <a:tc>
                  <a:txBody>
                    <a:bodyPr/>
                    <a:lstStyle/>
                    <a:p>
                      <a:pPr algn="ctr"/>
                      <a:r>
                        <a:rPr lang="en-US" sz="1600" dirty="0">
                          <a:latin typeface="Arial Narrow" panose="020B0606020202030204" pitchFamily="34" charset="0"/>
                          <a:cs typeface="Arial" panose="020B0604020202020204" pitchFamily="34" charset="0"/>
                        </a:rPr>
                        <a:t>16,033</a:t>
                      </a:r>
                    </a:p>
                  </a:txBody>
                  <a:tcPr/>
                </a:tc>
                <a:tc>
                  <a:txBody>
                    <a:bodyPr/>
                    <a:lstStyle/>
                    <a:p>
                      <a:pPr algn="ctr"/>
                      <a:r>
                        <a:rPr lang="en-US" sz="1600" dirty="0">
                          <a:latin typeface="Arial Narrow" panose="020B0606020202030204" pitchFamily="34" charset="0"/>
                          <a:cs typeface="Arial" panose="020B0604020202020204" pitchFamily="34" charset="0"/>
                        </a:rPr>
                        <a:t>15,129</a:t>
                      </a:r>
                    </a:p>
                  </a:txBody>
                  <a:tcPr/>
                </a:tc>
                <a:tc>
                  <a:txBody>
                    <a:bodyPr/>
                    <a:lstStyle/>
                    <a:p>
                      <a:pPr algn="ctr"/>
                      <a:r>
                        <a:rPr lang="en-US" sz="1600" dirty="0">
                          <a:latin typeface="Arial Narrow" panose="020B0606020202030204" pitchFamily="34" charset="0"/>
                          <a:cs typeface="Arial" panose="020B0604020202020204" pitchFamily="34" charset="0"/>
                        </a:rPr>
                        <a:t>13,692</a:t>
                      </a:r>
                    </a:p>
                  </a:txBody>
                  <a:tcPr/>
                </a:tc>
                <a:tc>
                  <a:txBody>
                    <a:bodyPr/>
                    <a:lstStyle/>
                    <a:p>
                      <a:pPr algn="ctr"/>
                      <a:r>
                        <a:rPr lang="en-US" sz="1600" dirty="0">
                          <a:latin typeface="Arial Narrow" panose="020B0606020202030204" pitchFamily="34" charset="0"/>
                          <a:cs typeface="Arial" panose="020B0604020202020204" pitchFamily="34" charset="0"/>
                        </a:rPr>
                        <a:t>11,805</a:t>
                      </a:r>
                    </a:p>
                  </a:txBody>
                  <a:tcPr/>
                </a:tc>
                <a:tc>
                  <a:txBody>
                    <a:bodyPr/>
                    <a:lstStyle/>
                    <a:p>
                      <a:pPr algn="ctr"/>
                      <a:r>
                        <a:rPr lang="en-US" sz="1600" dirty="0">
                          <a:latin typeface="Arial Narrow" panose="020B0606020202030204" pitchFamily="34" charset="0"/>
                          <a:cs typeface="Arial" panose="020B0604020202020204" pitchFamily="34" charset="0"/>
                        </a:rPr>
                        <a:t>9034</a:t>
                      </a:r>
                    </a:p>
                  </a:txBody>
                  <a:tcPr/>
                </a:tc>
                <a:tc>
                  <a:txBody>
                    <a:bodyPr/>
                    <a:lstStyle/>
                    <a:p>
                      <a:pPr algn="ctr"/>
                      <a:r>
                        <a:rPr lang="en-US" sz="1600" dirty="0">
                          <a:latin typeface="Arial Narrow" panose="020B0606020202030204" pitchFamily="34" charset="0"/>
                          <a:cs typeface="Arial" panose="020B0604020202020204" pitchFamily="34" charset="0"/>
                        </a:rPr>
                        <a:t>6190</a:t>
                      </a:r>
                    </a:p>
                  </a:txBody>
                  <a:tcPr/>
                </a:tc>
                <a:tc>
                  <a:txBody>
                    <a:bodyPr/>
                    <a:lstStyle/>
                    <a:p>
                      <a:pPr algn="ctr"/>
                      <a:r>
                        <a:rPr lang="en-US" sz="1600" dirty="0">
                          <a:latin typeface="Arial Narrow" panose="020B0606020202030204" pitchFamily="34" charset="0"/>
                          <a:cs typeface="Arial" panose="020B0604020202020204" pitchFamily="34" charset="0"/>
                        </a:rPr>
                        <a:t>3432</a:t>
                      </a:r>
                    </a:p>
                  </a:txBody>
                  <a:tcPr/>
                </a:tc>
                <a:tc>
                  <a:txBody>
                    <a:bodyPr/>
                    <a:lstStyle/>
                    <a:p>
                      <a:pPr algn="ctr"/>
                      <a:r>
                        <a:rPr lang="en-US" sz="1600" dirty="0">
                          <a:latin typeface="Arial Narrow" panose="020B0606020202030204" pitchFamily="34" charset="0"/>
                          <a:cs typeface="Arial" panose="020B0604020202020204" pitchFamily="34" charset="0"/>
                        </a:rPr>
                        <a:t>2481</a:t>
                      </a:r>
                    </a:p>
                  </a:txBody>
                  <a:tcPr/>
                </a:tc>
                <a:extLst>
                  <a:ext uri="{0D108BD9-81ED-4DB2-BD59-A6C34878D82A}">
                    <a16:rowId xmlns:a16="http://schemas.microsoft.com/office/drawing/2014/main" val="10002"/>
                  </a:ext>
                </a:extLst>
              </a:tr>
              <a:tr h="280863">
                <a:tc>
                  <a:txBody>
                    <a:bodyPr/>
                    <a:lstStyle/>
                    <a:p>
                      <a:r>
                        <a:rPr lang="en-US" sz="1600" dirty="0">
                          <a:latin typeface="Arial" panose="020B0604020202020204" pitchFamily="34" charset="0"/>
                          <a:cs typeface="Arial" panose="020B0604020202020204" pitchFamily="34" charset="0"/>
                        </a:rPr>
                        <a:t>Hospitalized</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8900</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7468</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5,872</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4,319</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318</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195</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604</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4806</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7028</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9595</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10,471</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6904</a:t>
                      </a:r>
                    </a:p>
                  </a:txBody>
                  <a:tcPr/>
                </a:tc>
                <a:extLst>
                  <a:ext uri="{0D108BD9-81ED-4DB2-BD59-A6C34878D82A}">
                    <a16:rowId xmlns:a16="http://schemas.microsoft.com/office/drawing/2014/main" val="10003"/>
                  </a:ext>
                </a:extLst>
              </a:tr>
            </a:tbl>
          </a:graphicData>
        </a:graphic>
      </p:graphicFrame>
      <p:sp>
        <p:nvSpPr>
          <p:cNvPr id="12" name="Title 1"/>
          <p:cNvSpPr txBox="1">
            <a:spLocks/>
          </p:cNvSpPr>
          <p:nvPr/>
        </p:nvSpPr>
        <p:spPr>
          <a:xfrm>
            <a:off x="439735" y="29497"/>
            <a:ext cx="4564282" cy="1871793"/>
          </a:xfrm>
          <a:prstGeom prst="rect">
            <a:avLst/>
          </a:prstGeom>
        </p:spPr>
        <p:txBody>
          <a:bodyPr vert="horz" lIns="91440" tIns="45720" rIns="91440" bIns="45720" rtlCol="0" anchor="ct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3600" dirty="0">
                <a:solidFill>
                  <a:schemeClr val="tx2"/>
                </a:solidFill>
                <a:latin typeface="Arial" panose="020B0604020202020204" pitchFamily="34" charset="0"/>
                <a:cs typeface="Arial" panose="020B0604020202020204" pitchFamily="34" charset="0"/>
              </a:rPr>
              <a:t>Texas Covid-19 Hospitalizations</a:t>
            </a:r>
          </a:p>
        </p:txBody>
      </p:sp>
      <p:graphicFrame>
        <p:nvGraphicFramePr>
          <p:cNvPr id="17" name="Table 16"/>
          <p:cNvGraphicFramePr>
            <a:graphicFrameLocks noGrp="1"/>
          </p:cNvGraphicFramePr>
          <p:nvPr>
            <p:extLst/>
          </p:nvPr>
        </p:nvGraphicFramePr>
        <p:xfrm>
          <a:off x="5520579" y="237428"/>
          <a:ext cx="5027705" cy="1341120"/>
        </p:xfrm>
        <a:graphic>
          <a:graphicData uri="http://schemas.openxmlformats.org/drawingml/2006/table">
            <a:tbl>
              <a:tblPr firstRow="1" bandRow="1">
                <a:tableStyleId>{073A0DAA-6AF3-43AB-8588-CEC1D06C72B9}</a:tableStyleId>
              </a:tblPr>
              <a:tblGrid>
                <a:gridCol w="1005541">
                  <a:extLst>
                    <a:ext uri="{9D8B030D-6E8A-4147-A177-3AD203B41FA5}">
                      <a16:colId xmlns:a16="http://schemas.microsoft.com/office/drawing/2014/main" val="20000"/>
                    </a:ext>
                  </a:extLst>
                </a:gridCol>
                <a:gridCol w="1005541">
                  <a:extLst>
                    <a:ext uri="{9D8B030D-6E8A-4147-A177-3AD203B41FA5}">
                      <a16:colId xmlns:a16="http://schemas.microsoft.com/office/drawing/2014/main" val="20001"/>
                    </a:ext>
                  </a:extLst>
                </a:gridCol>
                <a:gridCol w="1005541">
                  <a:extLst>
                    <a:ext uri="{9D8B030D-6E8A-4147-A177-3AD203B41FA5}">
                      <a16:colId xmlns:a16="http://schemas.microsoft.com/office/drawing/2014/main" val="20002"/>
                    </a:ext>
                  </a:extLst>
                </a:gridCol>
                <a:gridCol w="1005541">
                  <a:extLst>
                    <a:ext uri="{9D8B030D-6E8A-4147-A177-3AD203B41FA5}">
                      <a16:colId xmlns:a16="http://schemas.microsoft.com/office/drawing/2014/main" val="20003"/>
                    </a:ext>
                  </a:extLst>
                </a:gridCol>
                <a:gridCol w="1005541">
                  <a:extLst>
                    <a:ext uri="{9D8B030D-6E8A-4147-A177-3AD203B41FA5}">
                      <a16:colId xmlns:a16="http://schemas.microsoft.com/office/drawing/2014/main" val="20004"/>
                    </a:ext>
                  </a:extLst>
                </a:gridCol>
              </a:tblGrid>
              <a:tr h="169199">
                <a:tc>
                  <a:txBody>
                    <a:bodyPr/>
                    <a:lstStyle/>
                    <a:p>
                      <a:pPr algn="ctr"/>
                      <a:r>
                        <a:rPr lang="en-US" sz="1600" dirty="0">
                          <a:latin typeface="Arial" panose="020B0604020202020204" pitchFamily="34" charset="0"/>
                          <a:cs typeface="Arial" panose="020B0604020202020204" pitchFamily="34" charset="0"/>
                        </a:rPr>
                        <a:t>12/2</a:t>
                      </a:r>
                    </a:p>
                  </a:txBody>
                  <a:tcPr/>
                </a:tc>
                <a:tc>
                  <a:txBody>
                    <a:bodyPr/>
                    <a:lstStyle/>
                    <a:p>
                      <a:pPr algn="ctr"/>
                      <a:r>
                        <a:rPr lang="en-US" sz="1600" dirty="0">
                          <a:latin typeface="Arial" panose="020B0604020202020204" pitchFamily="34" charset="0"/>
                          <a:cs typeface="Arial" panose="020B0604020202020204" pitchFamily="34" charset="0"/>
                        </a:rPr>
                        <a:t>12/16</a:t>
                      </a:r>
                    </a:p>
                  </a:txBody>
                  <a:tcPr/>
                </a:tc>
                <a:tc>
                  <a:txBody>
                    <a:bodyPr/>
                    <a:lstStyle/>
                    <a:p>
                      <a:pPr algn="ctr"/>
                      <a:r>
                        <a:rPr lang="en-US" sz="1600" dirty="0">
                          <a:latin typeface="Arial" panose="020B0604020202020204" pitchFamily="34" charset="0"/>
                          <a:cs typeface="Arial" panose="020B0604020202020204" pitchFamily="34" charset="0"/>
                        </a:rPr>
                        <a:t>12/28</a:t>
                      </a:r>
                    </a:p>
                  </a:txBody>
                  <a:tcPr/>
                </a:tc>
                <a:tc>
                  <a:txBody>
                    <a:bodyPr/>
                    <a:lstStyle/>
                    <a:p>
                      <a:pPr algn="ctr"/>
                      <a:r>
                        <a:rPr lang="en-US" sz="1600" dirty="0">
                          <a:latin typeface="Arial" panose="020B0604020202020204" pitchFamily="34" charset="0"/>
                          <a:cs typeface="Arial" panose="020B0604020202020204" pitchFamily="34" charset="0"/>
                        </a:rPr>
                        <a:t>1/4</a:t>
                      </a:r>
                    </a:p>
                  </a:txBody>
                  <a:tcPr/>
                </a:tc>
                <a:tc>
                  <a:txBody>
                    <a:bodyPr/>
                    <a:lstStyle/>
                    <a:p>
                      <a:pPr algn="ctr"/>
                      <a:r>
                        <a:rPr lang="en-US" sz="1600" dirty="0">
                          <a:latin typeface="Arial" panose="020B0604020202020204" pitchFamily="34" charset="0"/>
                          <a:cs typeface="Arial" panose="020B0604020202020204" pitchFamily="34" charset="0"/>
                        </a:rPr>
                        <a:t>1/6</a:t>
                      </a:r>
                    </a:p>
                  </a:txBody>
                  <a:tcPr/>
                </a:tc>
                <a:extLst>
                  <a:ext uri="{0D108BD9-81ED-4DB2-BD59-A6C34878D82A}">
                    <a16:rowId xmlns:a16="http://schemas.microsoft.com/office/drawing/2014/main" val="10000"/>
                  </a:ext>
                </a:extLst>
              </a:tr>
              <a:tr h="274767">
                <a:tc>
                  <a:txBody>
                    <a:bodyPr/>
                    <a:lstStyle/>
                    <a:p>
                      <a:pPr algn="ctr"/>
                      <a:r>
                        <a:rPr lang="en-US" sz="1600" dirty="0">
                          <a:latin typeface="Arial Narrow" panose="020B0606020202030204" pitchFamily="34" charset="0"/>
                          <a:cs typeface="Arial" panose="020B0604020202020204" pitchFamily="34" charset="0"/>
                        </a:rPr>
                        <a:t>1,200,674</a:t>
                      </a:r>
                    </a:p>
                  </a:txBody>
                  <a:tcPr/>
                </a:tc>
                <a:tc>
                  <a:txBody>
                    <a:bodyPr/>
                    <a:lstStyle/>
                    <a:p>
                      <a:pPr algn="ctr"/>
                      <a:r>
                        <a:rPr lang="en-US" sz="1600" dirty="0">
                          <a:latin typeface="Arial Narrow" panose="020B0606020202030204" pitchFamily="34" charset="0"/>
                          <a:cs typeface="Arial" panose="020B0604020202020204" pitchFamily="34" charset="0"/>
                        </a:rPr>
                        <a:t>1,367,965</a:t>
                      </a:r>
                    </a:p>
                  </a:txBody>
                  <a:tcPr/>
                </a:tc>
                <a:tc>
                  <a:txBody>
                    <a:bodyPr/>
                    <a:lstStyle/>
                    <a:p>
                      <a:pPr algn="ctr"/>
                      <a:r>
                        <a:rPr lang="en-US" sz="1600" dirty="0">
                          <a:latin typeface="Arial Narrow" panose="020B0606020202030204" pitchFamily="34" charset="0"/>
                          <a:cs typeface="Arial" panose="020B0604020202020204" pitchFamily="34" charset="0"/>
                        </a:rPr>
                        <a:t>1,490,479</a:t>
                      </a:r>
                    </a:p>
                  </a:txBody>
                  <a:tcPr/>
                </a:tc>
                <a:tc>
                  <a:txBody>
                    <a:bodyPr/>
                    <a:lstStyle/>
                    <a:p>
                      <a:pPr algn="ctr"/>
                      <a:r>
                        <a:rPr lang="en-US" sz="1600" dirty="0">
                          <a:latin typeface="Arial Narrow" panose="020B0606020202030204" pitchFamily="34" charset="0"/>
                          <a:cs typeface="Arial" panose="020B0604020202020204" pitchFamily="34" charset="0"/>
                        </a:rPr>
                        <a:t>1,598,713</a:t>
                      </a:r>
                    </a:p>
                  </a:txBody>
                  <a:tcPr/>
                </a:tc>
                <a:tc>
                  <a:txBody>
                    <a:bodyPr/>
                    <a:lstStyle/>
                    <a:p>
                      <a:pPr algn="ctr"/>
                      <a:r>
                        <a:rPr lang="en-US" sz="1600" dirty="0">
                          <a:latin typeface="Arial Narrow" panose="020B0606020202030204" pitchFamily="34" charset="0"/>
                          <a:cs typeface="Arial" panose="020B0604020202020204" pitchFamily="34" charset="0"/>
                        </a:rPr>
                        <a:t>1,646,238</a:t>
                      </a:r>
                    </a:p>
                  </a:txBody>
                  <a:tcPr/>
                </a:tc>
                <a:extLst>
                  <a:ext uri="{0D108BD9-81ED-4DB2-BD59-A6C34878D82A}">
                    <a16:rowId xmlns:a16="http://schemas.microsoft.com/office/drawing/2014/main" val="10001"/>
                  </a:ext>
                </a:extLst>
              </a:tr>
              <a:tr h="0">
                <a:tc>
                  <a:txBody>
                    <a:bodyPr/>
                    <a:lstStyle/>
                    <a:p>
                      <a:pPr algn="ctr"/>
                      <a:r>
                        <a:rPr lang="en-US" sz="1600" dirty="0">
                          <a:latin typeface="Arial Narrow" panose="020B0606020202030204" pitchFamily="34" charset="0"/>
                          <a:cs typeface="Arial" panose="020B0604020202020204" pitchFamily="34" charset="0"/>
                        </a:rPr>
                        <a:t>21,756</a:t>
                      </a:r>
                    </a:p>
                  </a:txBody>
                  <a:tcPr/>
                </a:tc>
                <a:tc>
                  <a:txBody>
                    <a:bodyPr/>
                    <a:lstStyle/>
                    <a:p>
                      <a:pPr algn="ctr"/>
                      <a:r>
                        <a:rPr lang="en-US" sz="1600" dirty="0">
                          <a:latin typeface="Arial Narrow" panose="020B0606020202030204" pitchFamily="34" charset="0"/>
                          <a:cs typeface="Arial" panose="020B0604020202020204" pitchFamily="34" charset="0"/>
                        </a:rPr>
                        <a:t>24,394</a:t>
                      </a:r>
                    </a:p>
                  </a:txBody>
                  <a:tcPr/>
                </a:tc>
                <a:tc>
                  <a:txBody>
                    <a:bodyPr/>
                    <a:lstStyle/>
                    <a:p>
                      <a:pPr algn="ctr"/>
                      <a:r>
                        <a:rPr lang="en-US" sz="1600" dirty="0">
                          <a:latin typeface="Arial Narrow" panose="020B0606020202030204" pitchFamily="34" charset="0"/>
                          <a:cs typeface="Arial" panose="020B0604020202020204" pitchFamily="34" charset="0"/>
                        </a:rPr>
                        <a:t>26,521</a:t>
                      </a:r>
                    </a:p>
                  </a:txBody>
                  <a:tcPr/>
                </a:tc>
                <a:tc>
                  <a:txBody>
                    <a:bodyPr/>
                    <a:lstStyle/>
                    <a:p>
                      <a:pPr algn="ctr"/>
                      <a:r>
                        <a:rPr lang="en-US" sz="1600" dirty="0">
                          <a:latin typeface="Arial Narrow" panose="020B0606020202030204" pitchFamily="34" charset="0"/>
                          <a:cs typeface="Arial" panose="020B0604020202020204" pitchFamily="34" charset="0"/>
                        </a:rPr>
                        <a:t>27,969</a:t>
                      </a:r>
                    </a:p>
                  </a:txBody>
                  <a:tcPr/>
                </a:tc>
                <a:tc>
                  <a:txBody>
                    <a:bodyPr/>
                    <a:lstStyle/>
                    <a:p>
                      <a:pPr algn="ctr"/>
                      <a:r>
                        <a:rPr lang="en-US" sz="1600" dirty="0">
                          <a:latin typeface="Arial Narrow" panose="020B0606020202030204" pitchFamily="34" charset="0"/>
                          <a:cs typeface="Arial" panose="020B0604020202020204" pitchFamily="34" charset="0"/>
                        </a:rPr>
                        <a:t>28,545</a:t>
                      </a:r>
                    </a:p>
                  </a:txBody>
                  <a:tcPr/>
                </a:tc>
                <a:extLst>
                  <a:ext uri="{0D108BD9-81ED-4DB2-BD59-A6C34878D82A}">
                    <a16:rowId xmlns:a16="http://schemas.microsoft.com/office/drawing/2014/main" val="10002"/>
                  </a:ext>
                </a:extLst>
              </a:tr>
              <a:tr h="280863">
                <a:tc>
                  <a:txBody>
                    <a:bodyPr/>
                    <a:lstStyle/>
                    <a:p>
                      <a:pPr algn="ctr"/>
                      <a:r>
                        <a:rPr lang="en-US" sz="1600" b="1" dirty="0">
                          <a:solidFill>
                            <a:srgbClr val="C00000"/>
                          </a:solidFill>
                          <a:latin typeface="Arial Narrow" panose="020B0606020202030204" pitchFamily="34" charset="0"/>
                          <a:cs typeface="Arial" panose="020B0604020202020204" pitchFamily="34" charset="0"/>
                        </a:rPr>
                        <a:t>9,109</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9,053</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9,528</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12,961</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13,628</a:t>
                      </a:r>
                    </a:p>
                  </a:txBody>
                  <a:tcPr/>
                </a:tc>
                <a:extLst>
                  <a:ext uri="{0D108BD9-81ED-4DB2-BD59-A6C34878D82A}">
                    <a16:rowId xmlns:a16="http://schemas.microsoft.com/office/drawing/2014/main" val="10003"/>
                  </a:ext>
                </a:extLst>
              </a:tr>
            </a:tbl>
          </a:graphicData>
        </a:graphic>
      </p:graphicFrame>
      <p:pic>
        <p:nvPicPr>
          <p:cNvPr id="3" name="Picture 2"/>
          <p:cNvPicPr>
            <a:picLocks noChangeAspect="1"/>
          </p:cNvPicPr>
          <p:nvPr/>
        </p:nvPicPr>
        <p:blipFill>
          <a:blip r:embed="rId3"/>
          <a:stretch>
            <a:fillRect/>
          </a:stretch>
        </p:blipFill>
        <p:spPr>
          <a:xfrm>
            <a:off x="487556" y="1871793"/>
            <a:ext cx="11534775" cy="3273573"/>
          </a:xfrm>
          <a:prstGeom prst="rect">
            <a:avLst/>
          </a:prstGeom>
        </p:spPr>
      </p:pic>
      <p:sp>
        <p:nvSpPr>
          <p:cNvPr id="9" name="TextBox 8"/>
          <p:cNvSpPr txBox="1"/>
          <p:nvPr/>
        </p:nvSpPr>
        <p:spPr>
          <a:xfrm>
            <a:off x="10473708" y="2226967"/>
            <a:ext cx="1384917" cy="923330"/>
          </a:xfrm>
          <a:prstGeom prst="rect">
            <a:avLst/>
          </a:prstGeom>
          <a:noFill/>
        </p:spPr>
        <p:txBody>
          <a:bodyPr wrap="square" rtlCol="0">
            <a:spAutoFit/>
          </a:bodyPr>
          <a:lstStyle/>
          <a:p>
            <a:pPr algn="ctr"/>
            <a:r>
              <a:rPr lang="en-US" dirty="0">
                <a:solidFill>
                  <a:schemeClr val="bg1"/>
                </a:solidFill>
                <a:latin typeface=" Arial"/>
              </a:rPr>
              <a:t>NEW RECORD</a:t>
            </a:r>
          </a:p>
          <a:p>
            <a:pPr algn="ctr"/>
            <a:r>
              <a:rPr lang="en-US" dirty="0">
                <a:solidFill>
                  <a:schemeClr val="bg1"/>
                </a:solidFill>
                <a:latin typeface=" Arial"/>
              </a:rPr>
              <a:t>13628</a:t>
            </a:r>
          </a:p>
        </p:txBody>
      </p:sp>
      <p:sp>
        <p:nvSpPr>
          <p:cNvPr id="8" name="TextBox 7">
            <a:extLst>
              <a:ext uri="{FF2B5EF4-FFF2-40B4-BE49-F238E27FC236}">
                <a16:creationId xmlns:a16="http://schemas.microsoft.com/office/drawing/2014/main" id="{2E7E2C43-D3AF-6647-9ABB-0CB6F30D3F6E}"/>
              </a:ext>
            </a:extLst>
          </p:cNvPr>
          <p:cNvSpPr txBox="1"/>
          <p:nvPr/>
        </p:nvSpPr>
        <p:spPr>
          <a:xfrm>
            <a:off x="4755499" y="2245986"/>
            <a:ext cx="1384917" cy="646331"/>
          </a:xfrm>
          <a:prstGeom prst="rect">
            <a:avLst/>
          </a:prstGeom>
          <a:noFill/>
        </p:spPr>
        <p:txBody>
          <a:bodyPr wrap="square" rtlCol="0">
            <a:spAutoFit/>
          </a:bodyPr>
          <a:lstStyle/>
          <a:p>
            <a:pPr algn="ctr"/>
            <a:r>
              <a:rPr lang="en-US" dirty="0">
                <a:solidFill>
                  <a:schemeClr val="bg1"/>
                </a:solidFill>
                <a:latin typeface=" Arial"/>
              </a:rPr>
              <a:t>10,893</a:t>
            </a:r>
          </a:p>
          <a:p>
            <a:pPr algn="ctr"/>
            <a:r>
              <a:rPr lang="en-US" dirty="0">
                <a:solidFill>
                  <a:schemeClr val="bg1"/>
                </a:solidFill>
                <a:latin typeface=" Arial"/>
              </a:rPr>
              <a:t>7/22</a:t>
            </a:r>
          </a:p>
        </p:txBody>
      </p:sp>
      <p:sp>
        <p:nvSpPr>
          <p:cNvPr id="10" name="Down Arrow 9">
            <a:extLst>
              <a:ext uri="{FF2B5EF4-FFF2-40B4-BE49-F238E27FC236}">
                <a16:creationId xmlns:a16="http://schemas.microsoft.com/office/drawing/2014/main" id="{7A79E861-5B8C-C04D-9C8B-9CE8B5E427C8}"/>
              </a:ext>
            </a:extLst>
          </p:cNvPr>
          <p:cNvSpPr/>
          <p:nvPr/>
        </p:nvSpPr>
        <p:spPr>
          <a:xfrm>
            <a:off x="5447958" y="2930356"/>
            <a:ext cx="136355" cy="421148"/>
          </a:xfrm>
          <a:prstGeom prst="downArrow">
            <a:avLst/>
          </a:prstGeom>
          <a:solidFill>
            <a:srgbClr val="FF0000"/>
          </a:solidFill>
          <a:ln>
            <a:solidFill>
              <a:srgbClr val="D01F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1" name="Down Arrow 10">
            <a:extLst>
              <a:ext uri="{FF2B5EF4-FFF2-40B4-BE49-F238E27FC236}">
                <a16:creationId xmlns:a16="http://schemas.microsoft.com/office/drawing/2014/main" id="{C747100C-DF15-3245-A60E-B30599C5DE7E}"/>
              </a:ext>
            </a:extLst>
          </p:cNvPr>
          <p:cNvSpPr/>
          <p:nvPr/>
        </p:nvSpPr>
        <p:spPr>
          <a:xfrm>
            <a:off x="11833518" y="2534116"/>
            <a:ext cx="136355" cy="421148"/>
          </a:xfrm>
          <a:prstGeom prst="downArrow">
            <a:avLst/>
          </a:prstGeom>
          <a:solidFill>
            <a:srgbClr val="FF0000"/>
          </a:solidFill>
          <a:ln>
            <a:solidFill>
              <a:srgbClr val="D01F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145504718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47" y="-136585"/>
            <a:ext cx="11790445" cy="1508760"/>
          </a:xfrm>
        </p:spPr>
        <p:txBody>
          <a:bodyPr>
            <a:normAutofit/>
          </a:bodyPr>
          <a:lstStyle/>
          <a:p>
            <a:r>
              <a:rPr lang="en-US" sz="4400" dirty="0"/>
              <a:t>STATE</a:t>
            </a:r>
          </a:p>
        </p:txBody>
      </p:sp>
      <p:sp>
        <p:nvSpPr>
          <p:cNvPr id="4" name="Rectangle 3"/>
          <p:cNvSpPr/>
          <p:nvPr/>
        </p:nvSpPr>
        <p:spPr>
          <a:xfrm>
            <a:off x="0" y="1084614"/>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8" name="Rectangle 7"/>
          <p:cNvSpPr/>
          <p:nvPr/>
        </p:nvSpPr>
        <p:spPr>
          <a:xfrm>
            <a:off x="0" y="940833"/>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3" name="Picture 2"/>
          <p:cNvPicPr>
            <a:picLocks noChangeAspect="1"/>
          </p:cNvPicPr>
          <p:nvPr/>
        </p:nvPicPr>
        <p:blipFill>
          <a:blip r:embed="rId3"/>
          <a:stretch>
            <a:fillRect/>
          </a:stretch>
        </p:blipFill>
        <p:spPr>
          <a:xfrm>
            <a:off x="416309" y="1304597"/>
            <a:ext cx="11359382" cy="5124778"/>
          </a:xfrm>
          <a:prstGeom prst="rect">
            <a:avLst/>
          </a:prstGeom>
        </p:spPr>
      </p:pic>
      <p:sp>
        <p:nvSpPr>
          <p:cNvPr id="9" name="TextBox 8"/>
          <p:cNvSpPr txBox="1"/>
          <p:nvPr/>
        </p:nvSpPr>
        <p:spPr>
          <a:xfrm>
            <a:off x="8573075" y="2633511"/>
            <a:ext cx="2291013" cy="461665"/>
          </a:xfrm>
          <a:prstGeom prst="rect">
            <a:avLst/>
          </a:prstGeom>
          <a:noFill/>
        </p:spPr>
        <p:txBody>
          <a:bodyPr wrap="none" rtlCol="0">
            <a:spAutoFit/>
          </a:bodyPr>
          <a:lstStyle/>
          <a:p>
            <a:pPr algn="ctr"/>
            <a:r>
              <a:rPr lang="en-US" sz="2400" dirty="0">
                <a:solidFill>
                  <a:schemeClr val="bg1"/>
                </a:solidFill>
                <a:latin typeface=" Arial"/>
              </a:rPr>
              <a:t>26,500 new 1/5</a:t>
            </a:r>
          </a:p>
        </p:txBody>
      </p:sp>
      <p:sp>
        <p:nvSpPr>
          <p:cNvPr id="12" name="TextBox 11"/>
          <p:cNvSpPr txBox="1"/>
          <p:nvPr/>
        </p:nvSpPr>
        <p:spPr>
          <a:xfrm>
            <a:off x="8573075" y="3338235"/>
            <a:ext cx="1640194" cy="461665"/>
          </a:xfrm>
          <a:prstGeom prst="rect">
            <a:avLst/>
          </a:prstGeom>
          <a:noFill/>
        </p:spPr>
        <p:txBody>
          <a:bodyPr wrap="none" rtlCol="0">
            <a:spAutoFit/>
          </a:bodyPr>
          <a:lstStyle/>
          <a:p>
            <a:pPr algn="ctr"/>
            <a:r>
              <a:rPr lang="en-US" sz="2400" dirty="0">
                <a:solidFill>
                  <a:schemeClr val="bg1"/>
                </a:solidFill>
                <a:latin typeface=" Arial"/>
              </a:rPr>
              <a:t>19,500 1/6</a:t>
            </a:r>
          </a:p>
        </p:txBody>
      </p:sp>
    </p:spTree>
    <p:extLst>
      <p:ext uri="{BB962C8B-B14F-4D97-AF65-F5344CB8AC3E}">
        <p14:creationId xmlns:p14="http://schemas.microsoft.com/office/powerpoint/2010/main" val="87091343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47" y="-136585"/>
            <a:ext cx="11790445" cy="1508760"/>
          </a:xfrm>
        </p:spPr>
        <p:txBody>
          <a:bodyPr>
            <a:normAutofit/>
          </a:bodyPr>
          <a:lstStyle/>
          <a:p>
            <a:r>
              <a:rPr lang="en-US" sz="4400" dirty="0"/>
              <a:t>COUNTIES</a:t>
            </a:r>
          </a:p>
        </p:txBody>
      </p:sp>
      <p:pic>
        <p:nvPicPr>
          <p:cNvPr id="5" name="Picture 4"/>
          <p:cNvPicPr>
            <a:picLocks noChangeAspect="1"/>
          </p:cNvPicPr>
          <p:nvPr/>
        </p:nvPicPr>
        <p:blipFill>
          <a:blip r:embed="rId3"/>
          <a:stretch>
            <a:fillRect/>
          </a:stretch>
        </p:blipFill>
        <p:spPr>
          <a:xfrm>
            <a:off x="86521" y="699037"/>
            <a:ext cx="5850151" cy="2583191"/>
          </a:xfrm>
          <a:prstGeom prst="rect">
            <a:avLst/>
          </a:prstGeom>
        </p:spPr>
      </p:pic>
      <p:sp>
        <p:nvSpPr>
          <p:cNvPr id="17" name="TextBox 16"/>
          <p:cNvSpPr txBox="1"/>
          <p:nvPr/>
        </p:nvSpPr>
        <p:spPr>
          <a:xfrm>
            <a:off x="2755993" y="1548399"/>
            <a:ext cx="2666114" cy="461665"/>
          </a:xfrm>
          <a:prstGeom prst="rect">
            <a:avLst/>
          </a:prstGeom>
          <a:noFill/>
        </p:spPr>
        <p:txBody>
          <a:bodyPr wrap="none" rtlCol="0">
            <a:spAutoFit/>
          </a:bodyPr>
          <a:lstStyle/>
          <a:p>
            <a:r>
              <a:rPr lang="en-US" sz="2400" dirty="0">
                <a:solidFill>
                  <a:schemeClr val="bg1"/>
                </a:solidFill>
                <a:latin typeface=" Arial"/>
              </a:rPr>
              <a:t> 1/5 37 new cases</a:t>
            </a:r>
          </a:p>
        </p:txBody>
      </p:sp>
      <p:pic>
        <p:nvPicPr>
          <p:cNvPr id="7" name="Picture 6"/>
          <p:cNvPicPr>
            <a:picLocks noChangeAspect="1"/>
          </p:cNvPicPr>
          <p:nvPr/>
        </p:nvPicPr>
        <p:blipFill>
          <a:blip r:embed="rId4"/>
          <a:stretch>
            <a:fillRect/>
          </a:stretch>
        </p:blipFill>
        <p:spPr>
          <a:xfrm>
            <a:off x="6105532" y="699037"/>
            <a:ext cx="5963806" cy="2583191"/>
          </a:xfrm>
          <a:prstGeom prst="rect">
            <a:avLst/>
          </a:prstGeom>
        </p:spPr>
      </p:pic>
      <p:sp>
        <p:nvSpPr>
          <p:cNvPr id="18" name="TextBox 17"/>
          <p:cNvSpPr txBox="1"/>
          <p:nvPr/>
        </p:nvSpPr>
        <p:spPr>
          <a:xfrm>
            <a:off x="8781234" y="1147475"/>
            <a:ext cx="2729850" cy="461665"/>
          </a:xfrm>
          <a:prstGeom prst="rect">
            <a:avLst/>
          </a:prstGeom>
          <a:noFill/>
        </p:spPr>
        <p:txBody>
          <a:bodyPr wrap="none" rtlCol="0">
            <a:spAutoFit/>
          </a:bodyPr>
          <a:lstStyle/>
          <a:p>
            <a:r>
              <a:rPr lang="en-US" sz="2400" dirty="0">
                <a:solidFill>
                  <a:schemeClr val="bg1"/>
                </a:solidFill>
                <a:latin typeface=" Arial"/>
              </a:rPr>
              <a:t>1/5 118 new cases</a:t>
            </a:r>
          </a:p>
        </p:txBody>
      </p:sp>
      <p:pic>
        <p:nvPicPr>
          <p:cNvPr id="9" name="Picture 8"/>
          <p:cNvPicPr>
            <a:picLocks noChangeAspect="1"/>
          </p:cNvPicPr>
          <p:nvPr/>
        </p:nvPicPr>
        <p:blipFill>
          <a:blip r:embed="rId5"/>
          <a:stretch>
            <a:fillRect/>
          </a:stretch>
        </p:blipFill>
        <p:spPr>
          <a:xfrm>
            <a:off x="1503949" y="3338017"/>
            <a:ext cx="9629775" cy="3239772"/>
          </a:xfrm>
          <a:prstGeom prst="rect">
            <a:avLst/>
          </a:prstGeom>
        </p:spPr>
      </p:pic>
      <p:sp>
        <p:nvSpPr>
          <p:cNvPr id="19" name="TextBox 18"/>
          <p:cNvSpPr txBox="1"/>
          <p:nvPr/>
        </p:nvSpPr>
        <p:spPr>
          <a:xfrm>
            <a:off x="2425184" y="4297964"/>
            <a:ext cx="2135521" cy="830997"/>
          </a:xfrm>
          <a:prstGeom prst="rect">
            <a:avLst/>
          </a:prstGeom>
          <a:noFill/>
        </p:spPr>
        <p:txBody>
          <a:bodyPr wrap="none" rtlCol="0">
            <a:spAutoFit/>
          </a:bodyPr>
          <a:lstStyle/>
          <a:p>
            <a:r>
              <a:rPr lang="en-US" sz="2400" dirty="0">
                <a:solidFill>
                  <a:schemeClr val="bg1"/>
                </a:solidFill>
                <a:latin typeface=" Arial"/>
              </a:rPr>
              <a:t>14.6 % </a:t>
            </a:r>
          </a:p>
          <a:p>
            <a:r>
              <a:rPr lang="en-US" sz="2400" dirty="0">
                <a:solidFill>
                  <a:schemeClr val="bg1"/>
                </a:solidFill>
                <a:latin typeface=" Arial"/>
              </a:rPr>
              <a:t>Positivity Rate</a:t>
            </a:r>
          </a:p>
        </p:txBody>
      </p:sp>
      <p:sp>
        <p:nvSpPr>
          <p:cNvPr id="20" name="TextBox 19"/>
          <p:cNvSpPr txBox="1"/>
          <p:nvPr/>
        </p:nvSpPr>
        <p:spPr>
          <a:xfrm>
            <a:off x="8482966" y="3836299"/>
            <a:ext cx="1863011" cy="461665"/>
          </a:xfrm>
          <a:prstGeom prst="rect">
            <a:avLst/>
          </a:prstGeom>
          <a:noFill/>
        </p:spPr>
        <p:txBody>
          <a:bodyPr wrap="none" rtlCol="0">
            <a:spAutoFit/>
          </a:bodyPr>
          <a:lstStyle/>
          <a:p>
            <a:r>
              <a:rPr lang="en-US" sz="2400" dirty="0">
                <a:solidFill>
                  <a:schemeClr val="bg1"/>
                </a:solidFill>
                <a:latin typeface=" Arial"/>
              </a:rPr>
              <a:t>315 new 1/5</a:t>
            </a:r>
          </a:p>
        </p:txBody>
      </p:sp>
    </p:spTree>
    <p:extLst>
      <p:ext uri="{BB962C8B-B14F-4D97-AF65-F5344CB8AC3E}">
        <p14:creationId xmlns:p14="http://schemas.microsoft.com/office/powerpoint/2010/main" val="13478979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47" y="-136585"/>
            <a:ext cx="11790445" cy="1508760"/>
          </a:xfrm>
        </p:spPr>
        <p:txBody>
          <a:bodyPr/>
          <a:lstStyle/>
          <a:p>
            <a:r>
              <a:rPr lang="en-US" dirty="0"/>
              <a:t>COVID+ HOSPITALIZATIONS BY TSA ID</a:t>
            </a:r>
          </a:p>
        </p:txBody>
      </p:sp>
      <p:sp>
        <p:nvSpPr>
          <p:cNvPr id="4" name="Rectangle 3"/>
          <p:cNvSpPr/>
          <p:nvPr/>
        </p:nvSpPr>
        <p:spPr>
          <a:xfrm>
            <a:off x="0" y="1031723"/>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TextBox 5"/>
          <p:cNvSpPr txBox="1"/>
          <p:nvPr/>
        </p:nvSpPr>
        <p:spPr>
          <a:xfrm>
            <a:off x="419088" y="2027622"/>
            <a:ext cx="3466696" cy="2246769"/>
          </a:xfrm>
          <a:prstGeom prst="rect">
            <a:avLst/>
          </a:prstGeom>
          <a:noFill/>
        </p:spPr>
        <p:txBody>
          <a:bodyPr wrap="square" rtlCol="0">
            <a:spAutoFit/>
          </a:bodyPr>
          <a:lstStyle/>
          <a:p>
            <a:r>
              <a:rPr lang="en-US" sz="2800" b="1" dirty="0"/>
              <a:t>CONFIRMED COVID+ HOSPITALIZATIONS /HOSPITAL CAPACITY </a:t>
            </a:r>
          </a:p>
          <a:p>
            <a:endParaRPr lang="en-US" sz="2800" b="1" dirty="0">
              <a:solidFill>
                <a:srgbClr val="C00000"/>
              </a:solidFill>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3"/>
          <a:stretch>
            <a:fillRect/>
          </a:stretch>
        </p:blipFill>
        <p:spPr>
          <a:xfrm>
            <a:off x="4304871" y="790630"/>
            <a:ext cx="7484631" cy="5993852"/>
          </a:xfrm>
          <a:prstGeom prst="rect">
            <a:avLst/>
          </a:prstGeom>
        </p:spPr>
      </p:pic>
      <p:sp>
        <p:nvSpPr>
          <p:cNvPr id="7" name="TextBox 6">
            <a:extLst>
              <a:ext uri="{FF2B5EF4-FFF2-40B4-BE49-F238E27FC236}">
                <a16:creationId xmlns:a16="http://schemas.microsoft.com/office/drawing/2014/main" id="{40BDA2F6-D3FF-DE46-9974-B1CC8DD4835E}"/>
              </a:ext>
            </a:extLst>
          </p:cNvPr>
          <p:cNvSpPr txBox="1"/>
          <p:nvPr/>
        </p:nvSpPr>
        <p:spPr>
          <a:xfrm rot="18873991">
            <a:off x="988335" y="4134742"/>
            <a:ext cx="2328201" cy="646331"/>
          </a:xfrm>
          <a:prstGeom prst="rect">
            <a:avLst/>
          </a:prstGeom>
          <a:noFill/>
        </p:spPr>
        <p:txBody>
          <a:bodyPr wrap="none" rtlCol="0">
            <a:spAutoFit/>
          </a:bodyPr>
          <a:lstStyle/>
          <a:p>
            <a:r>
              <a:rPr lang="en-US" sz="3600" b="1" dirty="0">
                <a:solidFill>
                  <a:srgbClr val="FF0000"/>
                </a:solidFill>
              </a:rPr>
              <a:t>LAST WEEK</a:t>
            </a:r>
          </a:p>
        </p:txBody>
      </p:sp>
    </p:spTree>
    <p:extLst>
      <p:ext uri="{BB962C8B-B14F-4D97-AF65-F5344CB8AC3E}">
        <p14:creationId xmlns:p14="http://schemas.microsoft.com/office/powerpoint/2010/main" val="36891903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47" y="-136585"/>
            <a:ext cx="11790445" cy="1508760"/>
          </a:xfrm>
        </p:spPr>
        <p:txBody>
          <a:bodyPr/>
          <a:lstStyle/>
          <a:p>
            <a:r>
              <a:rPr lang="en-US" dirty="0"/>
              <a:t>COVID+ HOSPITALIZATIONS BY TSA ID</a:t>
            </a:r>
          </a:p>
        </p:txBody>
      </p:sp>
      <p:sp>
        <p:nvSpPr>
          <p:cNvPr id="4" name="Rectangle 3"/>
          <p:cNvSpPr/>
          <p:nvPr/>
        </p:nvSpPr>
        <p:spPr>
          <a:xfrm>
            <a:off x="0" y="1031722"/>
            <a:ext cx="12192000" cy="1406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TextBox 5"/>
          <p:cNvSpPr txBox="1"/>
          <p:nvPr/>
        </p:nvSpPr>
        <p:spPr>
          <a:xfrm>
            <a:off x="343875" y="1143000"/>
            <a:ext cx="5279685" cy="1815882"/>
          </a:xfrm>
          <a:prstGeom prst="rect">
            <a:avLst/>
          </a:prstGeom>
          <a:noFill/>
        </p:spPr>
        <p:txBody>
          <a:bodyPr wrap="square" rtlCol="0">
            <a:spAutoFit/>
          </a:bodyPr>
          <a:lstStyle/>
          <a:p>
            <a:r>
              <a:rPr lang="en-US" sz="2800" b="1" dirty="0"/>
              <a:t>CONFIRMED COVID+ HOSPITALIZATIONS /HOSPITAL CAPACITY </a:t>
            </a:r>
          </a:p>
          <a:p>
            <a:endParaRPr lang="en-US" sz="2800" b="1" dirty="0">
              <a:solidFill>
                <a:srgbClr val="C00000"/>
              </a:solidFill>
              <a:latin typeface="Arial" panose="020B0604020202020204" pitchFamily="34" charset="0"/>
              <a:cs typeface="Arial" panose="020B0604020202020204" pitchFamily="34" charset="0"/>
            </a:endParaRPr>
          </a:p>
        </p:txBody>
      </p:sp>
      <p:pic>
        <p:nvPicPr>
          <p:cNvPr id="3" name="Picture 2"/>
          <p:cNvPicPr>
            <a:picLocks noChangeAspect="1"/>
          </p:cNvPicPr>
          <p:nvPr/>
        </p:nvPicPr>
        <p:blipFill rotWithShape="1">
          <a:blip r:embed="rId3"/>
          <a:srcRect t="10834"/>
          <a:stretch/>
        </p:blipFill>
        <p:spPr>
          <a:xfrm>
            <a:off x="5367794" y="1127760"/>
            <a:ext cx="6568072" cy="5017096"/>
          </a:xfrm>
          <a:prstGeom prst="rect">
            <a:avLst/>
          </a:prstGeom>
        </p:spPr>
      </p:pic>
      <p:sp>
        <p:nvSpPr>
          <p:cNvPr id="11" name="TextBox 10">
            <a:extLst>
              <a:ext uri="{FF2B5EF4-FFF2-40B4-BE49-F238E27FC236}">
                <a16:creationId xmlns:a16="http://schemas.microsoft.com/office/drawing/2014/main" id="{5FBD663B-1075-E745-A3C1-A938B8A9EA11}"/>
              </a:ext>
            </a:extLst>
          </p:cNvPr>
          <p:cNvSpPr txBox="1"/>
          <p:nvPr/>
        </p:nvSpPr>
        <p:spPr>
          <a:xfrm rot="18873991">
            <a:off x="2046424" y="3269744"/>
            <a:ext cx="1214563" cy="646331"/>
          </a:xfrm>
          <a:prstGeom prst="rect">
            <a:avLst/>
          </a:prstGeom>
          <a:noFill/>
        </p:spPr>
        <p:txBody>
          <a:bodyPr wrap="none" rtlCol="0">
            <a:spAutoFit/>
          </a:bodyPr>
          <a:lstStyle/>
          <a:p>
            <a:r>
              <a:rPr lang="en-US" sz="3600" b="1" dirty="0">
                <a:solidFill>
                  <a:srgbClr val="FF0000"/>
                </a:solidFill>
              </a:rPr>
              <a:t>NOW</a:t>
            </a:r>
          </a:p>
        </p:txBody>
      </p:sp>
    </p:spTree>
    <p:extLst>
      <p:ext uri="{BB962C8B-B14F-4D97-AF65-F5344CB8AC3E}">
        <p14:creationId xmlns:p14="http://schemas.microsoft.com/office/powerpoint/2010/main" val="400917180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856881"/>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Lubbock This Morning</a:t>
            </a:r>
          </a:p>
        </p:txBody>
      </p:sp>
      <p:sp>
        <p:nvSpPr>
          <p:cNvPr id="4" name="Rectangle 3"/>
          <p:cNvSpPr/>
          <p:nvPr/>
        </p:nvSpPr>
        <p:spPr>
          <a:xfrm>
            <a:off x="0" y="752999"/>
            <a:ext cx="12192000" cy="120447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8" name="TextBox 17">
            <a:extLst>
              <a:ext uri="{FF2B5EF4-FFF2-40B4-BE49-F238E27FC236}">
                <a16:creationId xmlns:a16="http://schemas.microsoft.com/office/drawing/2014/main" id="{1677F10F-F959-B549-91DD-A9E338C63DE3}"/>
              </a:ext>
            </a:extLst>
          </p:cNvPr>
          <p:cNvSpPr txBox="1"/>
          <p:nvPr/>
        </p:nvSpPr>
        <p:spPr>
          <a:xfrm>
            <a:off x="192349" y="6317328"/>
            <a:ext cx="6251380" cy="400110"/>
          </a:xfrm>
          <a:prstGeom prst="rect">
            <a:avLst/>
          </a:prstGeom>
          <a:solidFill>
            <a:srgbClr val="339933"/>
          </a:solidFill>
          <a:effectLst>
            <a:outerShdw blurRad="50800" dist="38100" dir="2700000" algn="tl" rotWithShape="0">
              <a:prstClr val="black">
                <a:alpha val="40000"/>
              </a:prstClr>
            </a:outerShdw>
          </a:effectLst>
        </p:spPr>
        <p:txBody>
          <a:bodyPr wrap="square" rtlCol="0">
            <a:spAutoFit/>
          </a:bodyPr>
          <a:lstStyle/>
          <a:p>
            <a:pPr algn="ctr"/>
            <a:r>
              <a:rPr lang="en-US" sz="2000" b="1" dirty="0">
                <a:solidFill>
                  <a:schemeClr val="bg1"/>
                </a:solidFill>
                <a:latin typeface="Arial" panose="020B0604020202020204" pitchFamily="34" charset="0"/>
                <a:cs typeface="Arial" panose="020B0604020202020204" pitchFamily="34" charset="0"/>
              </a:rPr>
              <a:t>12/28: </a:t>
            </a:r>
            <a:r>
              <a:rPr lang="en-US" sz="2000" dirty="0">
                <a:solidFill>
                  <a:schemeClr val="bg1"/>
                </a:solidFill>
                <a:latin typeface="Arial" panose="020B0604020202020204" pitchFamily="34" charset="0"/>
                <a:cs typeface="Arial" panose="020B0604020202020204" pitchFamily="34" charset="0"/>
              </a:rPr>
              <a:t>268 Hospitalized in Lubbock – 43 on vents</a:t>
            </a:r>
            <a:endParaRPr lang="en-US" sz="2400" dirty="0">
              <a:solidFill>
                <a:schemeClr val="bg1"/>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73924328-50E3-C44D-AC60-BA5C9D907D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593" y="1000895"/>
            <a:ext cx="12002814" cy="4856210"/>
          </a:xfrm>
          <a:prstGeom prst="rect">
            <a:avLst/>
          </a:prstGeom>
        </p:spPr>
      </p:pic>
      <p:sp>
        <p:nvSpPr>
          <p:cNvPr id="15" name="Rectangle 14"/>
          <p:cNvSpPr/>
          <p:nvPr/>
        </p:nvSpPr>
        <p:spPr>
          <a:xfrm>
            <a:off x="11050363" y="1042181"/>
            <a:ext cx="916052" cy="5000035"/>
          </a:xfrm>
          <a:prstGeom prst="rect">
            <a:avLst/>
          </a:prstGeom>
          <a:noFill/>
          <a:ln w="635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p:nvSpPr>
        <p:spPr>
          <a:xfrm>
            <a:off x="2269370" y="1042180"/>
            <a:ext cx="878346" cy="5000035"/>
          </a:xfrm>
          <a:prstGeom prst="rect">
            <a:avLst/>
          </a:prstGeom>
          <a:noFill/>
          <a:ln w="635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256413" y="1070424"/>
            <a:ext cx="822179" cy="5000035"/>
          </a:xfrm>
          <a:prstGeom prst="rect">
            <a:avLst/>
          </a:prstGeom>
          <a:noFill/>
          <a:ln w="6350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7120593" y="1074057"/>
            <a:ext cx="1109268" cy="5000035"/>
          </a:xfrm>
          <a:prstGeom prst="rect">
            <a:avLst/>
          </a:prstGeom>
          <a:noFill/>
          <a:ln w="63500">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10018503" y="1052718"/>
            <a:ext cx="944897" cy="5000035"/>
          </a:xfrm>
          <a:prstGeom prst="rect">
            <a:avLst/>
          </a:prstGeom>
          <a:noFill/>
          <a:ln w="6350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958990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CB6195-2037-8942-BA60-A0F8DA98962F}"/>
              </a:ext>
            </a:extLst>
          </p:cNvPr>
          <p:cNvSpPr>
            <a:spLocks noGrp="1"/>
          </p:cNvSpPr>
          <p:nvPr>
            <p:ph type="ctrTitle"/>
          </p:nvPr>
        </p:nvSpPr>
        <p:spPr/>
        <p:txBody>
          <a:bodyPr/>
          <a:lstStyle/>
          <a:p>
            <a:r>
              <a:rPr lang="en-US" dirty="0"/>
              <a:t>Surge Plans</a:t>
            </a:r>
          </a:p>
        </p:txBody>
      </p:sp>
      <p:sp>
        <p:nvSpPr>
          <p:cNvPr id="5" name="Subtitle 4">
            <a:extLst>
              <a:ext uri="{FF2B5EF4-FFF2-40B4-BE49-F238E27FC236}">
                <a16:creationId xmlns:a16="http://schemas.microsoft.com/office/drawing/2014/main" id="{898AB79C-4516-6449-BE95-3AF423E091E6}"/>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3833501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152399"/>
            <a:ext cx="9784080" cy="1166965"/>
          </a:xfrm>
        </p:spPr>
        <p:txBody>
          <a:bodyPr/>
          <a:lstStyle/>
          <a:p>
            <a:r>
              <a:rPr lang="en-US" dirty="0">
                <a:solidFill>
                  <a:schemeClr val="bg1"/>
                </a:solidFill>
              </a:rPr>
              <a:t>COVID Units - CMC</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8547234" y="2079057"/>
            <a:ext cx="184731" cy="369332"/>
          </a:xfrm>
          <a:prstGeom prst="rect">
            <a:avLst/>
          </a:prstGeom>
          <a:noFill/>
        </p:spPr>
        <p:txBody>
          <a:bodyPr wrap="none" rtlCol="0">
            <a:spAutoFit/>
          </a:bodyPr>
          <a:lstStyle/>
          <a:p>
            <a:endParaRPr lang="en-US" dirty="0"/>
          </a:p>
        </p:txBody>
      </p:sp>
      <p:sp>
        <p:nvSpPr>
          <p:cNvPr id="3" name="AutoShape 1" descr="data:image/png;base64,iVBORw0KGgoAAAANSUhEUgAAA6wAAAHVCAYAAAD1iXZkAAAgAElEQVR4XuydB5hV1bn+3xmGoffemxTpCAiCFQuIKPYYjTdq7j8m0ShqjEZjr0k0MYlGo0bNTb1XiV0RGxZAQZAuSO+992HK/3n3mj3ss2efM6efdea83/PwADN7r73Wb61z9vrW1/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fvn17nHHGGTjxxBNRt25dLF++HA888ADKysrwve99D2eeeWbg+DZu3IgHH3wQO3fuxKWXXorzzz+/4jq+HBcsWIA333zTaY/Sq1cvjBkzBscddxwKCgoC24ymf7yR7c+fPx/vvfceli1b5oyjfv366Nu3L8aPH48OHTogPz8fL7/8Mt59913cfvvt6NGjR6VnzpkzB4899hhuuukmDB48GI8++ijWr1+PX/7yl2jVqpVz/U9/+lNs37694t7CwkJ07doVo0aNwtChQ1GrVq2smX91VAREQAREIPcISGHNvTnXiEVABEQgawlQgXvnnXccZYyKKBW7KVOmYMaMGY4yefHFF2PRokWOIkrltWbNmnj66acDx/u///u/zr27d+92lMTvfOc7znWHDx/G888/j5kzZ+KYY47Bqaee6rT12WefYd68ebjmmmswcuTIwDaj6d/Bgwcr2qcSyvZbtmyJ2bNn44MPPnD6fP3116NPnz5YunQp7rnnHpx11lm46qqrKj3zmWeecfp01113oU2bNo6ivmnTJuf/rVu3dq6//PLLHWX7sssuc/7PNjnuzZs3Y8SIEfjRj36UtetBHRcBERABEaj+BKSwVv851ghFQAREoFoQWLVqFR555BFHMbv55pvRsGHDinHR6rp27VpHaXUVVloPaYG84oorHIXPK1RKb731Vkdhe+ONN0IU1rlz5+J3v/sdBg0ahB/+8IeoU6dOxa2ffvqp83+27Zdo+0dF+Mknn3Ta+MEPfhDSPsfxxBNPoEmTJnj44YcdS+4vfvELxwr8+9//PsQaumvXLkdBbdSoEW677Tbnd+EU1iFDhjjMvPLss8+C4yGfs88+u1qsEQ1CBERABESg+hGQwlr95lQjEgEREIFqSeCf//yn4wr885//HAMHDgw7RldhHTdunGMlpfLnKnTuTZMmTcIrr7ziKIO0RnotrL/+9a8dt+M//vGPIUpxVVCj7d/999+PNWvW4A9/+INjufULFUlaQO+44w7HRfjDDz/EX/7yF8fqSgXbFboq05J80UUXgWOlxKKw0sLK6xs0aOA8i39LREAEREAERMA2AlJYbZsR9UcEREAERCCQAJVLuu/+6U9/ikjIVVj/67/+y4nn/PLLLx2llO7DFLrkMtYzLy/PUWRp5fQqrLyvZ8+euPPOO2OaiWj7x/apiFLxDpLFixc7iuR3v/tdRxFdt26do5iyTzfccANq1Kjh3EYFmcosFd969erFrLDyhl/96ldYvXq1E/Patm3bmMari0VABERABEQgHQSksKaDsp4hAiIgAiKQMAHGcDZv3txJMhRJvAprt27dcO+99zqxrRdccIFz28qVKx2FkDGddBVmjKersNJqSeU2yIW2qgFE07+tW7fixhtvdFxwr7zyysAmV6xY4Siop5xyCr7//e87Cjb/v3//fqdvzZo1c+6j8soYWFpeXYnFwsp7GKs7ffp0p93OnTtXNUT9XgREQAREQATSTkAKa9qR64EiIAIiIALxEKCCx2RLsSisjGl96KGHsG3bNif+tXbt2njhhRccV2G2Q8ukV2GldZMuu/EorNH0jxZfxs6yX7S0BomrsJ5++ulOfCmFrtBM6PSzn/0M/fr1c2JzH3/8cSc7MLMWJ6Kw0gJNC2unTp3imRbdIwIiIAIiIAIpJSCFNaV41bgIiIAIiECyCFA5KykpcVxgI4nXwkrF8KuvvnISGTGBEpU7WjhZBocutxSvwlpUVORk4x0wYIDjLhyLRNs/Pi+SQvzNN984FtWrr77a6Sdl3759uO6663DyySc7LszMDsw4W1pGmWE4XoWVrtFMVkWFlcmsJCIgAiIgAiJgGwEprLbNiPojAiIgAiIQSIBJkOi+evfddztlWsKJX2HdsmWLowAyRpNur4z79FoUvQor22TNU7ruMisva6NGK9H2j0om2//tb38bmHTpqaeecuJuaRFu165dxeOZDIrWV7o4/+Y3v3HGwhqrXonFJdjl0rhxYyf5lDcbcrRj1nUiIAIiIAIikGoCUlhTTVjti4AIiIAIJIUALYp042Vc6oQJE0KUSVolWY+UtVT9CmtpaaljlWW5GiYsat++vaOU0j2Y4ldYqdC++OKLTkZeWmVZWsaVL774AiwnQ8utX6LtH917//3vf1fEz3rbpzWYJW+YBZlj9ArrtLLcDuNuP/roI8fSeuKJJ8atsDJ51bRp05y6sqNGjUrKHKkRERABERABEUg2ASmsySaq9kRABERABFJCgMmHXnrpJcfK2rVrVwwbNsyxQFIRZT3RU0891Yn59Cus7AyvoVWSyitdbc8888yKPvoV1j179oBWTrbTv39/DB482En2xGdQKWaypiAFL9r+edun6/HIkSOdWFpaVTk2WoLpttyiRYsQjrSI0oLKTMm8/umnn67EOZyFlcmZLrzwQud6WmlnzZrllNZhYicqrBIREAEREAERsJWAFFZbZ0b9EgEREAERqETg0KFDoJWTVlBm9KXQ4koF8oQTTnCspkycRBdgxqK6MaDFxcWOsrdz507HSltYWFjRNjPxMoPw+eefX/GzvXv34uOPP3aU1A0bNqBmzZro3r27U2aGJWm8VlFvJ6PpH69n+7SSfvbZZ077FMaQDh061LGgNm3atNLY3fhdJoziNRyfXxiTysROdHlmgioKswkz6ZQrVHaPPfZYR1FmTC/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CIiACIiACIiACIiACIiACNhKQAqrrTOjfomACIiACIiACIiACIiACIhAjhOQwprjC0DDFwEREAEREAEREAEREAEREAFbCUhhtXVm1C8REAEREAEREAEREAEREAERyHECUlhzfAFo+CIgAiIgAiIgAiIgAiIgAiJgKwEprLbOjPolAiIgAiIgAiIgAiIgAiIgAjlOQAprji8ADV8EREAEREAEREAEREAEREAEbCUghdXWmVG/REAEREAEREAEREAEREAERCDHCUhhzfEFoOGLgAiIgAiIgAiIgAiIgAiIgK0EpLDaOjPqlwiIgAiIgAiIgAiIgAiIgAjkOAEprDm+ADR8ERABERABERABERABERABEbCVgBRWW2dG/RIBERABERABERABERABERCBHCcghTXHF4CGLwIiIAIiIAIiIAIiIAIiIAK2EpDCauvMqF8iIAIiIAIiIAIiIAIiIAIikOMEpLDm+ALQ8EVABERABERABERABERABETAVgJSWG2dGfVLBERABERABERABERABERABHKcgBTWHF8AGr4IiIAIiIAIiIAIiIAIiIAI2EpACqutM6N+iYAIiIAIiIAIiIAIiIAIiECOE5DCmuMLQMMXAREQAREQAREQAREQAREQAVsJSGG1dWbULxEQAREQAREQAREQAREQARHIcQJSWHN8AWj4IiACIiACIiACIiACIiACImArASmsts6M+iUCIiACIiACIiACIiACIiACOU5ACmuOLwANXwREQAREQAREQAREQAREQARsJSCF1daZUb9EQAREQAREQAREQAREQAREIMcJSGHN8QWg4YuACIiACIiACIiACIiACIiArQSksNo6M+qXCIiACIiACIiACIiACIiACOQ4ASmsOb4ANHwREAEREAEREAEREAEREAERsJWAFFZbZ0b9EgEREAEREAEREAEREAEREIEcJyCFNccXgIYvAiIgAiIgAiIgAiIgAiIgArYSkMJq68yoXyIgAiIgAiIgAiIgAiIgAiKQ4wSksOb4AtDwRUAEREAEREAEREAEREAERMBWAtYqrGvXrsULL7yARo0aYfv27ejbty8uuOACHDp0CH/+859Rs2ZNbN68GSNHjsTo0aOd/0tEQAREQAREQAREQAREQAREQASqDwFrFda//vWvaNq0Kc4991ywk/fddx9uvvlmvPHGG+jXrx+GDx+Offv24d5773V+3rZt2+ozKxqJCIiACIiACIiACIiACIiACIiAowuuW7cOeWvWrCnr0KGDNUg++ugjzJ4921FYlyxZgoULF+L666/Hww8/jB/+8Ifo0qWL09cHH3wQl1xyCXr27GlN39URERABERABERABERABERABERCBxAlYq7AWFxdj8uTJeOWVV1BYWIjHHnsM9evXxy233IIJEybAVa7587Fjx6J3795R0aBL8aZNm6K6VheJgAiIgAiIgAiIgAiIgAiIQDYTqF27Nlq3bp21Q7BWYf3www/x5Zdf4o477sDbb7+NTz75BD/72c/w61//Gtddd12FhfX+++/HpZdeil69ekU1CUVFRU5MrEQEREAEREAEREAEREAEREAEqjsBGv+aNWuWtcO0VmG9++67cdVVV6Fr164O3AceeACXXXYZXn/9dYwbN65CQb3tttscBbZjx45ZOwnquAiIgAiIgAiIgAiIgAiIgAiIQGUC1iqsdAVmFuAhQ4Y4FtGvvvrKUUzXrFmD1157zXEDnj59Olq1aoWLLrrIcRuWiIAIiIAIiIAIiIAIiIAIiIAIVB8C1iqsjGHdtm0bSkpKHNosb8MY1tLSUufnR44ccX7erl276jMbGokIiIAIiIAIiIAIiIAIiIAIiEAFAWsVVs2RCIi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tVOjjom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jVNTtAnYvwAo2QMUtgXqDwDy64Tvqa7PLj6cyQNLgIPfmjmt3RWo1yfyStT14uMlUHoI2DcXKFoP1GgI1D0WqNUuPCNdLz7+1aH3RnLfGzbuJdQnERABEagmBKSw2jaR3IQu/h5wcDlQdgTIrws0OR3o+QJQ0Lhyb3V9dvEpKwHW/x5Y8whQvMfMZ0EDoP0tQIefAXk1Q+dY14uP/1NfcgBYcjWwYxJQesCsmdqdgV4vAQ2Or/wdoevFx78q9N5I7nvDtn2E+iMCIiAC1YyAFFabJpQn3nNPAw4srtyrZucALb5T+edrHtb1pJItfA6vBzhnJXtD57JGPaDjHUCtDqE/1/WGh/gcXRfbXgX4xy91ugKd7q38c11vmIjP0bWh94ZhEet7o+V3gZ5/iWyZtWlPob6IgAiIQDUhIIXVponkJmLlnTb1SH0RAREQAREQAREggZotgYEfA3V7i4cIiIAIiEAaCVirsL722mvYuHFjBYqvv/4av/zlL9GoUSM8++yzqF+/PjZs2IDBgwdj7NixKCwsTCO2FD1q0aXA1pdT1LiaFQEREAEREAERiJsA3e8HfAw0Ghl3E7pRBERABEQgdgLWKqzeoXz66ad45513cNddd+Fvf/ubo6QOHToU7Pzdd9+Nm266Ce3aRUg4EjuXzNyx4nZg7a8y82w9VQREQAREQAREIDwB5pEYMMUkQpSIgAiIgAikjYD1Cuvhw4fxwAMP4KSTTsLo0aNx++2349prr0WXLl0cSA8++CAuueQS9OzZM23QUvYgJsKYPQQoK678iEYnA31eBWo2Pfo7Xj/vTODIVl2fDXw4SxueAZZPAEoPh85ZXiHQ9VGg/U2hP9f1hof4GA7FuwB6Yux8v/JnvqAJ0G8S0NCTeEnXH+UkPoaF3htH10Qy3hsp2xCoYREQAREQAZeA9Qrr8uXLHRdgKq10+73lllswYcIEdOhgktM8/vjjOPvss9G7d3QxJYcOHQpxNbZpKRQWr0S7DWcAKAvpVlFBF2xq/jxKCo2S7pU6+95By12/QH7p0SQ+uv4oIdv45JUeQNMd96DhgYkh87i3znnY3uwhlOXXC/m5rjc4xOfosqhRtBqttl+LWkfKyyIBKM2rhy1NHsbB+udW+o7Q9eKj90bi78niGq2wocU/A9/DNu0j1BcREAERCCJQu3ZttGnTJmvhWK+wPv3002jfvj3OPddsxG699Vb85Cc/qbCwUpGlhbVXr15RTUJRURF27NgR1bXpvagU9Tfehvp7/m4eW9AEpc3Go6hwAPbWHoOS/ICSNuUdrH1kIeoe/hwFpZtRVNBD1/smzjY+7F79Qx+izpFZQFkZDhYeh/21z0AZ8sIuOV0vPt7FUaN0D+ofmoRaxYtRnN8CB2qdiEM1+4VdP7pefPyLw7bvRRv703DbQ8jf87GD7lCdEdjVMfSgMb17BD1NBERABOInQKNf06YeL834m8rInVYrrEuWLMGTTz6JX/ziF2jbtq0D6LHHHsO4ceMqFNSf//znuP7669GxY8eMAEzaQw+vMyVtDi4zTTa/AOj9MpBXI2mPUEMiIAIiIAIiIAJREtj+BrDgfOP1xIRLI3cBNepGebMuEwEREAERSBYBaxXWkpISPP/882AM6w033FAx3rlz52LixIk444wzMHPmTHTq1AnnnXde9mcJZnbgby438at5+cCAT4BGJyZrntWOCIiACIiACIhALAT2LzAHyUe2mbv6vg40Oy+WFnStCIiACIhAEghYq7CWlZVh165djiJar97RuD7358XFJjFRixYtkoDBgibmjAR2TzMdaXwKMOAjAPkWdExdEAEREAEREIEcJEBFlQorFVdK258A3Z/KQRAasgiIgAhkloC1CmtmsaT56bs/BeacYh5Kt6Nj/wW0uCjNndDjREAEREAEREAEjhIoBRZeCGx73fyowfGmDqvcgrVIREAERCCtBKSwphV3wMPKSoBFFx19Idbpbuq81TIxuxIREAEREAEREIEMEdjwFLD0evPwWh2BgR8DtbtmqDN6rAiIgAjkJgEprJme94NLjcvR4fWmJ47L0ZM0tWa6Z3q+CIiACIiACOQ2Ab6jZ7DOexmQXwvo/z7Q6KTcZqLRi4AIiECaCUhhTTPwSo9b/xSw7KflWQhrAMcvBWpXrrea6W7q+SIgAiIgAiKQewTKjMJKxZXS9VdAh5/nHgaNWAREQAQySEAKawbho/QQMGsQcGCx6UXL7wDH/juTPdKzRUAEREAEREAEvAR4qLyenk9MijgKGPCh+IiACIiACKSRgBTWNMKu9Kgt/zKlbCj5dYD+k4BGJ2eyR3q2CIiACIiACIiAl8D2N4EF48s9oQrK67EerV4gWCIgAiIgAqklIIU1tXzDt156AJg/Dtj1sbmm/gCg/4dAzWaZ6pGeKwIiIAIiIAIi4CegeqxaEyIgAiKQUQJSWDOFf/9cYM5pQPFO04MuDwEd78hUb/RcERABERABERCBIAKV6rH+GOj+J7ESAREQARFIEwEprGkCXekxq+4BVt9vflzQBBi6GChsmane6LkiIAIiIAIiIAKBBFiPleXnXjO/VT1WrRMREAERSCsBKaxpxV3+sJL9wBdtgeI95gftfwZ0+00meqJnioAIiIAIiIAIVEVA9VirIqTfi4AIiEDKCEhhTRnaCA2v/Q2wojwtfkFjk3Gw/nGZ6ImeKQIiIAIiIAIiUBUB1WOtipB+LwIiIAIpIyCFNWVowzRcvAuYdwawd5a5oOFwo7Dm1013T/Q8ERABERABERCBqAiwHmsv4OC35mrVY42Kmi4SAREQgWQQkMKaDIqxtLH7M2D+WKBkn7mr5wtA66tjaUHXioAIiIAIiIAIpJtASD3W04ABH6W7B3qeCIiACOQkASms6Z72JVcDm14yT63VARi2HMirme5e6HkiIAIiIAIiIAKxEFA91lho6VoREAERSBoBKaxJQxlFQ4dWATN7A6UHAeQBXX8DdLgliht1iQiIgAiIgAiIQEYJqB5rRvHr4SIgArlLQAprOud++U3AuifMEwtbAwM+Bur2SmcP9CwREAEREAEREIF4CKgeazzUdI8IiIAIJExACmvCCKNsoGgTMPc04MBic0Oz84DeLwP5hVE2oMtEQAREQAREQAQyR8Bfj3UoMGAKUENJEzM3J3qyCIhALhCQwpqOWd49FVjzELBzMlBWYp7YbxLQdHQ6nq5niIAIiIAIiIAIJIOA6rHGT3HTC8Dmv5n7W1wCtP1J5LZsuz7+ketOERCBBAlIYU0QYJW3r/8jsPJOoGTv0UvzCoD+k4DGp1d5uy4QAREQAREQARGwhMDBZcCMHgDKgPxaQP/3gUYnWdI5S7txZDuw9Fpg68TQDjY7F+j5PFCzZejPbbveUqzqlgjkEgEprKmcbVpW550OlB6u/JR6/YH+k4HCVqnsgdoWAREQAREQARFIGgF/PdZHgQ63Ja31atnQmkeAVb8Eykp9w8sHajYH8n2VEsqOAIwXzsT1HX8BdHmwWk6DBiUC2UxACmsqZ89bs83/nBoNgIFTgPrHpbIHalsERCALCOzevRv8Q2nYsCEaN26c1F6XlJRgx44d2L9/PwoLC53269ZV3J0LORf5HDx4EDt37kRRUZGzFpo1a4YaNWokdd1V28aW3QDQe4rSWPVYq5znr/oD++dXeZkVFzAR5tBvrOhK0juxfyFwoHxsdboD9QdEfoRt17PCxt5ZwOE1QEFjoF5foFbH8GPQ9ZH5JH2BpbZBKayp5LvoUmDry8FPYO1VZgluNDKVPVDbIiACFhMoKyvDN998g4ULF6K4uNjpaUFBAY499lj07t0b+fn5Cfee7U6fPh0bN24EFbO8vDzUq1cPJ5xwApo3b55w+9neQC7y4eHFtGnTsG/fPnANUlFt2bIlRo4ciZo1VRe8yjW9/S1gwXnGLZghPiN3ATXqVXlbzl4wrSVwZGt2DL+gkZnP6iRlxcC6xwFaukv2m5Hl1zVlFWlR5n7UK7Zdz76x34u/Z3LB0GuRn7ta7YFefwcaDq88W7o+Mp8sXN9SWFM5aTyB5UlskBS2KS9r0zOVPVDbIiACFhNYv369ozgcOXIkpJdUWocPH46OHSOcHkcxLiqoM2bMwMqVKytdTaX1jDPOcJTXXJVc5EPL6ocffog9e/ZUmnauN647rj9JBAK0PM091bitUvq+BjQbL2ThCCy8CNj2n+Df1u1T+eB+zxfA/nmZub7ZOUDft6rXXG5/E/jmitBcKhwhD1l6vgS0uDh0vLZdT0vpt9ceTdjl7W3tziZTd+1OR3+q64+yCOKTpatbCmsqJ6rh7b8AACAASURBVK70EDDnROPC4Jc2/w10f9qcEklEQARykgAVh82bNweOnRYvKpSJCN2M+YxDhw4FNtOvXz/wT65KLvJZsGAB5s0LVgZq1arlrLlGjRrl6pKIbtyqxxodJ/eqnR8A88ccrZLg/pyhUf3eAhqdHNre3hnAvDFA8c7Qn2fq+thGa9/V884Adn4Y3K8a9YEaDUN/xySh3kSh3t9m4nqUlsc0Gy+kSlLQFMiv7fmxrg9h1OluoPN99q3LGHskhTVGYDFfvuo+YPW95ra8fKB2V6D5+UCne+VCFDNM3SAC1YvAxIkTcfhwQFI2fl3k5eGYY45x3HYZc8rYVjfGkJbB7du3g1/g/phUtkdFjPGJdAPmH7p9Bkn79u1x8sm+zaKFiCONN5Hubtu2DR988AFKS/3JYEyr2cInFgafffYZ1q5dG3gLXdBPP/10tGjRIpYmc/Ba1WONadKX3wSse6L8ljyASg9jKNtPAFp+t/LBPV1St74CrHsMOLDUuF6n4vq1jwL7FxxVpDv8HOjyUPUzJGSTS3ZMC0sXR0WA3h/0AslykcKa6gn0nmy1vhro9luAp4R5Sm6RavRqXwRsJzB58mRQaYokVFzposnYwrZt26JTp05YsmSJo4hS0eLv69Spg65duzpKLOMT6WJMJa8q6dWrF447zu7Eb4wxpdu0d7xMEjRixIiEY3B37drlWKDDHRpkA5+q5tj7e1rzp06dGtbizsMPKqxNmjSJpdncvHbDn4Cl15mxM/HLwI/NgbQklEDxLuCLDkDJPvPz1v8NdH0IyK9j9kKRhPeUHjBXpOL6g8uB+WcDB6kUA+h4h1FYq5t8fQJAN2tJbhJofzPQ7fGsH7sU1lROIYO+p7cqD3LPA3r/X+VYgVQ+X22LgAhYS4BWUFq7gmIJ09FpKiejRo1C06ZN0/G4uJ6R6hhTukrTwhpuDhjPyYOAbBcq5osXL3ZimcNZ2znGBg0aOAqrMkhHMeOqxxoFJJhEPyvvMNfSssoa9A0tSTbJ8jlUWF132canmnKD/iRE0Y3U3qs2PmfyqTBMzSv5hUDTcUBNn0dF8Q6Acay2XM8+001839eVGddsCjS/iCcaob/T9YYH+fSbDDQYbO/6jLJnViusPFF/4IEHnKHQLW7ChAnO5uq5557D11+bhfvTn/7UyahppTBuY96ZpmsFTUySparSiFs5EHVKBEQgmQSoIE2ZMsXJ0hokHTp0cNyAV69enZBC26pVKydx09KlS0GlxSsDBgxAnz59kjmspLeV6hjT5cuXY+bMmWFdghlHfMopp2Rt5lxa4KmoMgu1P7FX0GTRJXjw4MHo3r170uey+jVYBszsBRz41gyty6NAR9VjDZlnxqDOPf2oolF/oEmQw0y8tsiqu4HVZp/puB2zf7Xa2tK75PSDVuql1wObXgxtr9V/mVwqNXwlznj9shuBjc/bcT17cXgtMH9caDIuxt72eglofkFlTrrexCaH45OclZXWVqxVWBlj8+c//xlXX301unXrVgGFLnR0a7ryyiudl/CLL76I22+/PWHXsJRQX3k7sOZXpum6Pc0XYWHrlDxKjWaGAC00dM/keuW/mayEcYd020xGSZLMjEpPTRUBWrc2bdqEL7/80ok/dYWKJQ/juGZYD5OxkxReT+V2y5Ytjusw3X3deq1BfaRrMJVdKlr8U7u2SUTBWpvr1q1zlBdXcaU17eyzz7Y6I2yqYkzJlTxY7sctJ0RWVO7Jh7wp2aDAUSlds2aNcyjBtcFx0HWch7z8Gcfitapy3t3YaPLlOuT9zB7sjpklj8iC7uaSCARUjzXy8tj9ubFguu7AXX8FME7UJtn1icn4TCloaPZp9QfZ1MPk9GXb68DC801bdMWmi2ibH1S2THqftv1tYM90E0PccBjQbFxmr6d7+bbXTNxxYSug8SigAUNawnxP6frIfJKzstLWirUK63/+8x8nLosbKq/cc889+P73v1/hpvXggw/isssuc17AVgldTXiyuPsz0y1+sBxXE8WuWjVPCXbmk08+wYYNG0I2hNzk0nKVy9lXE8RabW93lSSvtYsup0OHDq1IqBRu8FQ6qLB+/PHHjgIaJD179nQsZOGEa5Vr1lVgeC3vsVU4XsaYhrMOtmvXzkkaFatiRaX0o48+qojlZIzwiSee6Ch6fNbbb79dcaDA340ZM8ZJemWjsI7v3LlzK1mJ+T3kTybFgzTGLPPd6hV6M33++ecVnJkt+NRTT3UOTyQRCITUY60BjNytZIpeXEt+AGx6oVxJqgecsMm4BdskZSXA1EZHQ7eO/TvQ8nKbepicviz9MbDhGdNWvT7G48/vCpycJ6kVEUgJAWsV1t/+9rfOy5bJH/bv3+9sHq6//nrcddddjmswX7yUhx9+GOeffz569+6dEkBxN3p4gzm1c4P5O90FdL4/7uZ0o30EGA9GC02QsLYlY8Hq17fs5WwfxpzoEWMxly1bhjlz5lQkQ6JC0aNHD/Tv3z9qKyeVKSbNoeLpl2hiUplciAqga2Wl2zHXKRUU24Tf/7Nnz8a335a7XAZ0kFmTybBv375Ru+3u3bsXn376aYWlmsou54DvEFfxZX1ccnatr7SAUzFm4iubhO9Gzmc413K3r8z6y9AZ13LvHwMPMGh95/p0DzNoieWYVeImwoz767H2eQ1ornqsDrHD64GZPcsVQQAdbgW6/tqmj8/RviwYB9CaSGHJwR7P2dnPeHtFC/fc04C9X5kW6ELb55XI1tJ4n6X7RCBFBKxWWLmRYpwVN3sPPfQQLr/8cjz55JOOwtq5c2cHyf3334+LL744aoWVbk88TU611CpagDZbr0B+qYlRW9/iXzhc+/hUP1btp5EAFZBwGV6pjHCDyE2fRAToMu5muSUNKkY8dKPbbqyu43Q9pxLndSmm4kZLLd2KI1kbqYywH3QBdftBCysVV9uESiMt0pGSBLljcF3xaQ2NJFT4yY5Kqytt2rRx3Ki980BlmZ9vWnjdZ3Tp0sWZL5uEiuqiRYvCxuByTLRCU+HmGqlqbXCdeg9DeODG9WGbom7LHOSX7ETbrZej8Ig5VNnb4ApsbayDabJotvs3aLTHWPRK8xtgQ/O/oaiWnTWfG+75C5rvftjpa0lBe6xu84ktSywp/ahZvAptt1yBGiWbnPa2Nr4XextcmZS21Uj2EHDDRbKnx6E9tVZhffbZZx33rHHj6DNvFNMrrrgC//rXv0JcgO+++25cddVVUWdypCudP/lIKiavcOfLaLzpetN0QSNsOWY+kGefFSMVY8+VNmmR4IY6SLg5pLulrW6E6Zoj14111apVFVYgboIZH8cYO/8GOtbr0zWOaJ8T1H8qUW58INuhNZPlUoLGH+1zaPnj9xjbpTLBgxFa9aMRKmMzZsyomA/eS5fkWBXnaJ4V7zWM86Wrq1uah2PjISXH7SpP9HCghdEVXkPlil45QYoZ712wYEHIIROVVd4TpOjyXcHkfq5yy2sGDhxolXLP+GZaoV1LsJ83xxdLYi3ypkLPwwJXeAjC8AYprQGruawUjTf8Nwr3GOvckdoDsbPjf+QWfGQbmqy5ADWLjCJfXG8YdrX/F0rzo/uOivd7I977ah6cgSZrLqnIiru1yzSU1T6aOyXedm25r2DfZ2iy7rvIY6haXj52HPMligs62tI99SNNBPgdns0ly6xVWHlqzGzAv/vd75zN1csvv4w77rgDX3zxBebNm4fbbrsNb7zxhvP/O++8M+rNWprWBbDkv4FNfzGPazYW6FvubpK2DuhBqSbAzS/XYpBQKaOHQLRKRKr7mqn2uaFmzKVXsWBfGEPHkip+d8NYr8/UuMI9N1z/3euprNLNki6amRRmx2XiJ1dOOukkx8pog5DhpEmTKpQwKp9nnHFGJWZcU1xb3pI0XFeMRfXz5UECswFz3K7Fli/uM888M6I7Nq3RdB92FWe2y9hOW5Q3HliwLI/XYuydQ9aqdb2Rop1bjpVuxl7vEVqXhw0bZtWhRrTjSfl1IfVYOwADp6geKxMZzT8LKC2Pte/+J6Dtj1M+FXE/gPVY6TLLzLKUHs8Aba6Nuznrblx5F7DmQdOten2BIdy3KKGadfOkDkUkYK3Cyl6/++67Fe67F154oXOyTZeud955B9u3b3cGds0111g4xWXAl12AQ6tN37o9AbS/0cJ+qkvxEuDGl9aXcMlv6IJ32mmn5fwGj0oRWSVDuPHmBtxW4UafB2gsRRMkVHJYIsUGt1J+8VPRcWMfbVHE2C8mhdq5c6eDkFbNIUOGhPWg4fVfffVViKcDOTOxENcLPR0ozJZLS6SreNKqzLmoygPCXwfWtqzBtJazlq/XIsrxsp/Mrk/LeTzij/MlR4bn0DNA4iNQqR7rZKDRybmNadF3gK3/ZxgUtgGO/9a+ZEveGXJiPE8F9s4yP21xMdCb/a8mSt3soUfjV9vfAnR7LLfXp0aflQSsVlizkig7zbpsrM/GVOD5tYABHwEN7d1oZy3nDHSc1hlaVemu6M3AydgAKq/uz/h/WoWq2hBnYAhpfeSrr74a4g6byMNpnbzoIhYIT79Q6V6xYoXzYMaeMtEPheuBrrl0T2X8H79Qw8VcMikS4+1tER64cB1TqBjSIyDerLBM5kSvGLry0ruAdTxbt469hBetmV43e7ZDhTVS7CWVSn4m6aLvsqfCRgsqP49UthiL6n42+X9aVunqGo34swbzfmavt+GzzXEx27F7cEZOHDe50SqaiJs3S+TQ0u0q+V6mPJBjkiq3bFI0HKvvNarHGjK3VOBnHguUFZsfM9kkk07aLkuuBja9ZHpZf4DJolvQxPZeV92/I1uA6W2AslJTpYLefk1HV32frhABywhIYU3FhGx4Glj6E9NyrQ7mi69O9YmHSAWybGiTcWLz58936q66m19ac5hhlHFwtFbRK8AtwcGkS4MGVcN6bjFM1ptvvhnWXTGGZpxL6V49fnx6M3BSEWNIApVRr9BKWrduXWzdurWSu3O4cWWi/5EY88uf65VjpDCumO60sQoZ0LLsdUulAszMvdFmb6dSxNIsVDpdYUbbkSNHVlnuh9fzfn4uWZs7XAkcXsfPK11bOdZYJChrMN2oeQiRKeE46RLtuu5SkabVOJ6DgnBj4LiZCT3Ik4QHE8cff3xSn5cplgk/d9mNwPo/mGYan2re+TkppcCym46yqNnMsKhnZ7KlkCna8k/gmyvMj2gVZr/r2lvyK+rlRSWcynh1G1fUAHRhdSEghTUVM7nwAlPcmNJgiClEXcPOZAOpGH51bJObw2nTpoXUXKXFgZtWJgdzLUAsC0FLE4W/P/fcc3M6jpVumF4lxLs2mNWWSWy8wrjgcGVMWGuZG+R0ChUgWu+qylQbTZ8y0f+q+sUDGP6hcA2fddZZMVlZqezSwue68Hqfx/VPBYqJf6oSZi3m58s9CKL1khZff73QSO24GZBZTzRcEqJoLLZBz2C/2D9vdmWuRbrdZkpmzZrlKOmu0GU3lgRL0fSbTPmd5lri/fcwTIex6DlvaVU9VrM0ijaaWNAD5euSrtGsP09PM9uliJbIVqaXtESy341H2d7rqvvndc+uP9DsRwsaVX2frhABywhIYU32hBTvBOacBuyfa1pufRXQ88VkP8Xq9rio6KpGJY9WKLoZRio3Eev1qR68vz90RaX1xxsnRusCLTV0jfMK3eiYsISlRyhUUhhHFsmlMdXjyWT7dO9kjJ1f4aM7JpV9f1IqsqfCEVQuiNY2t/5yomOiGy/nikLlyJ85jxYlrmHG4PoTRvmfTcWMyaPcP7TGuuVQ3GvDjTfRcSR6PxMWcb26WYxp1aSVNVpXUiqqjIUNZ9VkSRVmmKVi422TFlHmISBbKpf8fLlWPCqpXBvMohyrVNUfKqzxxnX6ExzRusoDFyprXD/pTLBGqzbdp13rONcXk0GlQnFkjHC4QyRarHmwEK17dazzmTXXO/VYTwOObDVd7vY40OZHQI264YfAOqX7ZgHFu4wnVoNhka/PBhjb3wQWXXw02VKvvwGtvpcNPTd9/KofsH+B+Xfn+4BOd2dP34N6yv0o1+W+8v1oqyuBXn+tPrG52T076n2MBKSwxgisyst5ssjg/SJT7wq9/g60KnczqfLm7L+AG/WpU6c6G1EqKdyk0n2Sm+CgzJqxXp9qQkH9obLptdhwY8r41KANKsfM8buWGG6+eW2u1mOdMmVKRV1HcuQBBrPRRiqT4ZYfYfIib0woEwMx9jAR4fzQAk7LqRubR1dKum/TOsV1S4sw54/9cK8JeibHQ5dvjoeHGm6dS2//eV9V401kPIneSx60HLqJojgOKiDR1mXlwQIVVm88t7dPZEQu/Bww7pdWdf6Mz/TWpXUPNHiwRWU1Gqts0Nir6g8VcmZpjlf8WYM5FnddMyFYPEp2rH0hK7pye8uz8XORqszTPEByv8/8feX3O9dLqp4dK5uMXb9nGjD/HKN8UvIKgSajgGP/BRQE1DjeNxtYdClwiKEGxeZ6uhKHuz5jA4vxwfPHAjveNTfV7ggcvxzIi1wbOcYnpPby5TcB654wz6gOrt0HFhkDCuNYKVxfLS9LLUO1LgIpIiCFNdlgd75vXlxOvasCYPhqoLBtsp9iZXtcTLTWBJVYYMzY8OHDQyytsV6f6kFH6o/7bCrfHActrOGEG8n33nuvQtlhjCvj+XJNaO3ixtrZv+XlOdyYCCYW8buKJroxp8WXypLfZZQbbx5AhCsPEtRnWg/p8prt4l+v0cZe0+JIt9RwykwQFyqkVIrDWa1pAWX94mgtvP5ncP74HcTPcpDwgIHji1doBWb7QS7QXD9U3iJ9N8T7XPc+HgzQGu266PJzxe8WHgClSmhdpZU1SHgQwTHbkIAqVeOvst3D64C5o4CDSytfymyzPV8KDQmK9foqO2DJBfvmALOHAGUlxoLX7TcAM9Jmk2x7HVh0oUlQRDfmEzZnt/ssXdUXji9PuFQTOGE9UDOzJdWyaTmor3YRkMKa7PlYfT+w6h7TKhMNOPWuckO88XD+EXNj5U9Qws1XOFdCbmppmfTX6UwlyUj953NpnaEVJZJ7s9s/bzkXXn/++ednNEFLKrmFa5uK4apVq8xHIYJVOlLf/OVXOAe0wMXrYk1lY/PmzVHjcJ/jd2mmtwBdMKuLZcm7XqksnnfeeY41PJzQFZXlZ4Jct917aFmNZKEOaptWbsZixiucJ2Y/DoqbplLF7L5uqZt4nuF3+fe3QeWRB1SpEnqAcA2735u0hFNh5PdlqoTf0++//35FKTnvcxL9PKaqz2lt1/vOr/Tiq1FuYc0/+hseZruWWP/1VCacJEV90jqEpDxs8feBzf9jmipsbaoj1I3/cCgpfYq1kf3zy127TdlE9H0LaHZOrK3Yc/2yCcD635v+MJ544Cf29E09EYEYCUhhjRFYlZfPOQnY/bm5rP1NQLffVnlLdbkgkutYrGOkokCFNZ0KQaT+x9ofWmC4sXTj8li/kNadeBWtWPll+npa0Ogq6lrSaFmlhTWe8c+cOdOpo0mhEsUNerwu1hMnTqyI+wtiRGWNig1dO5ltlTHKVHBp0WK8J4XP5nwynjae8WR6boKe7y+PEin2mlZMKrhbtpS7mZUfSJAdXyg8mGLcOuM7+bMNGzY4DBmzGs7y6fYpUZddtkMlmS7ftPxy/Xn7k6glMNUux5HWRjqyAod7PuecyZc4fsbnuwc4PFDk5zEVsbM2fk4C+0TX3q0vJ6e7eTWNwtpoZHLaS1crh9cY19NDpvQXmo4F+kwE8munqwfJeQ5dZzkOutI6e7gJQLffJafttLdSBszoDhwsr4Pe5SGg4x1p74UeKALJIiCFNVkknZ3SfmBqo6MuMX3fzO7TuRjZeDPkxnhr4OVUGhj7GsnSk4znuG1E6j83vdyY+ZPzhHs+N3S0QHGzTkmHu2AyWSTaFuuSshyGK2PHjo06LtL/bG6WWR7HFWZnpUIVj0yePDmsVZDujaeddprj0unGo7rPoBLkrUcZjZU9nv5l6h5a0VgixbU+h1uvVAB5nau8s7+u0kJmXPdu3KrXrZftkx8TUvEAIpzllQcBxx13XMIY2A8+g88N6k+8D6D7NA+i3GRH/naS1f+g/vmTH6UiK3AkLu4cLlu2zLFiU8iWSazi/TzGOw9W3bfyDmDNI8npEut+UmFlHdBskm2vmmRLdKWl9H0daHZeNo2gvK+lwLyzgZ2Tzf8bjjCW4mzIcuynzXwqrIeLMhMjPeADoNFJWTgn6rIIGAJSWJO5Epghb0H5l7RTf2wKUC93YhcjucvRdY3xn37hBtbNUBo0FVQUGXPGZC2xlLiIZ1qZUIWb8SChpS3WuovM5MnNrbtpZmweE89Ud6GywBheN1Muy/7QfTYR8Vq/E3HtXL58uROP51eYqFxRUcqF+Qk3D5s2bXLWv2s9Iw8qYK64WZO98Zv8TJ9wwglRZ8illZBJydyDHG9f6NbKAwObM85G6j/HwgRb5JHsA410ZgWu6nPKzw5dhN3PNw8UR48enfLv56r6lbHfM0PwvDOOJlr0doRhQXTFzMsL7d7WV4KvZxmVPq8AVFyzRsqAOScf9SzjnmfwHFMaJhtlzcPAyjtNz+t0MwcIzOKcbbLu98DyCabXtToCAz8GanfNtlGovyJQQUAKazIXw7IbgPV/NC3W7WO+IHIswJ2lFpjYxiu0wHAjGmQp5caVsY5BhendNniKT4sPXUqDlN5kTCE3oux7UHxjpP5X9Wxuzr0ZWMePH5/0zWxVfUj371n+h9ZlSiy1OCP1k+6nVKZcRZOWdybyilVoraWrsv+QhAcitBQlEt8Ya19svJ41Vam4OnucWrXgrlceRjHjszdZEt31+bmOVTkje7blVXwZE8z4cCaysl2C+u/9rkr2wVS6swJHw5+He/yMu9mhbawxHM04knbN9reBxd8LjU1l/CZredZqX/kxQddTwRu2Kvj6pHU0BQ3tngbMOdFY8ig9ngPa/HcKHpSmJvd+Bcweah5Wo75RWBsMSdPDk/WYUsDJ2PyeabDB8cDAKUB+nWQ9QO2IQNoJSGFNFvLSQ+aUdfdU02LTswG6BFt2ysj4IyYkoVLJf9Naxc0G4/ES3axzE8ONqOsWyM0nY9L4x59wyYudbnZUFLkRdGti0hLGhD1eRZaKa+fOnZ22+Kxk9Z+bLrq4MRuma12ilYdWVSqrVfU/0hJizBcVLTdJSqqTsiRrOcfbDhVK1l11LWjJinGjCyaVKVfJYXwpM/TGumaZYZXxjRQq0z179nQOQbJBUYp3TmK5z1+2hcooPRvI3/tZ5GeCdYjjTfbDzwO/g6gIM/6Rn7Vo3e1jGU+qrvX2n+uI31fuIQj/z8O1eGOc+X3EQy663pIP23PrOqcjK3A0zPwHfFwjo0aNSmuSvGj6mdZrWOty98fA4U1A3V5A8/OAgqbhu8Drt/wTWPc7U1WAMnguUD8JSbuKNgPrfgtsfx3gv6k8U4lseXlwXGki1x9aBZQeNv2nck4Fr058IRtpna9wD+NcTG8DHClPvNTzRaD1VVZ0LepOcD5Zf/XAN+aWdtcDx5QbU6JuRBeKgF0EpLAmaz78SQe6PgJ0uD1ZrSetHSqU3JR6s55yE8TsnIlkt+QGhgoFE6tQ4s0K6w6U/WOcHK2vQSUkvEAS7T+VGNbmdJmw78wmGknJjnZCqMBRYXUT1FAhZyxsqt2bo+1fsq/jnNGC6W6woy2REk0/vFmcY60Xyva5+WeZHdcqRKsqFQvJUQL8HHP+In3munXrhiFDhsR8WFCdOdMqzYMa92CK65Nu8Ew+Favwu2jevHmBtW3TkRU42v7STZmuwa7kvJU1WnDe6w5+a5L8FJlcB+j+NND2R/G0FHpPhXWtPKaUv2WZvY53Ap3vrdx+Mq5nq6w92+99IM+TFTnx0aS/hYUXAozLpbS6HOj1j/T3IZEn7p9r1lXxTtNK//eAJmcl0qLuFYGME5DCmqwpoBsJT7RK9pkWj5sBNCh3K0nWMxJsx58Ix9sc3XWZlTfeGoLMyMkkO67LZrISgrBeJjPE0toQqUZmvP2nFZdJYNyNJts5+eSTkxpH540NpHLNpEHc9FdHYTZdNyELrXPnnHNO1PGNVfGgBevtt9+usPSx9mS09Se5LhkHS3dlCq16tAhRAZAcJeDP7uxnQ2s0Px/JOMypTtx52LVkyRJn7bsHX8wmTVaxlOaqin8qkzrFMx/8zud7hUJvBx7GMVmeJEoCtOJx38ByKhRaQI9NUDliaRmWmAmSmi2Bdj8NrS3K+rFuKJP/nlivry6xkhv+DCwtPzgobAMMX2udt1zEFbb5H8DiK42bdo0GwAmbgBrhy5RFuVp1mQhklIAU1mTh3/QisOQa0xoTJozYZt0pozee0j9sup1RYY1ns0GL1RtvvFFRsoIbNFoovVlCE8VMix2tw26ij2T03x8XSWWSVpE2bdok2t1K93tje6kssS5rMvkkvcNxNMh18Nprr1VYV6mU0200mTJ79uyKGptUmi644IKoLH20BtEDwD1Q6d69u2MlrC5laZLFmC7sTBQWLotvMsrOJKuvtrVDRZXu5rSOukI3Z8b5Rlv2pSr+TOrE5G+2iD9rMg80ON5YXfXjGQ+/vxnesm/fPselnF5C0XKO53mpuacMmH+2J9ZwqHGprVEv/sd9811gy7/jvz+RO/OZjfZjk103m2XPl+YgofSgGcWQeQATaGWLeGviNhsL9H07W3qufopAWAJSWJO1OLwviRYXA72TVJctWf0DMGPGDMdSGSS0hvF0PFYXNm7SuEFz4wK5UWFCnFTEBEbqP8fEeET+icZKzI0WlUhudigcP7Oipqo8A62sfB4txhR/BtYkTnPGmuLa4hy5PLlxTXYdXR5YUKFyLeLRcKTyRWWVSiuFVvQxY8Zk4eY29VNLvnQJdtepuDBQUAAAIABJREFU/4msp8ssuJJgAlyX/Ay4idZ4FZOD0fU8muRU9Pj44osvAt2B2ZZt/HlIRQ8VxvC6n3sq1Kk49PMSp6LK9453nfJ7n94rjG/PKll1L7D6PtPl2p2Nwse/45VvfwhsfC7euxO7j4q2k6TILu+ymAfFuFwqrPyb0u1xoP3NMTeTkRsYg/tFJ6Boo3l89z8BbX+cka7ooSKQTAJSWJNFc1pL4IjZEKP7M0Dba5PVctLa8Sac8TfKlz0trLHWPKWbLhUILiQKFRS6WqbihJ1JWqj0RRLGjjEWlxa0cMJNzqRJk0JqSVLRpfKTKosbn0lOboxvspIRJW1xJNgQx0elkBYiCpNW8QCE2V+TKVQ+qVC5HKN5Dl01Z82a5XSD80uFi8m7JJUJ0O2afMO5348cOdJJJiQJT8B/QMIrud6otIbzqmBCK65RhlaEs26zHRv5MyHX66+/XqE80kvnrLNSFy9Hyyq/a9xYdO9M8HuV75+syhGw6yNg7ulmGHTfdBS+wfF/xLa9Diw8P/77E7mzdjdTHSEby8B4x03LKmNA935pftrsHJNEE77yRImwStW9e6YDX5dbuKvLAUKqWKndrCIghTUZ07VvHjCrvNA304YzfTjTiFsktC4xhi9czVO6V/J0OtZSIdxkUSFw3rU1ajibhWRb1bwY3Wy+kTZ1vJ6bJiqhtPR6LRvcGDKRk5vF1s08TNfVVLvoehVuPouKU3XZ/FOBZHIpN5NsNJbPeD8etOZ8+aXZSHBuI1ly+QXHgwJXAaOCy+vjzW4bb5+z6T4qTaxV6ybOYt+5Xul9QDdqSdUEuN54uMZEX+53Iw/SmITMK/w+ZgwoM5S7h35BrdvOnxZPb/wuS0RFOjSsmmDwFVSO+c6hJTpIeEDGgzKba/lW6nfJHmBaC6C0yPzq2H8BLS+LF5G5b/ktwIanjmbv5c9YG77bE0CrKyorXqm+PrHRZObupT8GNjxjnk13YB4kkKHtsvpeYFW5xT6b68jazln9SzsBKazJQL7uMWD5raal2l3KXXrssUJwU0SLoldZ5Qk0rWKua6W7qeJmPtpap1RSJk+eXJFkhAoiaxCmUniqzg01N3jcFLKvTETCzJpuQh33+dzkMakON9pUUOn+62YfdhOjULFl3Go6ksjwmcyq6VohqWyxf1RayS6bxXtwQZYXXnhhyg4AyJGxsu56jhQr600CRb50V2QcoCQyAWZ7ZlZmurLT+4LKB62EqT7UqU7zQobMSu0erpEdPVj4mSdPV/niIY8/azszWPO7meW+soG/3zIfjwdJuJhUfufz+5sHVbyG7y0vL++aIWMqrKk8NE3JGv16GLDHhFOg7XVA9ycTe0zxDmDuKIClcygss8MwpXp9gq2EdCPd8r/AhqeBg0uAxqcCne5N3vWJjSYzd299BVh0iXl2zRbGclyX/CwWzuNcllcs90RrdDIw4EOTIVoiAllOQAprohNYVgIwBfr2N0xLDYebL4h8OzKy0UrCk35XSeILvUePHo77K2XFihXOibU3Sy5jUKtKvsRNA9vlhtZ5H9at62wUmBkzE+JuaqjIclMT5C7m7xc3jsziGU3Ma7LGtHbtWsfS7d9wtW3b1nEZzL6kIXAscW+99VZc2Xvj5coDijlz5ji307I/bty4StmIeaDx3nvvVfTLtoQ18Y5d92UPAR6iMZOut4ZtuN7zoIdrlIdX2Zi92u96T2t8tFbWoJhUvlP4PmFctfdgNdLs8yCW7yGWD8sqWXYTsP4J0+X6A4DB5rstbjm43MRgHl5rmlAcY+woj2wDprc1NXLzahiX4KZnx95OOu/gfHPeOf+UTvcElzFKZ5/0LBFIEgEprImC9KelZ+wqY1gtEdYGpJLkCpNh0MrkuslScaIVyt388zq+9EePHh0xnpWKKrP2uophMuttJoLOVVyZ+MTr0uhvk65jdF+ONclUIn3jvQsWLAjJIuptr3fv3hg4cGCij0j7/YnWR42nw3S1pKuvO8f+ch9c1zwYcNc+lQFuZJm1VSIC6SLA9cl16roGh3suv4cYIkAFLVVx9KkeMz9ztCgzoR2Fn7nzzjuvSu8VHjCSUTiraSz9jiamPZb20nbttv8ACy8qf1w+MHInUJCA0r1nqonBpLJFGbbCeH9JYiMwexiwt9zy3fEOoMtDsd2f7qv3ziwvr7jfPHnQNKChkuSlexr0vNQQkMKaKNcDC82LwU241Gci0PzCRFtN+H66oVEJdeNL2SDdZ2k9DbLiMSETFVdXAeXGntbHevUqp9endZWJWdwSM9xkUcFNh1tttGDobvfJJ59UWJb992Uq1ol1RMNtXmkVoKUwm4Scudl0N6nM0HnKKaekJOmWlwvXKQ9jXDdwsmPSMHdtM2ab8+9atphdNR1xytk0d+pr6gns3LnT+a4MZyGkFZGHVAwLyFZF1UuRrrv8XLpu0MyJwENSvkfoteM9KGXNWXr+8B3lJlELNyN8t/CdxD909+XnnPfxfh4KuO8tMuTBH+uAZ5Xsm20UjeI9ptv93gaajo1/CGsfA1Z4wpSosEpiJ7DyDmDNI+a+BkOA42bG3kY676BL99KfmCcWtgaGr8uu+rHpZKVnZR0BKayJTtnOycA8uomUmpZG7gotyp1o+3HezxIjTJzivsi5YaCFKZz7K69jMiLGh7rCU38qAf6MvyxhQwWXwg0ClWAb4wJpYfOOx4syU7FOEydOdGLXgoRK9CWXlMfMxDnv6b7Nn7GTayHWxF3x9nnjxo1Ooid3HXpr6PLn/D2Fm+Tx48cr0VK8oHVf3ASoUFFhDReiwKRwPOCpLsLDTH723BJS7meT7wkemDLLMZVTHo7ybyq2kSyrvI+uxYyf5nvIG0NNpu79zKXAmGH3eQx5yaq8AIfXmIPvQ+WKZac7gc4Pxr8s5p0F7Hzf3N/mR0CPp+NvK5fvDNnf0fK9DSiw2EtnwThge3nN1VbfA3r9LZdnT2OvZgSksCY6oStuB9b+yrTS8HhgUHka9ETbjfN+vvyppLGWn3vKzdNobhRYXD2S8HrGW9GN0t1EUBGlZcq1nvJUnBY1t34pT7u54bLJuuqOkfGsVNqDJFOxTpGUaFon6aacTeIdD62cY8eOTVtiHq5RJhOjFYvCOGAqrcwgysOXrN28ZtMCUF8jEvCX/fJfPGjQoEqZg7MdKbMe8z0SJFQ6q8rw7r0v2u9pfgcwpwLfTxRmAefhWVXvPGtYlx4oL6NS7n7a5Eyg3zvxJcsp2Q9Mbw2UsMZ4HtD730CLS60ZalZ15MAiY/ku2mK6bYkHXSBDZ97bACV7zbz3+h+ASqtEBKoJASmsiU7k7CHAXlPjERbEOPDFzRp1rhWP1qVYCrnzPsamui5aPOFmFlaWvKF44xX5f2YVTnWR+HiniCfwzMob5G7GzMEsvZBuNzy6UXN+gpKwcHN2zjnnWKn8B80BN+NMtuQebvBgg2slneJXTqmwsryG66LsdxVOZ9/0LBHgZ4OhGbQo+oWZdMeMGZNy9/l0z4L/HVHV8+n1w+/qoLI+sXxPMzyAYQCuUGnlAVrW1GRdcg2w6UXT/Xp9y8uoNK8KX+Xf07JKCyuF1kCWY2EiJ0nsBPw5StpcC/SwJ0dJyIB2TALmlyeF0rzHPte6w3oCUlgTmSIni1xrgJmCnSxybwFNxyTSonMvJ4VKFpUaf+xPUOPu9YzlYVyP1zWKsTxMiBSLYsZTalrOvIoeFRHGD3HzRbcvCt20RowoL1Cd8KhT0wCVKrov0zWPyjh50mW1T58+GdkocgPLeqzcwDKWlRs1/nGVPir/tIbbaLH2zhAPRphAyk1qlKks0VyrdLl0LSvc/PLfmVSiU7OS1Wq2EqBFkVmt6flCzxR+thnPydjVTGVVTyXLSF4kfC7Hz+RI9M7h9x3/zc9sMr6n+f7jO8q14vIZPLDNiuzrG58Dvv2hmZrCVkbRrBtatzeqeVt5O7Cm3Ourbk9gwBQTzyiJnUBZKbDwfGD7m+beBseb8jaWVIEIGdCyG4D1fzQ/4rrh+uE6kohANSEghTWRifTW6SpsWf6C6Z1Ii04iIyatcE+b3dgfujcFKTHe6/2xQH379kW/fv1iUlbdzlPRoyXQVQT8g+LpNWNis6H8glcpJE+6pcWiwCc0oWFu5obK7Rfd55ishMJ+MfbKLTuUimcn0ibXGGOY+cfr2sf4NFrb/fHOiTwrmnvJkB4Bbnkl7z3sE9dopuc6mnHomupNgJ8bN96S65GxmNW1pi0VT34/BAnj9OkFwfwI/vEn43s6KBcDrbSuh5DVq+zAEmBmL9NF1s2kwtHoxNi6XFYEzD0d2P25ua/xKKD/ZCXeiY1i6NXr/wAsu9H8rHZnMy/82yYpPWhcl/eUh6Q1OQvo/y6AfJt6qb6IQEIEpLAmgu/bHwEb/2xaqNev3IWnWdwtcjIYH0pl0S+MxWGCDr8sXbo08Hqe3HOzTstXvLJ69WpMnTo18HZaW5mQiRsQSWIEaBnnIYU3UcngwYOderm2KVu0qFLBdq3s7sipqLKOLLOdplPC9Yd9IMOsSrySTnB6lgikiAA9R3jYefDgwUpPYJx+uMPXZHWHGZn5feo9xOrfv7+TPdjuQ4JSYFob4Eh5vGTXx4AOt8SG5fC68jqcy8x9ne8DOt0dWxu6OpTA/vnAV/3Nz2hZHfCBfaVimKyLSbuYvItyzO+BdjdoJkWgWhGwVmFlpsF//OMfFbC5+fzxj3/s/P/pp5/GrFkmbvTmm292XkRpl5ID5sXg1uhiCvp+b5lg9ziEJ8MzZ87E8uXlBZ/jaMN7Cy2gVCgZJxWvRIpFSkb78farOt5HN25u8lzLumuJoEubLcKNILNxhivLw76eeeaZae0u3YGZqThIMtGftA5eDxMBSwkwQzcPO72x+nwXMalcOmJK6XrN71M3OWCsuRwyhpW1WFmTldLiIqD3K7F1hfk0uC9xEu+oDmds8MJdXWaSGRVtNhd0fxpo+6PkNJ2sVnZPNfPu1t0duhigO7hEBKoRAWsVVibLYUKV//f//l8Ibrcw+Xe/+10sXrwYzz//PG677TYnHiatcmil+YI4tNo8ttvvgPYTKnWBp8zsJ+MWGUNJyyfjQVkXkr+jVY0bbr7gg5JOxDumZJRtsbEsTLw8suE+rhFaL92ajYy3ZQbmVLpd01WR8b1co66Fl+56jHvm30xexJ/TWsF16reserlmoixPdSsTlA3rVH0UgWgI8LuD3xn0IOF7jx5C6YzN53cWlWY3ASG/nxjL6n8PpzuMISI7b/3Umi2AEzbG5s67+X+Axd83jyhoDIzYAuTJCyqa9RrxmsVXApv/bi5pfhHQJ8aDhIQ7UEUDrBXLmrGUOscAxy9N9RMTaj/SvoN7+SDPMhp1qBOwZCMP+Gk0YWUA7lUS8SRMaCC6Oa0Esk5hvfvuu3H11Vc7Ch/lwQcfxHe+8x107949reCcWAEqrIwdoAyZbzL7+cRbD9L9FT+MfHFSMamqDl28g+LGgBbWRJSdSLFIyWg/3rFV5/tYEoIlidx4ZLpeMzY0VUlD+MVPN3S/+x4tEtzIUUGNtgwFk6cw62k6hRZfKtxBkon+pHPsepYIiEBkAgwZoNIaVAeX72Em36O7sDWy+1MTg1pmEhvi+G+BOjHsbRb/F7C5vPZm8wuAPuXWWmsGmKUd2fQSsORq0/mCRsDIXXYN5OsRwJ7yUlLtbgSOecKu/vl6E27fwX0OQ9mCPAMZFz9v3rxKdZvlSWX1VCe1c9YqrKyhOWOGqUk2e/ZsZxGPHj0at956KyZMmFARK/fII49g/Pjx6XcL3vAnYOl1ZjJqtQWGr60U4L5ixQpH+YhWqARSUXEtbN77gmJ/Uh0rlOr2o+WSS9dROaS7O08RKdxU8XCGJXhSYQng+uQ6jVZ4qsn16d8A0qJPt/10Hxyx73Sl9yvVmepPtBx1nQiIQOoJ8HuK8awseRMktMzwYJfZxa2QA9+U1/0sdz/t8SzQJtTLLGw/Wa3gi45AkUngh+5/AtqaMCpJggT2flXuas3atnS1/gJoOCzBRpN0u1Otoq1xB2a1Ch5SNDsvSY2npplI+w4mS2zfvn3Ig3lwTp2A3hpBwqRqTK4mqd4ErFVYvdjpBvDYY4/hrrvuAhXUG2+8scLCev/99+Piiy+OWmGlJSncyyvaqa5TNBOtdt2KgiPmJbi3znhsbvpYpdsZjxpUA9R/IZUAfkjpgskJ4X3eDThjfpg8Jsidim5XsVwf7Rjd61Ldfqz9yYXrucnil7NbnohjZj1R1+pKyyGTcEUSuvG6lseg69kWDyT8aydcm3Tp46EJN3Z0XfYmiOI9LNPBMkfpTmpCViwX4o9jzVR/cmF9aowikE0EIr2HeSBIl0JbFNYapTvQbuv3UFhsXDr31rsImxs/GhXuWsVL0GHzOOfasrzaWN/8bzhUODCqe3VRZAIFJRvRbtv3ULPYJDUqrtkJu+tdiZ31yt2vw9ze6MC/0eiAcR/eW+fclFzfZP//oKDIrJeS/GZY3+LvKCqwW3ljrfQgw0y865CeaOk+LI+3r5m8j7pEUPLWTPYplmdnhcLKjfd9993nKKzPPfccLr300orFyZ9dc801FQpsVYPnh4RKWLxSsOkJNNr5BPLLDlQ0wS+JXa1/j9LG5cW6y3/DuEC3TqX/edzYM5aVG2vGKnp99qlUM1Mw+0oXCbr1RrKuxXp9rGNPdfux9icXrmecFesJepVW77i5JliyyO8qzPuYLIt1Ur1CFxsquSxTxEQk/DtSPCrv5UEKN3NUlvlvr7BfbskjWikSSe6VjPm0rT/JGJPaEAERSJxApPcw36tDhgxxvuOskLISNF57OWru+9jpzpHag7Cr86tR1f2svfUpNNh6n3NfaWFH7Or0KkpqdrBiWNneibyi9Wi8+gIUHFkVMpSDdU7GvvZPATV9B8hHtqLeuhtQ9+CHab2+pKC1M++ltbpZjZy5OtyEaMnoKJWwjCRfTUbn09gG4/gTCRNMY1cDH2WtwspkShdccIFjdXz00UedDTNdgd977z3HZfLOO+/Eq6++6rgD/vKXv0xP0PWuT4B5jC8pqQyzbm+T7rywTcXvaMn95JNPAsHzRJeuSAoWz/RHwN7n82Bl0qRJgfFX7DWVyUGDBoUMYMGCBU6cR5DwUMRfqzfS6LOmfqG9U6ieiYAIZJhA1r2HV94JrHnYUKvdFRg4BahVleJZBswfB+x4x9xHd1XWC82vk2H61eTxqx8AVt1D27VvQHlAh1uBrr8K/blt11s2DQzz40FSsmTkyJFpL6mXrL6rnegJWKuw0iWSyiiFQdVnnWWsl7Q6MoOwa0G64ooroh9tolcyZpWxq0FSo4F5QTQYXPFbugMzKYxfSaDyzVPddNesTHT4uj/9BF5//fUKS2ayn851SMsorbL+UjU8KGK9RFr/JSIgAiKQzQTogsg9hT/W3crYtx2TgPlnG9wFDc2+ov5xkfEzjnHuqcD+hea6ttcB3Z/M5imzq+9f9QH2L7KrT+F6U7cHMHSJ1X3dsGEDPv3000qH8ZH2HfRWpE7gj2NlgkjmsfF7gVkNQJ2Li4C1Cmtco0n1TYsuBba+HPwUpo7ni6XRSOf3fDFOmTIFmzeb5Am0btEczzhAZiW0xgUp1czUfkIEIpVtiadhuqJzDdJ6ShdhusTxQIWWWcaKU3iQQnfjVCR5iqfPukcEREAEEiHA7zjGutOq480rwe85/rFKivcAUz3101mLlTVZIwkVVVYtOLLVXNXnVaD5+VYNK6s7M63lUba2D8TGLMYeZvwsvvPOOyGH5IytZHLJqvYdDJVjyBPzaHhDmrp27Yphw4YFlsOxfbrUv+gJSGGNnpWxrrqZgf33FbYFBn4M1Onh/IZ1VZmd0P1Q0X1z4MCB+kDFwlvXIlIt3FjxMLHXSSedpJPIWMHpehEQgWpBgO9jWnZYo5XCZHIMzeGG2SqZNQjYN8d0qf3NQLfHI3dv+1vAwvFAWampuzpiM1DQxKohZXVnIhkrbBsYMwT3fd22Xjn9YZJE5uZw3YFpyKGS2rdv5ZKQkQZArzCG27mJJZmQlHubqpJRWglFnYqagBTWqFExfKEYmNEdOBQaeO800fZHwDFPAXn5zn/ffvvtihMkvgzPPfdc0HVBIgKxEKDrO+ukFhUVhdxGa/2pp54KZsfzCl17Wfs36HrWc2WSL4kIiIAI5CoBHibzO9KV4cOHgxYaq2TpT4ANT5suNRgKHGdK/IWV5T8D1pUrtQ1HAIOmWjWcrO/Mvq+BeWcAR3aEDoUu233fAuqH5pLAgYXA/LGZub7fe0DD4VYi37Fjh7OfcTMEMwEQS1bG487LvRFzfLghd8wLM27cuLRXKrASdDXtlBTWWCaWcSIzex79EsorBOp0A1pcAnS8rSKT3zfffAPGzFDogskXIkt+SEQgVgL8MmbSEK4pN7s140579eqFDh06VLLYx3p9rP3R9SIgAiKQ7QQ++uijCisrw3PGjBlj14Hylv8FvrnMYM6vBYzYAtSIkMn4qwHA/vJke53uBTozQZAkaQSYaHP7m8Dax4ADC0yzTLTZ/iag+YWm/qlXbLs+aSDib4iH6Dwocl3yacA55ZRTErKKLlq0yEky6daFZ2kb1oNPd3m9+KnozlgISGGNhdaaR4CVd5g76G7T712g/gDzQkGe82OW+uAJkpuymxYwuhzRIiYRgXgJ8AvZ/VLml3FVX8ixXh9vv3SfCIiACGQbAdaRptLqJmE67rjjnENAa2TvTBOTWrLfdKn/B0CT04O7V7QZmM7qBGVGceo/GWg8ypqhVKuOlBUBpcVmSHkFQH5h5OHZdn0GJ4MJk5YuNfViKQyRS7QUDZVgfo5puaVQCR41apQ8yTI4z6l8tBTWaOkW7wTmjjoaV9L4VOMKUiM0iyqT1zAonJYu+ueffPLJWV2oN1o8uk4EREAEREAEsoEAXRJp7XFj4Oi1QtdEf13rjI3l0GqT9dcNP+p8H9Dp7uDubP47sPhK8zuW1WPyx7o9M9Z1PVgE/AS2bNnixI67oUrMBkzrajI+bzx8YoJT182YRiIqrfG4GWvm7CYghTXa+dkzFZh7BlB6yNzR6x9Aq8tD7qZV9a233qqwhNENeMSIEdE+QdeJgAiIgAiIgAikgcDq1asxdaqJ9bTucLlkn7Gw7v3KkGhyFtB/UoUnVwieJVcDm14yP6LHFxVWJVxKwwrSI6IhEJQVePTo0aDSmixZsmQJZs2aVdGcsgYni6xd7UhhjXY+eILJk0xKnWOAIfOB/NoVd9O1aNq0aWCtKApPd3jK40+KE+3jdJ0IiIAIiIAIiEBqCHAjzZrurpWV72rWe7emnNc3lwNb/mUGX6+fUURr+jb5JXvLFdvyzXqLS4He/w5WbFODUa1mEQG6zjJZEYUJj5KpNAZhYGgS87lQoaTEmxW4KsRBWYNZR54l/FIpzDpOCy+NVdzzN23aFEz+JEkNASms0XClW86MbiZlPKX7U0Dbn4TcyUByxq66ZWx0whMNWF0jAiIgAiIgApkhwPI2dCd08wMcf/zxTo1qK8RbRs9XNq+ifweXG4X1sDkoR49ngDbXWtF9dcIeAm6t9YULF1Zk1aXyyHKLLCtTVU6MeEcSlBWYOV1YhibZku6swdzrs3Tl5s2bne8P8qSLMxXlFi1aJHt4ag+AFNYql0EZsGwCsP4P5sqAFwcXK+NhuHApLGNDl4e6detW2bouEAEREAEREAERSD8BWmb47naTttDixPJfqdhQxzy6/fOBr/qb25jch4mXGp0U2syuT4D5ZwGl5WXPhq0AaneJ+VG6oXoToOff9OnTKwwq7mjpTTBs2LCUVLEIygrMUnysB58qSVfWYCqrX375JRhW4Bfu+xkPzxrPkuQSkMJaFc/DG8wJ5sFvzZXNzgH6vB6Sxnz58uXO4nXFyrpuVY1TvxcBERABERCBHCPgfX/T0sRkMG3aMOtupqUMmNoYKN5jOnLMk0C760I7xTIrK241P2OJveOXZbrTer6FBD744AMw8VGQsKwTDSzJrmThzwo8aNAgx6KbSgnKGswDqGRbPFnvnkx54BUkffv2Rf/+5YdNqRxwjrUthbWqCd/2H2DRZUDZERMXMuCDkJTxBw8edNJqcwFTGAfDD0gysp9V1TX9XgREQAREQAREIH4C9JB67733KmL7mjdvjjPPPLNSjev4n5DAnfPHATveNg2w3nvv/wttbN6ZwM4PzM8YpsRwJYkI+AhMnDgxrHLFS1kOhkodYz75N/ex9Dpg/Xc3xpvxmVQ4aSGl+6tX6HLM69zr+ZmiFdJ1tafnAq2r6cjc688a7Cri3JNzfH369EnI+5HjWrx4cUU1kKDF1r59e6dCSDqFrFeuXIlly5Zhz549jg6SjPGmcwxVPUsKa1WE5p4O7PrIXNVwGDBoekhCA9aV4kmSK8wKzOzAEhEQAREQAREQAfsJ0GXy888/r4jvO+mkk9ChQ4fMd3zNw8DKO00/arUHhpfHqvL/rPH5eUOgtNzK0/sVoMVFme+zemAdgcmTJ1conlV1jl4GVGBdpdN7PZUgJhNlwiavUEFiDhcacIIk2VmBqxqDP2uw93oq5DyQikf27t3rxK3SQEUlPZxQsadFOZ3C+OR58+ZV6lci401n/6N5lhTWSJT2TAe+PhFAKZBXE+j1P0DLyyru2L9/PyZNmlRxctW2bVvHnch/+hTNROgaERABERABERCB9BM4dOiQ4ym1a9cu5+Hc5NEilGw3yZhHRuvp/LOBsmJzK11+6fpL2TEZmD/a/JtlbAZOAerJDTFmxjlwA93eaVhxLZ7ukLlXZbx2ONfWIDT8bLRr1y7kV0xexj9BQsvsmDFj0kqZn2Mq0OHGNXToUHTv3j3qPlFR+vbbb0EDlVvvNdzNjAumgu5X6qN+WBwXUhehizL/DpJYxxtHF9JcExCRAAAgAElEQVRyixTWsJhLgYWXAHQJpvAlwbTytTo4sQAM7qbrgbt4+WJjoDU/nBIREAEREAEREIHsIeC1ytDKREtSKhPEREVm/0KTQ+PIVnN5z5eA1t83/155O7DmV+bfdXsCA6YAhakt4xFVn3WRdQTWr1+PTz/9tJL1rVu3bjjuuOMc998FCxZUJA5N5gCoEF988cXJbLLKtuieTIWV5SaDpFWrVs6BlL+EFRXc+fPnY+PGjU7SpB49ejhtfPHFF5UUVbo3c9/PkjZe4SHA+eef7yRfTZdUNd5MuCinYuxSWMNR9aeLb/P/gO7PYNE3i50Ptlu+xr2dHwDGrqYqPXgqJl9tioAIiIAIiIAIwNmQvvvuuxUbUFqR6DGVUSnaAsw9FTjwjekG9yE9njVuwPPOAnZ/an7eZDTQ7y0gryCj3dXD7SPARER0CabbLoV1Qlm6iXGq/uRitNDRUjp37lzQ6yAZwuedd955yWgq6jb85XSCbqQizdhaxqyTBa3Pc+bMCVFAXW9Jr/svFVUq+r169XIUXiq3NGIxftQ1YDEskMlX06UP+Mtq+sfLMpvsT7aLFNZwM7jpBWDJD47+dugSbN7byHEbCvJdZ6Y1WljTeaqS7YtP/RcBERABERABWwhw08nyH67wEDqjGYPLSozCuvtz06WGw42n15Ft5dULyrMCd74X6HSPLRjVD4sIMK6RRhYKFTDWCa0qPvvrr792EiglQ+h6S5fUdApjaWlhdZX0qp4dpJgG3UMFl/zq1asX8msqu5988omjvFKoDLPebLrcgmfNmgV6iISTkSNHolOnTlVhsP73UliDpojJDGYNBvabDzmaXwT0ecWJAaAPe5AwSJ0LVC7B1q95dVAEREAEREAEKhHgRpexYEyuQmGWTWb75Ps9Y7LiNmDtr83j6xxjXH+LNhlFtqTcHZHJIKnMSkTAQ8Af28j9KQ9hqsrWy8/B1KlTK5XCoTWSyo9fYYv1+nRM0rp16zBjxowQSzEtnjQusb+xxO3SEMUyNV26dAlrNaVVl98drvdlx44dHeU2lcIxUFldtWpV4GM4Xro10+27OogU1qBZ3PoysOhS85s8FuyeDDQ+xckiuGbNmrALgxbWZNd7qg6LTGMQAREQAREQgWwgQHdIZtx0Xv95eY7XFBMqcsOakXJ1W1larzz7b0Ejo7DumwMsudrgrFEfOJHunqGlRrKBdVV9ZKIbJgyiUFmgG6YkegKMx+QfV2KxtNFqSMsslSF6FdJCx89AODfXWK+PfhTxX0mFnZ9nb0wqFUn2dfPmzc7a2rBhQ6VkVP4nRhse4LdMp9JDg7G1VJDpDuwKD9Z4qLBz586KGFzOW3VJBCuF1b8ySw8BC8YDOyeb39TrCwz4CKjZwrGuekvYeG/lS40WVgZqS0RABERABERABLKPAK0Wr7/+eqU8FbQq0bWRymtahQmXprcB6B6MfKDvq8CW/wO2/MN0o/mFQJ+Jae1Sqh/G+Mkvv/wSTBbkFbpnMxZPoVdVzwDdYVlf2I2r5LploiFJKAHG+FKhpaUyXNwuLZTRHJbQM4OuyFSsnI9m8+YOc7oIJ1NYVoehC7TqukLr+ZAhQ5xnVleRwuqfWboBO1n5tpnfdLoL6Hy/888VK1Y42cKChH76XCzV5SSjui54jUsEREAEREAEwhGg5YWbziDJWK6Kmb2PJl7qcCuw+a8AEzJRuj8NtP1RtZpQv2XQO7hM1LjMNri0iDIrsKvw0/JGD0DGYEqCCTDhEqt/+KVRo0Y4++yzo06g5I0npTWaNZ39ZYASmQMqq++//z6oaLvCpFFUjKv7QY4UVv/KWf0AsIrJC8qAgsbA0EVAYRunvhFfYm4KayqmXIzMgEaTO79E/SmyE1mUulcEREAEREAERCC9BKzMVfHttcDGZw2I2h2BQ+WhSTXqAv0/AhoOSxgS9zgsj0ELM/c1LOmTqdjdt99+G9yYBwm92M4999yEx1udG6Cb6Mcff1yh1DDJ0ogRI7RHjTDpdLFl4iK6QNNSyjhfhvgNGDDA+TxEK/z8TJo0qaImKhXes846K66azoyHZQZi6h3sD//PJFqMwaVQD+Hc0liWkXCFaKEk6ToprF6QTLY0rTVQvNP8tO31QPc/Ov+ke4obS8H/00WAwcyUdKWuTtKcqxkREAEREAEREIEAAlbmqtj0V2DJVZV7W7uziWmtnVgGUCo4tMjRJZLWOW6EuVlnwqlkuzNGs+gmTpwYNikOa19ecskl0TSTs9dMmTLFic10lZpx48YpXC3K1cD4Vlf4OYjHa5JKL1123YoijP3t27dvlD0wl1E55WeSHh/uZ5I/91YpYfmcYcOG5cxBhBRW7xJa/wdg2Y3mJwUNgf7vAw2Od+oreVPdswgvs39JUY3p86eLRUAEREAERMBqAlbmqtg7w4QqlZjYuAppeAIw4EMgv07cTP3eY96GuNehZS6dllbGXL711lsVViT/wNgnKtKSYAJr167FZ599VvHLPn36OFZCSfoI0MrKEphMfkShhZYu2f7syuF6RGWVRrLVq1cHXsLPI2NqqQTnkh4ihdVdDiV7gbmjgL1fmZ80GOrUO9t/CCGuwPQR58JjLItEBERABERABESg+hCgBYMxYnSP9Uu02UKTTuPQSqOwHvJtYNtdDxxjvMDiFW+dTn8bdEPkfidd9STJnsaBSGU6Ro0a5bgrSyoTYFwjQ9dcRYkKEucvFpdWcU0OAa7hadOmVTTGQwMeHkQjdIdnBuBwpXcYhsiMz7kmUlg543wJsJTN6vuO1jXr/gzQ9tpAV+CePXvG5SaQa4tL4xUBERABERCBbCPAmDEqcowfY7yY64aXMQWgZA8w5zRg3+xQlH1fA5qNTwivTS7QLGPD0iCMJ6RQYaaLppvplj9T0qXw002LHBV+1621d+/ejnU1HrfWhBaVbna+MxhHvGnTJocGXdnHjBkTlWs2D8uosHrdk71Ic9XLQArr3pmmjA0LcTPREoW1V4evxcr1+yu5AssVRd9EIiACIiACIlC9CXDDyT9UWune5wqVgIEDB6Z38HQJnn8ucKQ8M7D79OHrgFrtEuqLt+6sv6F0ZpdlaRHGXrqHA4ydHTt2rJNMZurUqaCrq7M9y8tzfs5kNpKjBMjtjTfeqEj2U7duXYwfP17KagYXCRVPfnfQxZfCBEkMJ4x0gECljIdIQR4e7lBy9dAmtxXWQ6uMGzDdbXxyuP4YfLj+KuzaZ0766ApMVxR9SWbw069Hi4AIiIAIiECaCcyYMQPLli1znspqAHSzTFu9wwj7FDQfD/T6O1Aj+iymXnR0IWWsnKsMBmFlKRRmIU1lSZRdu3Y5yqpbv5KWVcbOsu4qhfUmaa1yXSRpYaJLpCozmBmjsspSQAsWLHD+z7hG1qtlUh5J5gjQU4CHLevWrXM6wXXN8jNBnyV6cjB+nn/CuQKzDR7gUBdJl5t+5uhVfrL1Cisn7+GHH8Zll12G0aNHOyP4wx/+AKaep9x2220xZ9+qwLDqboBlbALkcGkDfLjtTuw60sH5bbSFg22aXPVFBERABERABEQgMQJ79uxxYgPdchLMoMtNY1oUpgj7FNRsZrIE14stA6mr5HhdFiMR4iaZG+2mTZsmBjLgbm7q3333/7N3HeBRVVt3TctkJjNpBAIJJfQiVUQURCyAgooduwJPxfpbnh31PfWp6NOnYgcbdiwIiiIqIIJ0VFR67z2kzCSZTPu/dSYzmczc6SWT5O7v40OZc889Z507d84+e++15oAYu813v0WHjFEnt2PNyC/xT9qhQdxnHd8OSZzFFFL+TaMuJw9V6oPhOb4za/i9USLnm2++8UyEUVZqs3obszjo2LrfL4FmzbRiXtuyZcuGD0wUM0hph5WL+MYbb4jQOFNAmP9N9jgOesyYMeIk4s033xROK39AIrZ1Y1y1qxLmcKow78jDOFzdBTIrcMTIyhfICMgIyAjICMgINAoE6DAxdXbdunViPnSYGAHk3iDhFmSfAoVGkEMiKzICFtboLlu2TKQ7u43ZY+3btxfROmaUURZl164avdeayE7//v3Rtm3buKWZsjaVEV73fZgqSY4QOqy+Rof2hx9+8GiLctN++umnx20sCV/HON6Aa3T48GGsX78elCRiyqk77ZS3Ydop10m21ECAddlcK7fR8WS0leRhrFPl8+9dr8rPO3bsiA4dOghNWD77bM8DmqYYWXXjltIOKyOpnTt3xqpVqzBgwADhsD7yyCMYP368eLHSnnzySeG8sl3EtuNhYOeTkpdVOwz46chEWNRdZVbgiIGVL5ARkBGQEZARkBFoPAjQSZg1a5YnbZUETKNHj068wxRknwJ1LtB3AZDRO2yguembO3dunWiO0WgUEUtv2Q3O948//qiz0WZE+cQTT/Tsv8K+aYCGPADgPdzGwAOd0EAyOr7tTz755LiNJda5JPN6ssgy4k/dXF9jGjUxlC11EKDTyfVyp7wHGxkPjsiVw++kbHURSFmHlQx9LFa+88478cQTT3gc1rvvvht33HEHSOtMmzRpkvjRIBFCxFaxEfhzGGBx5Zd7235Lbywuvh29+w1Bly5dEv+jFPHg5QtkBGQEZARkBGQEZASShQBTUilV4WaxpQ5ir169Ers/CLJPQc5ZQI/pgDo8AiIylrIelxFWGiOaBQUFYORUSvqE89ywYYOojXTPmfWRlOcg8Uu0+qx0hqlvz7G4I0uMHA0dOjSoVqWvZixTX+loM/rUlIxMwMRPypoqg2wqrz+/b0zZDuaw0kGlr8HIarTfq1TGIB5jS1mH9fHHH8e4ceMEq5a3w0oHlg6rO8L62GOP4dJLLw3bYWWOuLsAmgDqLEtRcOx2KB219RMltjaYd3gidJlt0KlTp8T+GMVjFeU+ZARkBGQEZARkBGQEEooAnbaNGzd6agVZI8gUVtZ4JtKk9ikWdRfszfsAdmWO5K2ZRkgHlVE46saTNZaph24WXl7EaA43yMFqcdmeup50kLzTFt0ElO7+qVHLVMZgdvDgQVHiRRxJ+OQeCzfoxJFjDGV79+4V6cpuY9pkIgmhQo2nPj5nVNpb6sd7DFxLqZTq+hinfE8XAnRY+d4IJFPDzAY6q4l2VJnqn5QyhgQtfMo6rJ999plnyiy25yngJZdcgunTp9dJAfZNEQ6FE7/kTKdwG3W/SvctRa5mI9KVZSi35eOApRdUWhczHhdYNhkBGQEZARkBGQEZARkBpvcxMuiOODIFk1HWRJvWthXp1t+hchyFVdUOFdrBsCuk0wa5r/Gti/N1auioMlMtXI1OOq1r164NGCVyO+9uZl/v+5H1lDXAZAP2NTpY1AoNl0CJuLNMzL2PY3SVjLhNKcrKKL87Su6LJ50fMijLljoI8J1BoljvOmPv0dGJjCpLNMIp8kCpISudpKzD6r0O3hFWFt2TLODRRx/FF198gd9++w0PP/xwWCdzvmvL0z7mlUsZw/PDhg2THdYIvxBycxkBGQEZARkBGYHGjMDq1atFxMRtI0aMCNvhSjQuwfY17nvTwWY6c7jOqvs6Ooks1QrEZspILtlpfQ/6KbnCP1ImxZoaCiNGWBcuXOiJ0Hbr1q1JRRV9SXy88SKfCzlfZEsdBPh9oa/hzYTtPTqZJCu8tWoQDiv1uZhuwi8iI6R8UfG0j8Z04GiNJx5kGpYyhubpsCaCxj3a8crXyQjICMgIyAjICMgI1C8CviQqZPskUUoqyIgE29cQtX79+on602iN0b0dO3ZEe7nfdQwOnHfeeRH1x3Ri7guZXkxjKjEd5aZCVMO06EWLFvmlmDJKTecnnNTqiACXG8eMANeMmRnehz3MLmAqML+TsoVGoEE4rKGnEV0Lphp707Z790JiAb4Ao5LLiW448lUNFAHb9pWo/OVd2I/shKbTSdCdcTOUxrwGOht52DICMgIyAjICoRDwjhpyv0B9RB6s17clel8TrP9o5s40xWgCD4yy0ml1G1Mq+/btG80Qwr6GqdbuIAdrZ2Nx/MO+qU9D1v1S3pGHJm6jg0pel969e0ccNY92HPJ1kSNAh4up8Xx2ebjCuu14ykRFPqKGdUWTdlj54uFppJQxpYUR1qZyYtewHtvUGW3lL++gcuHbgLXSMyhlVj705z6EtK51xaFTZ9TySGQEZARkBGQEYkGA2V5k/nRnezEddvjw4fVeS5nofU2w/qPBMxZWW2/nmdEq4p+IrDgSS7EUzZvsiXOlFiyldZLFdULSHpbB0XGmMaWbTipZm2WTEWjsCDRph5WLy5pYd1qJ92IzTE/SJdlkBAIhwMhq2bsTJD9W5bWDcdwUKI3NZQBlBGQEZARkBBohAmThZZTPzf7JiAklYurbEr2vCda/1PzduqEkX/I2RleZyRatk8nDAtYGMkWYRsInSuMw4h1Po8wipX2kLJn1s0ePHhXzdZP3UNaH+KVCKno88Zb7khGQQqDJO6zU9eLL6NChQ4L+nVpkRUVF4EsoGNW7/DjJCFR88zSqVn4uCYQiTQ/j+ClQF0ShDyxDKyMgIyAjICOQ8gjQcWAt4f79+8VYKW/Dw246Evn5+QmXqQgEkC8pFJlB47mviXTfxDRWYrR+/XpPRJq6q9xnMY06UvIn97x5UMDIp7umlg4wuU7IlMv+Q5V00QEsLi4W3fm2JxsxPyOJFbVo3U6xL+ZMx6WTzjpmX6biYP1H+nDz/iS8co+XPCunn356yDlGeh+5vYxAqiLQ5B1W98K49cCifXGm6gLL40ocAqbp96N67Y/SN1CpkTluCtRtE1tTk7jZyT3LCMgIyAjICIRCgFIt3333nV8zOkuM9iU7+sUo5owZMzwMuqxtZNpqIiyafVM01wQbOzexX3/9taTGJWtMKZnjG3HlGFiD7Bs1ZXvWwm7dulU4174R4WDj4N6RMkFkX2YpWaD+pcYTztosX75cjMtt1Fqlwy+bjEBTQUB2WJvKSsvzjDsClpVfwPzNU5L9KjNbiJRgVbO2cb+v3KGMgIyAjICMQGogwGjjt99+K6mxyOjhoEGDwMhfMoyOGKOr7hpH3veMM85As2bNknH7ersH2Ve3bNnid39myZ144omCkMjbSLbJyKyvLqY7YOF2qqOdECO8ZIN1p4q7+wk0nlD3YZSXkXx3lJfredppp9V7vXSoccufywjEEwHZYY0nmnJfTQ6BY8+dDWfZIb95qwu6wzhuKhRafZPDRJ6wjICMgIxAU0EgWH0jU0RZY8h002QYnWcSQfFvGtOSmTYa75rOZMwlknv8+OOPOHz4cCSXRNSW60dWXqYJe1s0Di6lZ6jbG65JsQKPHDlSpJ3LJiPQlBCQHdamtNryXOOKgHXrcpR/cCvgcLj6VSgBp+u/FZp0GK58AZqOA+N6T7kzGYFURMBZXQnb9lWwH90FpT4bqja95OyCJC6UjH8Swfa5VaJlZCKZ2caNGwWLrDtCyChcQUFBJF00yLZffvllROm7oSZJLhPWpNLh5x+yAEvV4DKFmKnfJO4kDwojoSSC8o2set8vEhkfKVZgphQzbVk2GYGmhoDssDa1FZfnGxcEnNZKlL93E2y7/xL9KQ3NYLj2NZS/NQ7O6grxb5rOg2G85uW43E/uREYgVRHg82766E5Yt6/yDFGhz4bh8uegKTo+VYfdaMYl41+/S0ldxbVr10oOgvWrlMdLRoSVzg1rV91po3S4eO+mYPGMsHKtRo0aFTVs3FSTRZl/Sxmj3Yx60xEOZTIrcCiE5M+bEgKyw9qUVluea9wQqN6wEObPH4TTWiX6TD/pCujP/ieqln6Iih9eApxOiqQhc+wbULcfELf7yh3JCKQSAozsmb/6Fyxrf4LCZ2Cijnvsm6DEk2yJQUDGPzG4RtIrU0UpNSLloLCWkU4j/0600Wmm80xjreSQIUOaRHSV8yVLMEmJfFN2iQPrV311UqkIsW3bNsn2lDPs2LFjTMsVaDzuTjku6s+SUZopwlJknzx44HPl1vmVWYFjWhL54kaAgOywNoJFlKeQfARKJ18I+5Gd4sYKrQHZ934PStnYi3ej/J0b4Kipa9UU9YfhutegUCWHdCP5SMh3bMoI2A9tRdk7N8BZUSIJQ/qp46AfdntThiihc5fxTyi8YXfuS4rjfeGAAQOE1EoijQQ/dG7KysrEbZqaPqdv6qwb606dOoEOqG8Nb6TtI127QP379kNHlU4rGX99nVaZFThS1OX2jR0B2WFt7Csszy/uCFT9+gEq5r7g6lepRsa590N7wsWu/3c4YJ79FCyrZricWV0mjNe+BnWhXHMS94WQO6x3BGy7/0TZOzcC9mrJsWi6DYXxyprvSr2PNsAA7FZUrfoK1b/PEjW4TGfWdBgA3dAboMxulaqjFuMKhb+qRUcYLv8vVHlFMc2DB3CVC9+GdcsScTihym2DtL7niveeQqONqe/GcjGdRdYyMnq3fft2lJaWiqmxZpEpoIykJcp27tyJpUuXemonyYxLZ62pGetI3RFJpvaGSruNtH2keHr3T6kbRuPJ4My/vY2fUSeXKcD8Q4eX0WJ3LSyfHUok+eq8Rjoeub2MQENGQHZYG/LqyWNPOgKOsoNig+4o3i3urWreAcbxU6DMyPWMhZu7kudHeQiYtCdchIzRDyd9rPINZQQSjYBt/waRUeC0uFhJfU3b5xxkXPxEoocRU/+VC95A5YIpfn2oWx+HzBs/iKnvRF8cKsIq7q9QQn/uA0jvfyGgVEU1JEbRrTtW+6V9p59yHfQj7oiqz8Z8ERlr58+f70k5zc3NFWzBiZK3oayO20Gm83Peeec1Zngb9NzohFJ6iDI84crnyKzADXrJ5cHHCQHZYY0TkHI3TQOBqsXvo+LHyR5nNOP8R6DlRtDHKuY8h6qlH7v2i2otMid8AFV+0zvxbhpPRROdpd0K86wnYPnjWwBOSRAU2gzoTrsB6SdfKbIRUs0cx/ai7N0b4SjZLzk04eidOCbVhu0Zj33/BpS9fyuc5mPBx6hUQdN+ANIHXw1Nh4EROa6W32bCPPNxyf6VmfniwI4RV9lqEaBTsmrVKo82KFNS+/bti27dusUdJtZiUlOUxvsMHDjQT3c07jeVO4wJATqqPNRgtHXv3r1+tbTenfOw4+yzz47pfvLFMgKNAQHZYW0MqyjPISkIOCpLUfrscDjtNnE/dZveyLzhPcl7M/Ihallravu0vc5GxiVPCiIm2WQEGjwCTqdIi69a8mFYU9EOuBgZo+4HVKnltIZKqU3plGaHHWVTroVt33q/NVCk6aAw5sFx1JUJ4jGFAtrjL0DGeQ+JiGnVL++IWnxNp5OhO/NmKI3NvRo7YT+4BaYvH4H9wCbpdVapkTluCtRt+4b1HDSlRnRav/nmG48mKmsUyT6blZUVNxhsNpvQXS0uLhZ9ZmZmikiuL8lQ3G4odxR3BA4cOIAFCxYEjLZGIoMT98HJHcoIpBACssOaQoshDyWFEWA06ev/wPL7N2KQJFgyXPm8K1ohYU5btWARrl6/QHyqNObBOG6qzJiawkssDy18BKr//kFEV92pwKrm7ZE+6Go4K8uhyMiCs8qMyl/ero38KdXQ9hkF/dl3QaGL34Y9/BFLt7Tt24DydwOnNKf1OguGS5+O9TZxv55SNhWzn66JbovQGrS9RoosDkVGNtStqYPbTrx/qn59H7Y9f9cZgzIjBw6mcdtqa4+VWfliDWGzwrZvHWx71sJRKh15dndGx5jvNblGX3qJqd1JnVar1SoaULPz1FNPjVstIp2dhQsXeiJ0PXv2RO/eveP+vMkdJhaB2bNnewizfO9ETdjRo0cndgBy7zICDQAB2WFtAIskD7H+EWCkoYwb24oaIo32J8B47atAEPZfEb2ZOtYzeEYwSOQim4xAQ0bAfmgbSl8d40mLZ11k5oQPoW7Vtc606PAIZ7BG+okf0pGiNjHJyFLBHOVHxBjdjN++Y1LmFIoIYqqRL1Wt+BwVsyd5UrFVBd2FhJYi3SgJa9XCt1G5cCp4kBZPYyqwcfxUUMJINn8EmPpJMiTKnLgtnqzBjMzRKaYxEnfRRRcJSRvZGhYCv//+O9av98+U4CzIIkymY9lkBJo6ArLD2tSfAHn+YSFg+mIiqv+c42qrTkPm+Legbt0z5LWmT+9F9bp5oh3ZR7Nu/UxEW2WTEWiICLDms/yjO8GUd/FMazMEoRgjkVJm27sO5pmPwX5ws+djdbt+yDj3AajyEyv1EQ6+tu2rYPrsfjiC1ICSYVd/zv3QdDix/lP6nU5U/z0X5q8eg9NmEVPk+AxXvQhVs7aBp+x0gGtBnWjr+p/DdlwV6jSoWnaBIiMXtq3LPfd03yjjgn9Be/z54UDdZNtYLBYhOVNS4pJ+ihdrMKV02K/b+vXrh+7duzdZnBvyxClLtGTJEnBNvY0R+cGDB0Ov1zfk6cljlxGICwKywxoXGOVOGjMC1m0rUP7eTZ4ppg+8HPpz7gtryoyylr83AU6ra3NJ8hn9yHvCurbRNHI6UbXsU1hWfSGmpO17LtJPGRt48x9p+4YOVBLm6zAdReX812Hd9KtIS+dzqOl6aoTIOVE27RbhuLgt/eSroB95N13XgH05K8tEdoL9QK3Tygirpm1f2PZvDGs88Rl/3SGS8bv01cvA8XksTQ91yy4i1dnbyVakG2C84nmo2w+IELP4Nrcf3iZIopwmV82iQmdE5nVvQlUQPpkPDxysG38JPDCFQrCfk2wqrc9IoTNNc6UXfwDb7jWA00WypRt6PXRn3hLfSTbC3kiww2goa05psbIGsz6W/bkdHDo0w4YNA9NHZWu4CPz9999CEomRecrc9OrVy0+fteHOTh65jEBsCMgOa2z4yVc3cgScFhNM3ODt+E3MlKQkxnFvhq1r6LRUoPzD22Db+Ye43pVCNwVk12wKRkfDPONRWLcsrTNddYcBMFz8Hx+SFyDS9g0dw2TMl9iz/lDnBxEAACAASURBVNqbCVehSYeWzuawW8OCkGm9Fd//D5aVrkMHkocJyRrKNanTQvbhKD+MitnPoHr9fMm2wcYTj/H73pTSU6ZP7hZRR9cXUwPdkLHQnX6TmJuzyoTK+a+havl0j3NGx00//DYXK3iQUoCQYETZwFF6EOUf3wUyA7teRtSAfgDa/hcI6ZpwzbLqS5i/flKyudLQDAY65m2k6yD5HJg+vQfWzUua5PssXIz9njcJ1uA+ffpEHRElyRJlc6qrXSne1FxlqjGJnWSTEZARkBFojAjIDmtjXFV5TnFDwLplCco/vBNwuE7G0wdcAv15D0XUP1OCmRrstoyLHhdRxqZglfNeR8XCqUHib/4oMHYjte1KH3QV9Gf/s1HBFgwfV/Qytvk6zMUof+dG2A5vk8TUeOULIBNuKLOs+U4cPMDpcDkq+Z1EbSfT3CMx86zHYVk9U4jgRLK1DtQ+3PHXHaMT5e/fDn633ZbWdQgMl/8XUNV1vsmCXPHDS4DD7mpKTdOz7gKfxWQaHcXyD26Hbcdqz20Z2WSEMxore2scbLvW+F2aftLl0I/iuyrw6ti2rUTZexNq32cX/gvafnJacKh1iCdr8MqVK7F5sytjgU7q+eefL6eNhloA+XMZARmBBo2A7LA26OWTB58IBFinR8kHp7kE1Wu+ha2m/o4smiSXYRQiInM6BPmSm6mTtWaZN38smIYbu5VOvhj2I9vjMk1lbmtk3/l1XPpKlU6C4cO02fSTrhD6maJe2iuS6ayuhG3bCtiP7hROo7pNnzoM1M6KY7BuXy1SPy1/zQXsLpZSX9N0GADdaROC9k+inqrF0zyMwMrsAhiv/J+obYzU+B0oZ0qrFxFTpH14t2d0MeP8R8PugrhRI9my+ivPNZrOg2C4+Eko9BLsxXYrqn6bicofXxZR1xoPAdr+F0HT/gQwrVgK/7AHFKCh7/ra961H1covPQdnad1PR8aF/w5IshTq/oy2V/48BSx3oIarslkbaHuPhPakK4RudFBzOlH+0R2wblosmon32U0fiXpm2YIjQFbfRYsWeViDs7OzReon5WhatmwJtTqw7JPJZMKhQ4fATdvatWs9zMBdu3ZF//79ZehlBGQEZAQaNQKyw9qol1eeXKQIiJrTj++qleNwd6BQiA2itu95kXYp2jOFjps8d6SGNbCshW3sVvLMMDDKFw9jHWHOQ0Fq7+JxkyT24Sg9gNIXz4czgDPpPRQ6Raw7ZV0hJUxYh2irSVNnOzpbhsv+C2VGLioXvgXKzrijoeFMKVT/nq9Bml6w/JI4KRoT3y86rHFiq1W16Ajj2NehNIRHZGZZNh3mOc960nxFij5ZgLOCp+hbt6+E6ZN74Kwql5y2G386sbEa62f5rvBeX+8+lc3aIevWT0M7lrEOJMj1rtr8mzwHD/rhtyN9yLgE3rFxdM3axGXLlok6RV/Ly8vD0KFDJSVvjhw5IuRrSODkbVqtVuiu0vGVTUZARkBGoDEjIDusjXl15blFhAAjqyQ08a71c3egzGrpkrfIbR1Rn+7GjHiVvXeTh3iG0SkhQxFhSmVUN6/HiwKlHnJIlDjRdD2lzuism5fCtstV7+trlO7IuumjepxNfG7N+knWRlpWzYCz0iWTFK6x1pORV3vZIf+kTbUGsNs8zli4fXq3C9q/mzTsrLtAKZtozHFsD8reuRF01qWMbMOqFh08H7EG3PLbLDgrXAyrUsaMBzLVak8cE1hexekQGsqUgnGz61KKxXDZswHrNevcy+kEnVZebz+yQzKlWZnZHMax4de3S82FkVWmXlvWzZNMymXtu/HqF6FqWVdCKJq1iOUa6sCKFOWdv4tuSNLE2v6Is09iGUQDvfbo0aOYO3eu5OgLCwsxaNAgwSTsNkZWyQZsNpv9rsnKyhIOa3p6egNFQx62jICMgIxAeAjIDmt4OMmtmgAClfNeE9EpKWMEJXPcVFG7F62RYbNi7guuy5UqGK96EZrOg6PtLuWvcxzdiZLJF0tG+qgXSYedTqi32Q9tEQ6NpIOiUCLrlulQ5XdM+blLDpBOzw7KqDzgH8H3uUCh0YKRNOIhGFlrWFkjmrhCIdI0FVn5cBzc5tHs9PSRpgMojRJB/4yiMZoWi1XMexVVC9/xGw8PcbJu/tiPQChQe98xMMWe6cFpPYf59WHfuw5l0272REjZNppIsW3vWpS/U1db1nscseJDuaAy9h/AQadjTimZVLA6tfkKBQyXPwemKssWHIE1a9aIlN54mBxhjQeKch8yAjICDQEB2WFtCKskj7EOAt41pqy90nQYCIU29npQ0/T7Ub32R2m0VWoRYVW37Rv1ajDVr/T1K+Eo3i36ULfqhrR+50HdqivU7Y6Put9UvJBSIeWf3gPqXApTqlwpjCq1kA1JH3yNy1n3ZTd1OmDdulzUTNrIhmq3uSJiNaQ3xJ9EO5L1hikEBFMm6dy41rmrqFeuXDwN1WvneeoQ+RmjpSTgsh/c4pov23vhQ3ZdMlSTbMe6baXn2Qk4VZUG6oLuUHc4EZp2/VzRQ5VasPta/pgNx5GdUGRkQ1M0ALrTJwAqVUT9k6CJ+MdiXM9A41HmFPh1LdWezwFZe6mNzO+Vx5RqoZfqZs51FO9xzX/5p7Dzv8WzqBZkViRQizRSzHXlgQrsLnZWX4sVn0T3H8u6+S+MQ6QFW2u+40zPZo0/D1tkC4zA4sWLsWvXrrhApFQqRYSVep2yyQg0NAR8fydD7YNctf3LYT+yS/yO+XI3NLT5y+ONDAHZYY0ML7l1PSMgVWOqbtMLhqtegjLG9NqgEVZdFjLHT4Eqv3NMCFh+mwnzzMf9+iDrqG74/0FRD3IZMU0owMWW1TNgnkXpDJdeY1rPETBc+lRE8hviQqcT5hn/gmXN7Jo7KaA/536kDxyTiGHH3qfDhsr5b6DyF0YQg5kCqladhbanMrsw7PtWb/gZ5s8nwmmtlLwmVp3fkP0PGQv98P8Le7yJbkgn1DT9XtgPbAovCq1QQHfmrdCdOj6qoTECygirI2AEdDQyLvh3VH3zolAR1vQUw5/Oavn7t7hS0QGhT90UavOjXmAAf/75J6i3GQ9LS0sT+qtyDWs80JT7SBoCAX4ng+2DpGr748kdkLS5yzeKGgHZYY0aOvnCZCMQrMZU0/VUGC55MmqmSkYETdQL3ShN6sNooGHMpKj7d2PFKJd55mO1MhluN0ytFXI52n7RkToley2C3Y+MpiL9srJMNIu1vo1szWXTJnjqfxlZM177KnhQkWpW/ddcmLi+QVhwVXlFgkAprc85UDAtNwJj7aD5y0dQvX6B31WsHxQawc1ra0Aj6Fo0TXT/kY4nnPaMwFb/9QOqln4M+4GNrnkEEGaJ9XscDB/el6nuTJnWnnCx0HON1KqWf4bKH16UZFGOx/pGOp5Q7UUmxfu3ePRsGd03XvcaFDoJxuVQnTWRz8vLy0VNKjdfvkbipYIC/yyDLVu2SLZn28GDB9epeW0iMMrTbMAIBPqdZBZWWt9zBHmgrzHTyLrzN7/afqWxuet3L6+oASMiDz0cBFLWYd2/fz+efvppHDt2TOiLvf7662D6C1n2XnrpJaxevVr897333gsKcMvW+BEIXWMaZQTUbkXZ+7fWpq96Q6lQCPmOzLFvivTNWK3srfEBSYW42cu88X3BAuung0j9S3cdIzfCvqm0vgOLtH2sE6u5XpCxvDcBtj2udFj+ABmueVlIgMRi1Iwsn3aLJ7KoKujhIq1KN0TXbaT4hGzvBBwOCJKpPYGjJ9o+o6A/98GYDj6Ek/DBba6UYz4TrFVNNwodUUrgxGqJ7j/W8QW7XkS3WYdeoxfr2zYeEUopfFyJBK5sAhojuLozbg4/5djpEDIzlQum+E8vzusbb/zFIRw1emlNoDY/HvhRnobyNm7WX2qpMkrK9F5GTX0t0vZRjVHUslNnmc+xsuZ3KKqe5ItkBIIiEGwfFA10sXIHRHNP+ZrkI5CyDuuGDRvQokUL5Obm4o033kBZWRnuu+8+zJo1CzabDRdffDG2bt0qHFn+O9vK1ogRcNhQ/tFdsG7+VXqSCoWoi9Sden1ETgx1LM1f/Rt0iNzGtF9RA+dwQJlbCE3RCRH1GWwVjk06E2QMDmSsA1MXHS/uSSePKS+sXaz6dRps+2pqHPM7I/2Ua6HpeLL/poI1oJG0j/MjU7XsUxexVI1UC0lihIPmpSEa1S3tVpi/+6+ofXRtjNUiksU1j8gixSdEe7L8Mi2SZEqUIWFKZ0BL0yF34uKoIm++fZI917pjJRxH94hnRF14HFTN20cERbDGie4/bgP16ShZNaB18cmE01SMykXverIKqJmb3v9C6IbfHlJv2Wm1oPKnV2BZ+blH7ocHMdqBl0Opy0rI+sYVf7sVpVPHgpkVNHVhD2Te4D54i+udGlVn3NOQMZhOq8FgQH5+ftBIaaTtIwGLesKVP0+FdcsywVyuzCmEtu850A4YI9ckRwKk3DYkAkztLXnu7LrcAyGvCt4gVu6AGG8vX54kBFLWYfWe//Tp08GUmIkTJ+KRRx7B+PHj0b69a3P25JNPYsyYMejcObbawiThLd8mCgS4oauY/ZQgjQnFlqrMLoDhyv9BzVrTECl5TDEuffPaOg6kSF+97rXA8hhRjN/7kvK3rxdpLWGZQglNu77CUXVUV9RJhWG0N5NpMD7yFiTvKXtvAhzmY2G1D2scYTbyZQVmqk7WXV/HTS/Sabeh9KUL4CjZ5xqRYA3+NCLm5kjxCdg+TQdVq26ug44A0Txf2NSte7oi6LIlDAFXjemNcAQ4FIpHhDXQ4K1blrq0lmvqOdlO03GgYM8lW7OUkUSEZG/WzYtrP1apYbh0EtJ6nJEwnOLdMWufqVPr/i4YxjyDtJ7D430bub9EIOB0ouzdGwT5mm8Se/rga6E/685E3FXus6kh4HQKSTDTx3fBfjQI6Rizx0SWmZcx6C+IF2uzWLw/TuR7vaktUyrPN2UdVg5swYIFOHz4MHbs2IFrrrkGHTt2xN1334077rgD7dq1E7hOmjQJo0ePRo8ePVIZZ3lsUSBAYhlqJ1qWfFjL8BlGP6wLTOszCrrB10KZ20byCuvmJTB//Z9aPUiFEmndhkI/8h4os1uFcZfompDV1DzrCf8aNbdzHYF8CR0gMiR7G51htzai7wjTjhsmdCcTYSJN8pN7YNvhYgXmBp01v/GW7SGDsGn6fR55kkhZg81fPgzLmu8kIYgUT8lOAqwjI8yMNDPiLFviEBA1pjMeRfW6+X43SUYNKKPs5lmP127IFApoOp6EjHMf8HsXOY7tQ8W3z6CaWSM1hx48cMs4/xHh6DYkowwPD8rsBzaLYZOd2njNK3HLTGlIWDS0sVpWfyV+k6RM6P6SbDDA72hDm6s83vpBgIfMlPXjfo7v6EAW6Hcy2Hud2uGZN30YE3dD/aAi3zVSBFLWYfWeyOTJk3HgwAE8/PDDeOihh4TD6o6wPvbYYyLC2r17XT3HQEC4JxwpUI2nvRNp+/+Cbu0sqMoOwNqqF8x9LoVD3yxOU4y0f4n2vS+FwmlD5s/PQVXikoDxmFLt+k+n3VO/ZzfmQ2G3QmkurnsCp1SjfOD1cOpyoFv3tWe+tpy20K/+AAqPc6hAdev+KB/yf3Cq/OuH4gSMqxuHDRm/fwzdhu/r1KRWdhmGyh7nIX3D99Bt/RkKssCGGbkLd3wOjR7Fl4Virw23t7rt0jfPg2H5VM8/WtoNQvkpt4WutY30dk4njEtfh3ZbLTmW6YRxqOp2Vlg95X5+I5QWFxlU3EyhhFOjQ2XH01DV7WzoNsyRXF9z/2tFKrOvOZzAir0O/HbAdXrcu4UCg9oooQzC2VNeDfy8w46tx4BcHTCwUIkuzRR+ERL3vSJtHzds6qEjRbUZWfOfhvro1prvmAIObQbKT70b1vzEH2wqKoqR/cO/oTId8szemZ4Ja/OuUB/dBntmS1S3HYj09XOgKt/vaePQ5aBk5H/i+C5OLvjpm36AYUXN+0WpRukZD8La8rjkDkK+W8QIGH95EdpdyySvcypVKB3+KGzNu0bcr3xBE0PA6RC/e9wL0CwdhqCyx7lI27UChqVvQOErBUaZO5YOeXFzcB8U6HfS/73uwtepUODYBS/DkZHXxACPfLo6nQ5t2kgHcSLvLflXNAiHlenAL7zwgkgHfuedd3DppZd6UoDpxP7jH//wOLChILRarSBLX1M166K3oV4zAwpqW9aYQ58L+9BboOl6WsywRNq/ZPv0TCjsNiistSdxPHnTHDcMjj4XwqnSQl28FYqqcjiMLVybUIcDaZt+gnXlZ3CU1W4UmRYsGEMDRC5JCqQ58TJY+18BZxIlZdSHNkBd4kqLsWe3gbVFNw/REp1V9ZHNUB1YB8vy6Z5oYqyL41SnwTHmZahakEU2cgbTQPdn7Zpy5gPgDwqN/Tsv+i8c6YlhCuW6K2fe75Iy4Q+WRgf76CddmqMBjelIO6GafjsQQBImUnzJVqw96XLYW/aALa+zGIfbgq2v931KK22YtvwYthQz3anW2ueoMHZgDnL0/g7un3vM+HxNOUprv8LQKIHBRWm4qK8/u2Kk7SPFIRXb8zukObgOyvKDcGoNsDXrBHuWP/tqosauNB2CcsFk2LZKOwK+96X+oGPYP+Ew5idqSAnvl5grpt8mtH7Fe62wL1SX/DdkaUbCBybfICgCyp9fhuOPWdJtyGJ+yfNAiy4yijICARFwmI7CMecpqPfWcoGwMQ/hxAFxjY46/42ZLpoBl6K62wioSvcF3AdJ3cz9Xlcc3IDqFZ/DaTG53jUdh0A5Mg5cGY18jdVqNTIzYycPrS+YUtZhffvttwVjXuvWrfHee+9h586dIrr666+/ij+sZ/3yyy+Fnhn/nScHsgVHwLp1Bcqn3STZSNWsLYzjp4J1h9FayP6vex1KY+0pmEvD79aQt1Pos4VkjabTySHbOs3HYPr8QZeYfagIpUIJ3Rk3QTf0H3F14EIOMoIGFT9MRtXi96SvYLTOr07XWaeGzvdCOui6MyYgfdA14TOYBhmv0EZ77yYXY62bFfjalwVpVCJNsAa/fwtYA0gLyhrssEPIhfz0SkD9UtFJhHimn3QF9KPujWman686jFl/8IDF/wDhrONyccXAug5MWaUdk+bsxL6SKslr7hjWBv3a1jInh2p/1/A26N/OGNMc5IsDIOB0oPzTe2FdvyCgzA7XXdNpoEifDcn83QCAtvz1PcxfTPRETYxXT4amyykNYORNd4gkMiz/8P8k+SHIPk7JEHUrHqjKJiMgjQAVHCoWvhX8GFyhgLpNH8FmT6c1JnPYUf7xXbBuctX+8zkVnB7ycxoTrKl+cco6rMXFxViyZAkcDtKsQ9Sp0sgQTIe1tLS0zr+nOtCpMD7zN0/Vsqz6DIh1n8ZxUwXDY7QWrP9o+lRm5EB7wiXQDhwT2QvObhU6lRVzX6ytUfUdgEIB/dn/FHqYqWwO0xGYv3gY1m0r6gxT3a4fDJc+7UcOFai97xwp1aMdcAkos6JI00cNQdWyTwTOtazAF0B/7gOxswKHGpEUa/Cw2wR7stuc1ipUr/lOPPO2/S6G5UAWKZ6B2ocatvfnFpsDD87YhkNl1ZFcFte2p3XNxvVDkhd5jOvgG0BnlDgqf+cGUCtWylwHLa+LDVdjMEZaOF+Sq9B4cGW4+sWY3jGNAZdUnwMPHX1/Y9xjpt614bL/JoyIMNWxkccXGoHSyRd5vvOS77mWXcRvs/a44UCcMtnsBzejbOpYz6G1putQGK/8n5zREXq5GmyLlHVYGyyiKTxwslFWr/1ReoQqNTLpsLaNXtPW9NkDqP77h/ggoFQJnU11Uf+o+ws6njjMN+qBRXFh5S9vw/LHt6JGV9t7JHRDrw8akfFun9b9TDiKd6N6/fw6qTkchiq3NTLGTBKSLJZVX4mRpfUdBd0pYwNHYBmxXPYJLCu+gL2YNcau2ktlZgtk3TkrbqzAoWASrMGTLwTZnl2mEPNJO3400roMgWn6vbAf9a2BViGt66lQtuiA6rWstQmNp8PpxN9fvAr9prmivanjcPS+9DYoVSrJIbL9938fw88bXfJFgztl4dzezUCtRbvDie1HqvDzhmNYvr0MdFrr0xhdZZQ11e2Y2YYvVh/CX3vNaJmZhrN65uL4tsZQROD1Pi3b7r9Q/i4dVulDCU3302C84n9JHycrJIjl7DVHcKCsGj0LMnBx/+ZoZtDEPJbKBW946ckqoMjIQVqXU0Q2izKrZcz9iw6cTli3LkPVovdAaTISWwXtP9L28Rllg+jFUXoApS+OBt+nwjQ6KDOy4Cg54Bk/U9aN17wMHmzLJiNQFwEnjk0aFliuT5OO3Icp5+bD/BsHGCt+egVVv9TychivfAGUuJGtcSIgO6yNc139ZuWsMgl2Vf7ISxmdDUZYVc2i37xaVs0QzLvxsESPJx79x2OeSevDYReyBZYV00UaTZ0NNH9IfNKn1e37w3Dxk9IR3C8f9X+OlCrBCpzW48ykTYk3qt6wUDim3lIiYgC+c1JpxKaZUWVN+wGAyr82VGrgJRU2vLFwL/7e66rPdVv3Vhm45bRC5GTU7SdQ+6K8dGTp1Nh1tApsI03On1ToxM2uPbklRhznX/ea/JEEvuOa3Sa88+t+HDVZPY3S1EowZfqyAamtv83DlLJ3bgiY6aEfdR/ST7o86XDP+O0wZv95BNW22icxJ0OD605uiROKYov2kjG85PmRnsiHe3J85+rPuR9p3U+Peb6VC95E5eJpgJWp8S4L1n+k7WMeYAPpgL8D5hmPoPpv10E2y28yr30Viqx8mD97wFVaI8BViXdnxsh/ShLHNZDpysOMMwKOihLBs8GDo0BZJJTnorRXIsxRvAdl797oeb+S6V+wk+sabp1mInBqLH3KDmtjWclg83DYYfr8ocDRVf4e5bZG5rgpMZ2Ab9q4Bc0+vsyP4MgJBRYaR+CrnGv8Nup3HHwcHS0u8hy3sf2GwnPR4+qHwU1ULFb29j/8ZV4UCoj6Q/74xpF8KJZxJvNa27YVMH31b1AsnpEKQUoVwQACtWd6NWWBkmkha2cUCigzcpFx0WM1NdCRzBQIVmMaeJ7hIxpIzShDq8IDI9uifZ5/ROOL1ax7PewnSUyn+PHz20PpU9ccqH1hjhZPX9TBr30y1y/UvUhK9eS3gWt2G0INbsW811D1y9t+NYKqVl2RddNHCYk8BMOVhy+sg5aylllpmHhOkSTZV6i1cn9O6anyaTdLNhdcCeOmQpkZC1dC4P7DHaO7XTzGE+k9U6k9uQfK35sAp8VFcKjtPQoZFz8h0ip58FD66mWu34kaY2aP7kyubWTv0VSaszyWOCDgdMK2+08RBHGUHw7YodCLv+51qArCU/GIZmQVc18QkjnCeHB+2bNxORSLZizyNYlFQHZYE4uv6J2nQDypdJiPQZXXVqQvBRKSj/dwHCX7hcaad2SVp6isWxQvGtKK15imw4nIYF1kRk7Ew+CPWvH7d0J5aKO4lk6nTaHBIU0rrMwYjEWG4bAq/J3PHNtRnFU2E12r/obRXobDmpai/Yqcs3DfuZ3QQWLDHsngmO5U+fNUWLcth9NUDGWzdtD2HQXtiWOSlroayXiT1dZZWY7qv+bA/N1zQmonHsZDj+w7v45HV2H3EbR2RqkUdcraPuf4nbhuOliJrYdcm7SiPB26t6pbx1tWZce6fWZ8tOwAjlXEBx/3pBgdbJ+Xjo7NdejQnA6pEz9vLMGOI1Xi8KCoWTpG9WqGXq0NktI2VrsT8zccw6LNJdhfUg1jugrHFWTgwuObI08ipdO7/a7iKhJqC2th1OCJCzqAznGqGtOnn/x2B6qs0qnTxG9Ejxww4p1r0Hi20WzPlNf9pRZkpqvRJV+PguzAklWRto8EL0YemH1CDULHkR0iRZbvWt1pN4C6q8m2dxbvF8+PlGk1Skw8p11M713z10/BsuoLyf6DcSUcLKvG+v0VKKuyibRvPv860l/7mHnm47D8NjMusMWDuyEuA6mPThwOlH9wm2dvQCKczAkf1Dm0tu1bB9PHd3uY97lvyThvItJ6n10fI5bvmWQESG5o2/OXuKu6oLso0bIf3CIcRJaXkSfCbfwuKZsVwVHiKtEhUVf64GtcB8UJSAd239dZVYbSN6+Bo6b8R5VXhMwJ74Ms/rI1LgRkhzXB62nb9QfKP74bFFZ3G9MWDFe9FJVjGMlwHaZilE25FhRtdpsyp1DUhvJvGll6rVuWej7XdB4EwxXPR+bMOR0wfXqvIDpy2xLD6fgsdxwciK5uQaVUiI0TN5qyJQ6BkmeGwSH0a2M3EsfkPLQw9o4i6CHY+KXGwxpSRhy/WXOkzl3O7tkMl/RvjkPlVnz9x2Gs2F4O1qLG09RKBcad0gondciEVh3d9yLW8dAJf3buLtjsrrmN7JmLq06KU11hrIOTuH7LoUrhsNLpDmbUrKXTPvy4XHRqocNLP+3BxgO1slgGrQq3n9latPG1imo7nv9hd9jtEzDNpHb58vw9WL5NWouYzyjfu51jeO8G5zJQIOOCR6Hte26dGvlNByvwwo+7UV5VK+/Edbx7RBtx4CDM4UD1pkUwf/UvEf2LizUwLoO4zLmmEx6gEEuXKZAx+mFoT7jQ7xYuFuE7astGFEpk3vAu1K17xXM4cl+phIDdhsr5r6Ny0bt1RqUqPA72Q1vrpOIzGq9k5sQVz0PVnJJ5yTdypzCL0F3axMNA3RnSWR7JH518x3ghIDus8UJSoh/f/HrvJpouQ2C49KmERVptO3+HeeZjsB91aX3ypcLILmU4eALlNmqWmj69B2SzFKZUI33QVdAP/7+w2NasFgtMP74M54qPPX3+rh+Ij5vdCItC6/k3bhjP6JYDXVrtRn1/aTV+2VTryHvjo1Yp8H9nthbEKrIlDgHTXWH2wAAAIABJREFUFxNR/eccyRtQ1zTNh8CgetOvsO38TbI961dJWZ9MCzZ+qfEs3VqGqYv21qnd43h5QJKtU6O4wuqXahtoPp1b6HF8u7qnuKy33ODlKHlfO6AoE3cMa51MePzuxUjiS/P24K89Lv061uA+NKoIrbICRx/rc8B/7jEJRyaUw+oeIxMVNWolqm10fOqmLWbr1XhwVDsUZte+l4jHGwv3YdUOss6Hbl+fWMTj3jyweXn+XqzaIe3w5WZohMOanxn98xCSy4C/RZ1PEayhmqL+YGT1qe921qlRds+1bxsDbj2jNTT7/xLyXtUbFwWVK1Pos6DtfxGU6bXfSzIW0zmTMsFlMH4qVLnRczfEY12S3Ydgc552s4iWifdffkcYr3sjIBu/ZfVXqJjznKcumQfexqtehKpFx2QPXb5fEhCo/ut7mGY+XtcxlbivMitfSORp+51Xr0znzopSIXNn27dejJKZK5njp9RLBksSlqfJ3kJ2WBO49JXzXkXlwrcl76DQZYkvlCq/c5xHQPbEFTB9eHst6x+1/tqf4Iqcev2Qu2/sKD2IsjeuqhNpo8OaPuS6gLUqjHeUmK34ZfYMDFr3PFROV9rkAU0hXmnxIMpU2Z55saSOBCmM5PhWvjwxe0edyIY3GMZ0NZ65pEPtCXuckZK7gzgtLXt3Apw+UdZAtSeRtk80xpGO57FvdmDzwdrIW7DxsRZUo1LAznodnwgfD2Dul6gx3XPMIjbfZZV104gDtU80PlL9M/X4kVnbPI45v5vXnJx6UVZGPu//YmvAlOwMrRJWO8TaxDsa7sbtvD55KU/sFMkzxAOAF3/cjeoAEet2zdIxcVQ76GNME5fkDpAYKAmnvs0eg1nrpL+TORor7sz4ETl/1h6IurrhL4lP1D0IN0Gg8bCOmNwNjUVWKNxnwbLqSzB1241hxoWPCacjoDkdqPjuWVQt/9xzjap5e1fqZZp/1kK445DbpSYCZW+NB7MDA5pCKepEMy56PGWYo6v/ngvTZw95nk/d6RPAP7I1HgRkhzWBaxlURkahQFrXoSK/n5Es4bgqXdFHV83rSlfNa7N20HQKXvPq3R4WM6pWzYCz0qVTS82r9BMuhm7YrZ5oLk+0mRrI9CuSbLBWSLNvjauA3nTUtR1INyDj/EeRdtwwcQLu3Z6bmoUbS7B/zSJcvOcl6B2uaE2ZKge/n/AIDmZ0xsaDlWLTzv5P6ZSFYT1yxebf18j8OfOPI4KFle0z01UorrAJ+Q9at5Z6EWnN1IXH6prA5WycXTsdsG5biarF02pOJ501tSfXiufOr/Yk0vY1qDHlj+mdNBIJ+daM+oIbdvsIx3Pzh5tQXhW4JpWRfdZN9yzMQNeWelFruu1IFb5dc0TI0XhqTHs3Q69C/xpTPrbr9pvDbl9fD9VHyw5izt+u7zq/l4w8plL6Pd9Nry7Y42Fn5uFBM4MaZZX2OjW76RqleK54CMH6x62HKz3vjnhg26+tAf8c0TYeXdV7H/xOMVWaRFY0pqVn6lTiQMB9IMNMgzEntMA5vZvFNF7BHbDwLZCASXAHkLuh0yDYti5zaSJ70u0VOJjeFvP0Z2GXtj2KLFthcJThqLoFdI4KnGxagNbVO6Dwck7pZGr7nY+SHeth2bYC6dUlqDQUotnA82E4WZqbwHs8zCrycDco1eK3UXcKD2ebhlGupmzKNZ7feu5BjFdPDixjVgMLa7Ervn0Glt9medaPetS8XpXXPuQ+pWmg2zhmeWzSmYFlapRqGC9/FprOg+OmqRoX1JwOkbrOFHaxh9VmIPPGaRGlKTurK2DdskxoypLLRd2ur3i2ZUsNBGSHNYHrUDn/DVT+PCWsO5DJNK3fuVDnd4Z5zvMSNa8vCrZTX5OqkfW0USghmFvPutPjeEjVCnVsocM/R7RB+pb5deoAFCo1jlz4Jv73p75ObRH7z7Mdwm2HnkKuzVULaFdpUT36WRT2GxLWfAM1sjmceG3BXqzYXpuydmb3HIwd1CrlNRdjmngjvThYzSglSXwPMSJtHyls/5m9I2DKLjUo/z26fUwMqZGOp77a8xCK7LvFZhfpGp1VshKTEKq+jb7MJysO4ru/XA41jaUBrEGVOvTyHi8d1mfm7AKjs/EwljBcP6QAA4qMKc2mHGqu1LF96rsdYBkGjTjeenprIWHDd+59X2zFoTLXZzwc+M+FHdA2tzZ1OlT/4X5Op6fyx5dRtfyziMne7AoV/sw5HcUn3YbCvCx8sOxAnd8l9++Yp+Y1wKCoN1o2+ULY3frNCiWybv4EqpbxznYKF5UktnM6Yf7yYVhqykC4qTdS77zwuLAG4awqF7wXnhIir6tc3BzS+5SwOpcbpQwCwTIk1G16IfOGaSkzVu+BuFivb4LT4pKhY0mT4fLnPcGgYIMWz/ZHd9ZRlWAmpOGyZwRJnmz1j4DssCZwDUQh+GcPxOUO/DFQF53g1xdrDXh67GsKjRa6Ybch/aQrPbWowWqFyFhKpk39X59j4K4PoHG6Ni9HNC0xJe8ukerrNp58jz8yWTD7ui39zFuh5yl1mPqWwUAxWex4df5e/LXXFbllSvHFx7fAeX2aiVpD2RoOAku2luEtiZpRbpgHdcwC0769rdxiw9KtpX41pmw/dnArDO1Sm2oeDQqfrTyEr30Il9gP+x83uBVOjbH/aMZUH9cwEvzl6kOY9YfrwInRtltPL8Tx7eq3ZpypvXP+KsanKw96gnB8L91+RmFYWRYW1qT+sg8rvQ683PiyhpXpzz6qP/hzt1lExQMZ2/dpbcA5vfNCZgbUx1qGuqfF5hCHgKt3lnuaMtX5ouObew4A1u4zi+ir29HnAcbdw9vAkJ4YBmketAqm0fU/+6f2Skzob10/zM8chS3a4PIY7ppXKXZh726tlPb69F5wk0pTt+0D45UvCB3Sxmys8aPD6SaBTOs5wpXWqQ6/ZpkkjexDyjRdToHh0qcTxs3RmNcmVeZGVmBmB0ruK9Vp0J/3ELT9RqfKcOuMgwdi5s8nonr9fNfeUZcJ49Uvg052MGNk1fzlo7Csn+9XtqY05olDnfoilEpJoOtpULLDmiDgecLDkx6e+NSaQpz0qPLaQd1+AKzr5oPCy0JWJM6MpN41stycVtscePfX/fh1S02qcIB5K+HAZcXv4GQTNxIu268pxAv5/wZPuJmadfXRN9G3YkXNpwpo+1+AjPMfiSuSR0xWUQvoPvVn5IcbKKZqJtqIFyN9TP+kf0wnWXaTo0M9kprRUHcgaygjoNEaU3of+3q7iCi5jc4II0qM4l85MB9kSW0qRhzu+WwL+F2jUfZl0sWdJKV0koUJSw/+9+Nuj4wNo94PjYqMBMhcbcdzc3dh66EqOPleVQBGrRq3n1koDuV8Taq9SqEQdbFej4q4bMRxubi0fwukpynFO4Kf84nhOyIVHx2O8e3F++uQ2w1on4k7zqxL/kWYpi7a52nHObGumfNNhBHbGb8dxo4lc3DF0begc0gfGDgUKsxsMR6LdaeJWvJQP5OsFaeObJtQ0WFGGmc+BsvvbhkuhSAkZE1tozWnE6bP7kf12p9cU1RpkH3X11Bm5kc05cqfXkUldYUlLHHcHBENUW4cJQL2fetR9sFtcJq9Za8UrpecUgXtgIuRcdbdqZUK7DNXx7E9KHnxAg85G6OsGZdOEpEPZg3WKXPiC8VhgzjAmn4/6LhKWfqgK6EfcacgJa1r3Cza4KRWnFT/Ua6DfJk0ArLDmqAno2rpx6j44UXxMNPSup8GdfsTocopEFpWQofVbhOkN7YDG4Vja107L24SI/ximS56BeuUnUQK5JZDFSgJU08yzVmNy46+jRMqlnhqhyyKdDEPs8qILHsxVE5Xyp263fGCGTYa7dZQ0PPUf/JPe8ANJS1Hr8adw9sI/cpE2VGzFTNWHwbvzUhvc6MGgztlC63HVEiXTNS8E9XvhA82wmyJT3om6xXfuq5bVEOlHuf/ftjtSYnkWp7ZLQetstPQOlsrZDx8I29R3aiBXcTU+9d/3uth4b30hBYY3TevXg5oSAb14k+7PQ401/u2M1qDUbNIjey/fO8dKq8GnRjWTQdjQvZtz2diX2k1vv3ziEcfl2Pgvq1Nbjp6tNJj3f7a/ru1ysBFx+ehhTH8SFWkc4qm/bz1x/Dx8oNglJVG3dq7hreRTHs3Vdnx9Jyd2HnUpa3IdOh7z2ob99pmHp5+uvIQFmw4Jp676w+/iN6Vq6Snp1JDf92bOGjsLsa17XAlVuwo9yM1c18ciRwao4xlZMrd79IOF+mx17wioq2N0Rh1Mn16n2sjr1BCP+xWpA8ZF/FUg3JzCJmgKVC37Rtxv/IF9YiAww7LX9+j8vsX6uxByWEi9qsqtWCEVrfpE5Z6RD3ORNy64qdXUEVJnpoTLkWaHmQQ1xQdj/TTb4IyTQ/rtuWCv4PZHqxZDXYaxgwEVWFPaNr1hbrjQGhqcKhaPh2WP2bDUbwXCn2mp39VjWxkfePQ2O4vO6wJWFH7ke0offlSzwkPTzCz7pwZUtu0Yv4bqApY86oA1GlQeO2qHQ47FHZXdMTXKpQGTM6fiH2a8Oj62a2GIYKa/jMcJty4/2kUWraLSKNU3Ik1tVm3TofCEBtBR7Al4Iaa6WzuqBg3nQ+dU5SQOkNGS6j5uPEAT/vrznhkr2YiAtd04m+xfTH4O7F0G9duT8COuLn0TfFmRMhNuCV14YShBTilU3ZEziU3xf+atR27imtFzk/rmo3xpxSkZFQsNuQju5qO2tPf7RRkRbQ8A2VNisRBTTKNhGuT5uzyrBGfC64108br08im+9nKg/hx3bGQZE50ih87v33KPFMb9pvx1He7PAzKdECfvqijWONAtvlgJZ75fqcnws05PTiqLfRp8UkNrrQ68PK8PSBbsdvOLZuBESUzJIfETWbmuKlQ5XfyfP7l6sP46vfDku3DjrDWXG3btUbIYTirXc+/qqC70ClvbKzBTH0ue+cG2A9scs2Tupnj3ow4usprg3FzCHb5cVOgatmlPr+28r0jQcDphOXP72Ce+QRgd5WC8UBD8J+cfXckPaVMW0fxbpS9cyMcZQf9xsSDKfF958FNlMb3kiqntU8GpaszdWEPZN7wflh1s1HevsleJjuscV56CpqXf/JP2Hasdn3vtQYYLpskGBJD2eKVa9Fyzp3ItdWSjbiv2Wzsh00nToRGV5vSVrp/J85cM1Gy/VpdX0xrdiuqlLXRSGO6CnYHJAlJpGp/jv34JpyL3pQetkoDw5hnROQ4kUZn4/NVhzwELPSnTyjKxM1DC+Ie8eSJP9PnpCwe+oSJxCmV+qaz+u1fRzDr9yPgBlXKAtWM0sl965d9noiQ77WMurH+7tze4dUzM7rLVMdVO1y1anx+6AT945RWcX9+UmkNIhkLGbqf/X6nK71VAYzukwdGWpNlPIyasnAflm4r9RxyD+uRgytPzE+ZNSJZHUmgWAcaLC312kEtMaJHYtJoI1mPfSUWPDd3t4gw0zK0Ktx8WmHIaDXZgj9cdgA/rXelBPLggM8Cv2+xGsfy3q8HBDeBG8PmxjTc0teJ5t/eCUeJ/7tXqiaS/Tz17U5PJN57XJwno8IsHwjL7FaY5zwHywrKtbh0yBsja3D1H9/ANOs/HnZk/ch7kX4y058jP4IV+vLvTZBcL6i1MIyZ5KffHdZayI2SjgAdt6pF76By8TRPNiBTxfVn3AztSZdDoXFl1jU0E8/ouzeAko1hmUojDql85f3c7wRRtheB6c+5D+kDG3F5QQRYxLOp7LDGE00AlpVfwPzN0x4iibTeI2G4+Al/eRCJ+06etwdHN6zEuCOTYbCXi3RcJxTYndYOr7V4AJVK//qrjpaNAdtXqTLEhoNRybOPa4aTO2Vh++FK8D6U9hDlXUoFipqlC03JDJ9T9FRK/WFd229epCEkA9GolOhZwFS85gEjQtyE/7XHhNl/HsWBsmq/9oweOxxO4SCRdISpwFIWSapZnB+pBtUdnY8Plh7EvPXFnnGzRpTBe9agiT2hQoFh3XNwhUTNKK8nMdIPa4vrtOd13pHX07rm4LpBLYOyxvJ2n606hG+8SJaYEnnf2W1FmqhstQhM/WUfFm4q8azPs5d0FJJUiTLKWX3522H8tdcMu92BsqratHHWqT8wsl2ibh1Tv79sKhEHIIGc1sIcLa4/pQBFeemgipeyprDVe74tM9ME+RMJruJV9+rdf74xDYdN1eC/0XgIcUn/Fji/b15Yc+d3kPq3JOlzf1//c0F7tG0W/ubV973bvhnloSrrlKXwEPBfo4vQLEMD687fYCbRC2vnCK5SCXWrrjBe+5ogTvG1jQcq6vyOeSuyshb7yQs7iN+HcEywBr98EezFNdkggjX444YdJaTc15alQq7MfmSnkLlz2lzrqSrohqybfHVtw0Gqto3feglZ3Jr3OzPK7vgqdmfHbkXVsk9gWT1T3Ditz0joThmb0vWTkaGY5NYSeDrKDsOy8kvPflWh0SHj4seR1uPMJA8uvrez7f5TRFg9EWOp7pVqKHRGaPueh/RBV4kMyPKP7nAxYLtrUvVkCX5WkJJVLnwbNsp0MasxRHRW022oIHGTLb4IyA5rHPEUlNrTbvEwDzLnX6TdSMjReN+W73mmSL2/9IDYJDS3HUCb6u3IsJtQrM7D1vRuqFIEPjGWam9X60WkpH+REYXZ2jqpl3Tcth+ugsliQ54hTWidMl3M1ypmT0LVis8kEWJNgHH8FKgLesQRwcBdUX6DNYg7auqrvFuytpWRjQFF/hsbpo8x2ldtq93SsP2FxzeHW8ORtVG7i6tQUR04RYQRQaZKhn1ynxRUUusmjGZ+tPygIPZyO5eUmLjqpHy0yEzDnpqUXG7qO7cIXjO6+VBlnfaU5eD3w60hyQOEge0zBTEMMwd8jfdnRIzReTdxDu97x7DWKMiKv1xHaq1E5KPZc8wiUoPd+FJG5rYzChMS4fxjtwnvLt4P1ov7GutDSa6W7JTkcBFjnS3LBgJlDrj7yclQi4PAojydeM/88HdxnfmmqRQYflwurjgxMsIbqXEGw5OHQ8MZrR6YHxHDui9/AGu8uS5S3zWpMUm9d73bkfzqhlNb1an5tR/dBZK+kIhQcD20Oz4o26z37xif3wUbSjzpz8zCufHUAuglftekxuvHGtymD4xXNVzWYJG2++v7gLW2DILz5u+24YrnoOl4UriPfMB23utFRtmqpR95onTa48+H/twHI2If9r6Ro/wIzDMeETq+3qYuOh6GS56CMjN5GSAxA5UCHQTC03toSmNz6M99wBUdV4R32JMCU5Mcgn3/BpEC75a38W1E0lPd0Ouhbn2c+E64jaRLtp2/wV68F0pdligRIEmq2xzlh2Hb+QesmxaLml+PnrPPDbT9L4w7EWmqYp3McckOa5zQ9mUFZiqF4ZqXoSnqH/AOdFRLKm14e9E+cNMRzLhBl2IwtdodfkyW7EfUeo4qAjdO0Zp18xKUf/h/kqdJ/BIbx7IGJnk/HIs3l+KNhXslp5OfmSYiZ5SucNv6/RWCLTReRskTppLK0jr+iJZX2QW76+aDtSx73KgzPa9ry9ofhFjWYvuRSjz9XV2NTUZM7xnRxk/yhAdAL/60R7Bj0+g4U2c0kihRLGNtaNfyOIcs4vNrUkFJSnX/2fFbOzcedIip/7qvhBtp/3RERs2Hp0BKbaD14/jJXr73mCXCJZZmArhzWBuhhRqthcKzQ54OD0RRg8rfprcW1UbduVJXn9xSRIZDGaPmz8zZGbBZ79YZuOestnHVtWUtNt8/ZJmmcbxjBuTj3D7Nwkt6lWQNvgfpJ10Rarop97l16zJxcC5lypwCUROszG4V13GL/Q/1WXf/6cKf+5+rJ0PT3l+KL5wbk4m44pe3JddO1FaOvCecbuQ2NQgEw5NNuI9jNoOqRYdGgZnDdBTl702A/dA2//kolIIoNK376VHPNWj/AAyX/RdpxzXsKHXU4CTwQtlhjRO4vqzAPGHRn3N/wBNGSkkw7ZHRKHdUI9BQ6ITRUerX1n9jQ/IJpjx6RxCDtY90upU/TxU1Dk5r7QaNulT60Q8jreupkXYXU/t3Fu/H/A3edOsxded3cZZOjWYGNXYXWzysqb6NuAZjB7cUaWyyuRAgXu8t2Y9NByoEQReN0cwJpxYIVtJ4GqPhU37Z52EyZd+MelNDtV1NyiKjQ68u2OthEqXzxbGc2D4zIrKmeI67IfTF9xDJqdwyN13z9XjwnHZxlfqhtBAjlHQwpGxo12zcMKQgpeHiYQiduWJzbV0TMzD6tDGKZ45ZIO6DklAT6d/OiLGDWkV9sLh+v1nUqrpZgH3vd3KHTNx6Rl0Jm1Bjcn9O1uBJc3Z6slqobXrv2cFZg8lEP23JAazcUSZ5G3VNpkrncGtMwx0sNcNNVrz0027wGaPxYHHsoJZg+UA4DODOilKUTbvJhzX45QbHeGv++klYVjHN098UaToYx00VxDDxNqHx+t5NtRlmzduLeykNoQ85fMdSOvkiF3OrhClzCpF91zfxHn6j7i8Ynqzbzrrpw4adAi+xekyJp3SVo+yQ51Om/WoHXw39GbfEzHYs1b/7RukDL4NuxJ1QaORsrnh+sWSHNQ5o2g9vQ+krY2pZgbNaumo41FoR/eQGh/IIB0qt6FGgF+mR3/xxpK4eJGs0NEpc1C9PfM70JhJn9CjIwMXHNwf1CAPZ77vKBYtluO0jnXL1xl9gWT5d/IBoOpwI3ekToMxqGWk3Mbd/Zf5eLNsWXEc2kptwQ6NVK8ETf25qurfSi02ON55tctIFg2pZVe3mtHWOVkSvM3VNsw6SNW5z/y7GzxtLxEaZ9dAkx3JbQbZW1Kb51kRHsjbB2lLm6Jk5u0Q9tvuudBiM6WqxMWW01+0wcD2vH9IKQzpnx+v2jbqfJVtL8cbPez1ZG2SHbddMixHHNQOdq1hqLrlW6/eZ8cz3uwIy7jLayKhjqhsdM1GDu8ckan2Hdc8V5ReM7PE7sWRLGRZuOiYOVry/G4HmxUOXM7rliD60KqXIvKFO6V97zGiZpRH4H9/WIJ539v/7TpM4vCMZVDCLFU+m5jNa6j5g4PeJ37OehXpcdHwL5OrVsNjDHw+zhCae007ISCXCyAROtmkeHNBYq87Mm3APzhghFGU9bj1GlQZKfTY0HQe6fvdyeJgSOVFRIuYaqE/T9PtqtVZ9GwnZmakJk+6xrJoB8zdP1Wpg9jrbxeGhjOy3suSZYQEl/kiOk/PQwmRC2uDvVfLMcDjM/mSenFhjxpMpvJUL3hT13GTG1p44poYoND7fYU//m36Fo+IYUFMnzpTqjAsehbbfeTG9L5hqL8a/eSlUeW2hHXiZKzIcIGU70vYN7cGWHdYYV8zFCnw3bDt+Ez0p0g2CPVfT6WTx/6FqediGdUF0mCi1wdRW2aQRWLCxRKRPx8OYIjpucEscV2gIWefE9L9pSw940s14f0YQbxxSgI4JiBTEY36J6oMbdep2BiKnIpEMo52sE06kcRwfLDuA5dukIznue1OO6NL+LZCmjs8PVCLnlAp909lnLau3BBDHFWvNJfudu/aoOOQIpgd97cktMSKMtNNUwCqcMTCNnbX3x8LUwOYBWmFOGo6abHUyb4h/j8IMmKocot4+UETVd0yx4snDqY+WUdanlkTNfQ++QymRs7fEEvZ4Es22zlRmHmq+uXCf50CY7+q7hrUJj0RMsAY/D4sEd4Oo8TvnvtQlpHE4UP33XFTOew32Y9KlMyL1c/xUqHITcyjkr5KQIViDNZ0Hh/N1EW3sBzej7N0JoE6ulDHVkimXsoWPgPmLibD8OUfGM3zIIm5JZRDTZ/fDYXK9K0lgpT9/IrS9RkYVzbVuWiQOf7yZjkWE+KTLoB9xp9/4Im0f8QRT4ALZYY1xESwrP4f5m0mSrMB/7nHJRQQynlaT8Oim0wqQo5dTTMNZCta/UV/QmxWSUbWze0rrpEbaPtAYSCj0wk+7sXF/bdornaAHRhahc74uxc/cw0E2vDZk8P16DTUQ/R3A9nnpeOKC5NbAcH3X72f9t/942uam46mLkjue8FBM3VahaiIjrbl0OJ3YdLASr8zfE9RRJSKMgv17dFFcaxtTAWlGYmf9ftiPa4BZAczAIUu59/vMNeZA6tf+M+LvCHH2ZS6OF55rdpvw3wi4ADgeRuIpkRPuezre6zR3bbFwtIkLje9o1tOHoydr3fwryj+4XXJILv3SKUnlbgiNjRMuUp1/gfWrAc2jrXlXTFGfUOOxH96B0tcvA2wuUjWhQx8mazCz1Rjh9k7j9L1fLJI8ocbeWD+3/DbTpbPq86YROsfXvQ5Vq26NdepJnRcjuaZP7oHT6tJ1Vuiza/DtGtE4RI3suzfCdnh7RHvLQL8axiuehyaGmt2IBp/AxrLDSlmTo7tBlkCHuRiqvCJoOg8Kyk5YvGc7qrcuh67qCByrP6+t2cjvBMN1b2C/NUOkilEmguyFUkb2RhKMnN4tJ6Y0uwQ+GynZNZlFv/7jiEiV4+aa5FKndM7Gmd1zJCVOIm0fbNJ0WimTsnBjief0ntFxsjGzTpJRJI6ndxsDWO8VzCjLwHQ7Woe8dJH6XZ8WbDxMaWTqIfU6560/Jqnjy7G3MKbhf5d1Suo07v18C/aX1oid+9y5PsaT1Mkn4Gahakx5wEaG7S75+jrfN6aMrtljwv6SapEx0q2VXqT9fvvnUazcUV6nplOrUWJAOyP2llSLMgam1vcsMOD8fnkiYtfYjN+fhRuPYeGmUs98jyswCPZevlN2Fldh04FKbD5UEdKpd2PDenuuAVOJ2zbTChKoX7eUJQTPcLgDvMdDSR+jVoV5G46F/Z6O95rzeSSJGDkihNOkUOCUzlno2FwX8j1dXzWgoTCQ2qfAYUfV8umwrP4KTAf0mFIFVfMOIrWZ2pLKZu1lO2ScAAAgAElEQVSg7XsutAMuiZq5N9T4vD/nmCq+f76WNbjfaOjPeyjwvZ1OVK9fgIo5z9WZB8mhnJYKOC3lLqmRGkKnjPMfASUDZQuNQPW6eeIww53m7oAS1Wo9qvO6onDEeJHu3tBZgUOjkKQWDhuqln2KirkveGSeVM3bw3D5c+Df4Zpt7zqUv3sDqJMbDyNrd8YF/4pHV/XaR5N3WElhXc4TEa/0E1JdG658EUqDv1j64XUrYPvyPmitdVMRnep0bB76NGYfa4OdR6okTszrrnOia3nq9alqxDdnitwnKw7ix7XFkuzMnDo3RXePaANu4nyN13+x6pDQhfU2sm9efmJ+UF3RRMAaaDxMyxzZsxkWbS4R6YB0xkNZhlaFN6+J7CQxVJ+hPr/1o00BScvqYzyhxpvqn285VClIkULVXdIpJZsvD9wod/nij3vq1FPSQaC5I1xio6mAkNj6vzNbg3XOsvkjsGxrKV5fuC9gjS/x+8eQVsJZTZYF4w5gJHXC0EIM7pSVrOGEfR8+e4/O3C4phRbsPW367AFU//2D9H1UGmSOm5KwGtBAk5Pap9AhdVjMcJYd9LpMAUVaOhiF1B4/ut4cERdr8G2w7V4jxhaUNZjO6sZfYP78IU9kig6Uts8oZFz0uLieckdl024GU45p3JsZGRnMT+4BadgPX4o0tB/ejvJpN4F6q7RKpR5vNL8H27VdxP/X174jReBJ2DAqf3oFlYverXVaW3YRz6syIyf4PZ0O2I/tgfmzB0ESs3gZo6uMsjZ0a9IOK08sy969EY46L3zXkmq6DIbh0qeh0Bo8a8zIasW0CdBbjvit+wFNIV7On4hypb8WqNRDkuhanob+YKby+Bk5+mn9MXyx+hAqA2i39mljwG2nt/bTt12ypRRvLd5Xh9VZPG8qRtxbiTrmZFqg8dC5UMCVahiuDWifiTvOjI6RNNx7+LZ77ee94BykrD7GE+08UuW6Q+VW4bAeNflrpEqNkZkF1LosqWD7wHXCJI07t3cznNIpW1LzOVXmX9/jCIU/9aZHJFn2Jxh3QKr/jjGCTxblQ+XSWRhS72lGK82zmD7pb4muAZW6Z7B9Sp32rG/rf4GQ4mHqcn2bbd8GIS3irCoXQ2GESaRTewUCnDYLqLBQ9fNUON2asUoldEPGIX3IuFqNTKcDltWzYJ79NOBwEWoxjZVauUw5ls0fAaaVmj6+C7Y9f4sPnVDgy5xrsNg4DIyy1ue+o7Gvl7PKBPOsx1C9dp5rqgoF0o4bjowL/y0ObyS/59QyXvIRLH984zmYCYQTsyVULTt7Pq6uMMGy4nOoqqTrvq1n/BP5p13V4GFv0g4rtakqf3k7LotoVhqEw7pP00ZEEhhBbZWlFY7JwTKLXy0Po1dXDMyPKD89LgOVO4kbAm8s3IfFm6VfENHchAROj40OP20kmnv4XvPY19s9qcnB+mPEjJIUbXO1IpWzsrpuxJURt/vPbgemAybTmApJXUxfaaj6Gk8y556oe5GddqZEzSUZV6vtTlGbGO5BBiNwlBO64dQCwcgtW2gEAuEfr5rU0CPwbxGIC6Ah/I7xgPDnDdLvaT7TE88pQpvcuhH/sndvgG07iRTrHtipmrWBcewUKLOS5ySF3KcolKDUi/Hy/6acNIk/a/BZMFz8HxdrsMMuGFDFHsx9MKpOQ8Y5DwjHW8pE+5+neNqr258A41UvgXI9stUiQOff9Mk/BTsujc7qj5nnYXb2GD+Y6mPf0RTWiocxZVPHemSyOGdt//ORce5EQOWVfeeww7p1OUwzHoHT7C3bKKIGtd8NAZoC6sLuyLzx/TrZE5QW/O3j53HKoRkMM9SBd1dae2wa8SrGnJh8ZY94r3OTdlhN0+9H9dof44KpHSq82+5fSC/qi56FGejcQo+C7DSxkZ7Fmsu9ZpRWuGouh3TJFhIGjKrJ1nARmDxvD1ZsD85SG8nsGKmacm1yyQ9u/nCTkKUJZHxee7U2oHtLPTrl60Wa84YDZsxecxTbDrvqK9rn6TCqdy5YlxeL7EkkWLnbkrQmlcYTzRxS7RpRc7npGH7ZVCpqI0WNaaEBF/TNg1KpwJaDFVh/oELU6QeqH3bP6bjCDEF2wwM82cJDIBj+weTNwus9ulbFZmuD/R0L9p4mQRRldnxTrMnMSUeKJEbOssPg5tO1X1RA1IONfiQq5s9o0A+6T1EooDv1H0g/+SqQQCfVjNHV8o//CduOVS74tBmillaRkSs28tUbFng25ApdlmBh1vYcDmqDSpmIXH31L1HvKkypRvqgK6EffkfS1iMSjAU3xMEarormyeOqqJz/OioXvQfYXZkyG/R98V7uzahQ+nNl1Me+IxIMU7mt4G7YbcK+UgvImk7uBpZtuM1+dCdMH90J+xEX+Sqjq9r+F4rvqjIjF3zmyexdvWGhOMBxG/+dWq6UHLL8NQcOki9l5EDT8STohl7vJytJPpRnZ29G/7KfcZJpIfKt+2BSZWJjek/MzbwAHToW4a7hiWEGT+b6NGmHVZzWLXgzLnhXqY3IHD8Vhtau2gDZGj8ClCz66ndXbUg8jLWvj52fvAgrU5vv/3IrDgQgLSpqlo7/XCiz7MZjbRtrH7/tKsdrC/Z6dDp953lenzxcNqBFY52+PK8GgECw9zQd1vGDW2Fw56yghyrlH90B68ZFntlmjH4Y2hMuTCjbrvtmwfYpguV13NSUruV0sQZfXqtRKfHMcPNuuPpFqAt7hnyiROTq1ctgP7qrdj3OexDaEy5JGaeV3BCfrzokSOe8LeE1o04nLL/Pgnmmq/aXVp2Rj6fyn0axTVoykZkbjydx3xFygRtIA5PFLiTLvLWwmbFx6xmF6FVYW0po278RZW+NBazSBKx1pqtUQl3QQ0hBKbOp+RyekXtikpdedmP9HW7SDqvj2F5XDWvJfr+nQt2uL9K6n1Hn37cdrkLams+Qa/OvYTW1Pgktr34WafraBzW8R01u1VAROFxT73dEot6va0s9Tmhn9JtaSaUNP607JqlbmK1X47YzWgupo0SbqcoudExZ/ylVpcro//hTWmFI5+TW1CZ63nL/8UWAeqDUvJTKNODzPHFUEVply9rS8UVd7i0SBIK9p9kPS3i4wWSNdSC2djpHQm6lxKUDzrpJ43WvCibeRBvTOsvfv1XyNpquQ2C4hFwbif/NiGWe5tmTJLVtBZZZ+TCMeRbqNr3CvoXtwEaYPrrLwyhM+RDDmGeg6TAg7D4S2ZDs1G/XA1eFbdcamD69B6xfpZWpcvBWi7uwQxP4Oc3UqUWWgXdkMJHYNIa+GVmlHv3qncywq5s9xCy0B0e1Q+uc2kgrSdzMMx+Do7oyYBmgqkVHpA++Bmk9hwsN13Bt88EKvLfkAHYerZK8pDH9Dqesw7p37148//zzKC0thUajweTJk5GWlgaHw4GXXnoJf//9N2w2G+644w7069cPihpWynAX2d3OtvN3kBWQkjZwOkRthZrF/Ne8CoWu1uEguc7Tc3ZCsecPjD3yCoz2UijghFOhRElmR7S64Q1kZMqb+0jxb+jtmfJDjcnSSjucTqdImaQe6b1nt0VGmspveu6T1x/WFrukcf6/vfMAs6o4//+7hS0svUpHQBTsqLFEsaGxa4yiRk2i/tFojL1jfsbYjZoYNcZoLEmMscSGPfYWKyoqXaR3lrK7LMu2//OZZS5nL+e2vXthL/udJzxxd8+ZM/OZeWfmO++Uhv9FAnsvuety6BZtM7a/uaq6zn7/2mybvGB15Lus2PTpwOswalhnd2qxlnJmew3NfPor1jbMNDPLy52itMXU418fuHEmXzKfQ30h2wmEtdO01zTBwcDJ18fv2t3d18o+bZZns72Sdr3uq3G2+rnfNYwTOChvyJ7W/pQ/NezHzFCoX73SidWa+RMDX8gxywsfp2QoGWlHu+qB0wwxFRby+27XsCcvxbB28ttW/u9LI0spEa0dz3nMcooaDr7MYZ9g3qa5Jive2RDNuWe0jrtu1y37teo1turek6yurGHVFwcr/bPrL+2zkr0aeDA5sO7O5uhxx4CuRXb5oQOsQ1Hm6nKKxdssj2PenLnAajJ/tgzjm3QDe0Y5nBAva1g4YsdudmJgZVHtounOORa8jST4Xv7AEQ17sQtTu97wuyWVdtursxvd4sB5I7Rtm2M/3GIF6/Tp061bt27Wrl07u++++2z58uV2+eWX27hx4ywvL8+OPvpomzlzpt1999126aWXWs+eTT8EobZ0jtUumGx1q1daXqdelt9/pw0qzstfL7N/f7rYVfxuNYvsmN7LbJce9bambQ/rOGQXeVbTbQGy+P1Fq9a6qxPwWnKPJPuhigviHzDD4H7eiipXn6Yuqmx0eBOD/dG79rSRQztaczSuQbScmolHjIbOBzorlm7iLSP07ljo7nds4hxQFpekkt5UAsw4szQKbxbXCbGcfIuO8qw2lafea34CwXa6c0m+ra6qs9cmltr3Syojk3UMZft0LnTX9HCHOpN6TMjQru81uIONnPOg1X32RGTfZfF+Z1rxfmMyI1prq6382Wtt7YRX1ovkQbtZm+GjLK9z79BxSvNTa54Yl998oNWvDh4osz5ebmLoPPbdJn1ozUePWeVrd1p9TcMp0FwbUr/uvta8HoOs6Ic/s4Khe2emfEJSTH8+fna53fPm3Mhd7dGPNceeUfK4ZMK7VvXB3y1v6fSGvOfnW0FVw+FiNTn59lLH4+z1Dke4n1mqylV1nK1SurrajTvGzyqzL+eUu7/T13M43lkje7s75TeHgFB99dtSN7ZaUl7tHAisfDtul+7Wo0N6fRNeTQ6ic06HkLBt7xLntPAT/jVzJtiqB880qw0/rbzNNvta+5/+IWnsTKa9P22l/fuTxbYqcAbJXoM7GrcjrKqs2Sz74RYrWIMl9/jjj9vXX39tY8eOtRtuuMHOOOMM23LLhr1+/Hz88cfb0KGZ2ztKx3XV0zMiJ2PSed163BAryE9/pibpGqoHN2sCnAzK4Vx0JAQaOq6w2G/rzs1ykBGxLlhRZde9MKvRIUuI1Ut+1N86tw0/5GKzhq7MiYAItGoCeFDZa8hd0xvePUyr2biP/9GAOjty8jXuEBQ30C/uYO1//me376xZQ12trX7p97bmkyci0bL8uMPZj1pOfvbdYVz24Birnvl5KKL8fjtYhzEPNw1fbY2V/+fqyL250SWWsfKJSi3fZRXeIx8usA+/Wxk59DgsU3jv7zhhiBORTQ1lsyZZ+d/PtoLqVaErsSa03dUe7vorq8stsEHdi9xWI8atwcANFr974XubuXT9UtJ9h3ay0/bulfUrq1gV8eTni+35LzfcvsdNBtzG0FRnACL1kQ8X2luTwydgXLtgZj8Y1MF+sVcva1eUZ3WLZ1jZQ2OsrtEpwOtLo2jk6dZ21LlJVQeGiIjwBz9Y4LzHBPLC/uif7t50x11SH9/ED7V4wVpRUWG33HKL7bTTTnbsscfaRRddZBdccIH1799wzxh/O/LII2348GbuMNYVDC7/P/x3jrGkiEBj8+sDG2+q3sRlqM9vBgQYLL05ebk9/uliW7vO0+kboWNHdLeiNunNen4xu8we+mChcdqna1DXzaievHtP4y5FBREQARForQRY8fLS18vs05mr4ooN2srLtllobcddZrbu5GDEavtf3OtO9GyusObTJ63ylT9afXXDSpi8Lv2s3cl/2Ch7ZpsrD43EEXv4nrk2kh//N8R326PGupODmxrqK1fZyruOs7ryDcUJcRYMP8DanXhbU6NP+B6rS96astzY5sMKk2QC1yidsXcvG9KjaXuPp/71Yus2d91JyVEfLM9rZzducat16tbdDt+hq/OcxrpSjAMXb39tduS0d7yrJ+zaw360XZdkstFin1m8aq3zgC5bN96JTujP9tzCeZxTDStW19hDHyywz2c13C2cKHCq+6hhXezAIUVW9wL3sr6+wSu57btZew5O6zYgUXTucEMcG7RVEedGXo4dv0sPO2h4583GOx4LRIsWrOxXffnll23ChAl25ZVXujwgVtm36j2s1157rY0ePdqGDRuWsLB5wGc4qYfN7NP5dfby9PX3Gu3QM8eOHpqn5ZLJAtRzKRGYuqzenp1Sa8GbZnbsmWPd2ubYlwsbZtO265FjP+yXa7FW7qB3P55XF3med6eW1kUGYsz+Deuea0dvnWtp6uCU8qaHRUAERKAlE5i8tN7GTa21yhg3fTHRd9CWubbX8pes81ePunMsCGsG7WtfDD3TPpxnVrrGbGBHs30H5Fnn4mgfbaLc11vBvC+tw1u3RB6szyuwlQf9xmq6bZXo5Zb797oaK/nqCSua/LLl1DXArc/NtzVDD7KKnX8aeo1NdD8Wr9/r8uSZllsVfsUc/FYccYvVFXexeva05jRM/ubUVrv0FH33tvu5auBeVrntUcbzYYFlxys+e9m6zml4flnvvcx2PNr+PTnXlqw/DsL9rSjfrGvbHFtUXm/OCcY+6Bxr+O91gf579LZ5NrhzTsrnVRQ/NsZKasNFU2VOW3tstwfsR4NzLRkn7sLyenvoy1qrDlzfefzwPNumW+rpSqUCplK+Pt4Va8zemVVrM1aYdSky261Prm3TNcexxfMI3/Kqejdu/3hefeiBksS1ddccO2Hb1DzcldVmj0yotcUV6wuRMsSby7cb9sg2pDTqmnrrUmw2ekiVDfz4NitcNs1y62vd3bjVhR1s9cjzrbZnuH6Jzi9xz1q5/vsck3LM1g1llUwoLi62fv2y93qbFi1Yn376aZs4caKdd9551qFDw0b6m266yX7yk59ElgCzTHjMmDE2cODAZMrLHdRUVpbc7Mh3S9bYXz5cHhEP/boU2bl7d7a2ckglxVoPpU6Apui70np77LNltjjObO3ATnl2+p5dNljKyynED31UajNKww8DYAb1kG072QGDC03XAKdePnpDBERg8ybwxJdl9t53DXv7YoWOVmGnLf6DDVozuWGAmldkf+96jk0oGhF5pV1Bjh27fTvbbWDyNwfUzp9oOeOusZzVpS4e9nfmH3Kp1Qzae7OA3mbZdMtbMc8puNqOfZwID9sFGKsfi9Xv5fxzjNUtmRGbUW6e1bbfwmo6DzDrubXldetv9vlTlr/w20bv1G4xzPIO/z/L6dD4Kq6qFYut7LnrrWtp4+dnFG5tD3f7la3Ia/DWcbo++5/32bLYepSYzSurt6WrGw40bF9gNn5upX0wfVXEO4agPGBIkR26XeekRStnX+Q9eqb1XDs3NL8ri3pZp7P/mVJ9mbi41v7+yTKrWHeIEHX3jN072ZAeRSnFk+zDqZYv8X4xp9ye/KrMygK3wyAQd+6dbz1K8mzW8mo3QbCscsPD1KLTNaBzvp29d5fQgzHD8sAZJf/4dEUjscp+2GO27+DEKcKSSYot2uU40fzBzDX23rSVkdVyxIm4LLEq61kxxbrWLHV34i4sGmBbDepvx+/SdYPPhuU3+FDnkjZ28m5dbGjX3KTrDgfYci5QtoYWK1jxqnKg0h//+McI26KiInv77bftvffecwctPfPMMzZjxgy75JJLjJmD5gz+VOAZ6w6nYUkFm6g3xpUjzZkPxZWdBBasrLLfvzrHWNrS0N1tOIPGUpPRu3VvlMHnvlxmL07glMANn2cGkDsxD9+hW9INXHbSU6pFQAREoGkEvp5XYb9/ZXbkzIpYsXSrXmRXLLzCCuobloGW5Xa0G3vfYhW56weEPTsU2NjDB1qXksRnBHCC6Mo/n2h1qxY3fDIn14r3PcOKD/jlRrnvtWm0MvPWE58utue/Cu/HWMrJks5gqHz9bqt876HIYVjJpCq8VzUr+sFoKx7V+Bqh757/i3X+5rHQfvOd9gfb011+ZlwfctbIPrZdn9gnvbL/8V8fL7I3Ji2PiFbSyt5RzqyItXSXZ9gq9Pqk5fbsZ/NtzPwbbXDVlJBs5tiSbY6zrX/asCIxlfD8V0vtqc8WR07O5noW7mHPxPkW8co3bFyzak2t3f7qHFuwkv22yXkTE+W9obx6u6usYu1nxXvKAZU3vTSr0VWEQ3sW24UH9Xen4ccKHNh237vzbWn52sA2g/Ba96v9+9iO/da3G4nyS5lccegAd0BcawotVrCOHz/eFi1aFCkLrrTZfffdDdH68ccf26pVDcs/Dj300IyUV/BUYD5wwDadXSOZL7dURngr0g0JcKLv2GdmhBwG0jRaNK73nrJ1017WWyIgAiLQSgiwT4x//jwBss2VH/27Ftv3Sysjnqg9Kt6x40sftjbrROuE4l3tH91+aVU5DZ4pBAh3XA7qHn9Cva681CqeuMyqZ45vIJybZ0V7nGRtDz5/o51w2xKKln1581estdtem23LQu43J4092he4Q4uCgXtHK57+jVVP/6jR73O79LOcvDyrXTorJTGbCoul+d1t4pGP2gHDOlkH3GwJAstH3526wv79yaLItShcRbJz/3ZujMm+x2CgDr4zdYU742LVkkU2uvQh274y/ACrsh47Ws+Tb7aizqkfvgP7/3y+xF4M7I/ktgCu2UPcNWe45Mnpxv7ZTIXenQrd9YKTFqyOnNsR9i3G85zoe/DwLm6iIVq4cp/uox8vcqfuEvj7Plt1tBN26xlXrPpvla2psXemrjT0xMpY+wyaAIF9yecd2LcJb2b3Ky1WsG5KrNGnAndv38Zu+YlOBd6UZdJav/2rR6c2W0PHdSP3nSrB2lrrkvItAiKQPIEv55TZ65NWuNPVh/cqsWN27hYRE9/OrzAGs9/MKrWT5t1uW69ef8coS/0mFu9sL3c8xpYXbOE8rFv1jDpcp67Wqqd9YGs++IfVLpvtRGndyoWRxLUZvIe1O+k2yylo2qE8yedy4z25lmtGvil1Yo2w5+AOdvj2XZ3DbHlFjeP53rQVtjSGUPUp5VqY+07dJvQckcr3H7G1X3MNUL0VbHewFe/zC+eprlsx36rGP29rJ7zs7imt58As3GfNECrz2lmfa1K/lgcP3B/fmOOuw/OBwxXppwvych2fHfu2sz+/Pc+4kqmkrszOW3yj9Vo7J/J8XWE7q2rT0WryCq1swAE2/MdnWW5eanszo8Xxna/Pta/mrl8ST1oQ0aTniB26NsvBPs05rvFCklUMew3u5LzVPTo0iH4OSXrmiyX2zbwKY7XDNr3aunqGWPaHFvGcP4TyqB272SvflLrn83KtUV1kUmHfrTvaz/dK/RRlrnzjEKjgN9OpersObO8mElpbkGCNKnGdCtzaTKBl5/fet+e5BrY5QmudlWsOdopDBERABKIJ4P366IspttULZ1hh/frrQXhuVV4ne7Pv6Xb48aPdYDkYKt+4xyo//KdZdWBD3roH8gfsbO1G32y57Rtv98hm+stX1xh92cT5FY2ywX2YHJjD1pcYV1pukG2ufOMU20O365q656+u1mqXzbLVr/zBTRg0R1jReRsbdOG/mhTV7GVr7G8fLLDvFq+/Fz0YESKJOzf7r/3eTl52n/WqXr9vNX/ACCs54grL69nY29ykhARewpt4z9vz7Nt5jcuKR9i3yfLVdG8WuP7FWTZ5wYbxNzXtx+/aw4npZK6qqaquc6eBv/xNqc1a1thmEa5h8xhMJHBbA1fHJPON6HxwevQNL85MOBmTbP4RzZwK3NqCBGtUiXMf298/XBg5CGDvrTramSP7NMtdmK2tcim/6RPggAX2TzBTGAwsT7vs0AE2sGvjQxFSfT79FCoGERABEWi9BKqn/8/K/t54z2NTaXA1TofT/mp5vTavlTBc1zYuxp7UaFYIWJZq1tWZseczVuhYnGdn7dvHLelMRUQQ4zsffmED/3uxdaht8Pb6UJ7b3v7c8wqb22b9FSOkp2/dfPvlghutXU3j5/17bQ/6tRX98GdNWr7Nfahs/Qnbn8kp1AOqZti5i2+0gno/uZFj+f13tPY/vcNy2nZqalWL+1688grbQ5xsIhDfr31Tav/8eP12v2TGNTyDp/SZ8Usb7S1nN+ugHsV2zZEDDXGfanhxwjIb99XSyNLsWOeFHLZ917TvOE01/ak+n2res/F5CVYztzzg63nltqyixt6ctNxWrzuTmlOBrzqMjdXNu34/GyuK0rxpCNBfT1lYYS9MWOY2/zOTwn4oGlAOC6AzDYZUn980udJXRUAERGDzIFDx/PVW9dnTzZKZnIJia3/aXy2/z7bNEl9LiSTRnkXERu9OBc6Dx77Jvp0Lrbyqzl75Zn2/h5d6/sq1Vhm4M4RTeXfu39551+gXWWbL8kvC4B7FTsz6wJLkqQtX24S55fbOlFLrVTbRRq18wQas/c49MrtgkL3Z4XCbWjTMcnLyGqWnX6c21m7JN7by7YesaOkky6urtvz6anc9CSGnTaEV7nactR11rll+6gfhXPLEdFu4aq0NqZpsg6qmujhnFQx2gvrHyx+1dnXrruzJzbPCnY8yBHKmxCrfjldeLA++88TUr1hiOeyTny2x1yaWRvaG5+bmWEFejuE1jzeuIU3cVc9ycvbzMjHPfuHt+5TY0SzVb+Jd8kxesOT/vxOX2+uTSmOuEh85tJOdObJ3WuaUavpTfT6txGXJy61esE5aUGF/emOulQX2EVB2OhU4S2qwkikCIiACIiACm4hA+RNX2tpvXm2er+e1cR5WPGibU4i3Z7EwP8duOW6IdYs6bCgs/+zlvOvNuTZ7WVUjTxuiB5E7Y2njJZ4HDe/ilg+/P22lEyTB/aKx+CabnrXfvGYVT1/TsB92XSgYtp+VHHud5RTGPik47Lvn/3Oi7bPwX3bAqpdiFztidcQxVnL45WZ5mXWiJNpjytU9p+zBwUPJpYNluJyY+8n36+/KZbLhtB/2MsTgpg7TF1e6JbuIxLDQWveMbupyif5+qxaseFZveGmm2/AfHfp0KnSn+3UoTs4gW1rBKj0iIAIiIAIiIAKZJVA1/gB025AAACAASURBVFmrePZ3oR9hiem77Q+2tfntbNTwztajfRurXTzDqj77T+jzuR16WvvT/2p5XTavA1WuHTfTpq3zfEZnPNWzFRA//5ux0sZ9tcwdRhQvsEo0xxr2gSYbUklP9XcfW8Vz17lDnVzIybU2W+1lJUdeZbkdG1+9E+/7bzz1L9v26z9ZQX14fjh8i+uNODmaA7oyHZI5O6NXx0JXp/fbulPc63jYv/zwBwvsi9nlkXJgD+zpe/eynQJXuWQ6T/HiT7THtLXuGd2UZRL27VYtWBvugloaWibtCvPc6X79uqS+vKOlFbLSIwIiIAIiIAIikBkCqx4+y2q+/6zxiS25efZm+0PsuY4nuTMxdh3Q3s4b1c9t44j1fNFeJzdcZdNMd01mJrepxTqntOF6tjDRyLLOyw/tbwOizmJI5gtVNXX2yIcL7X/frUz66jf2uuKN7d+1yLgNoqJq/Qm9fLMp6aldNsfKHj7T6lZyf26DMM7rvqW1P/Uuy+2UxDLS+jpb9cDpVjNnQsxslxzzWysccVQyWJrlmVhnYVB3o7cVs5T3nP36mD9AK5gAribiiiLqgA/c73rVYS3vDtFnvlhqz4xfssEeWZaW/18T98g2S2EokgiBVi1YWQocXKIQrBc0bHhYh0YfR6/KIwIiIAIiIAIiIALrCNStWmyV7z1k1dM+tPrypZbXbUsr2PlIe6xqD3tjasNpqHj7Tt59C7dEtT7s+RFHWuGIH1tOfuMThbMZcvStC14w8v8IncN36GrDem14FkOyeWZfJHdt3v7a7LiitVenQtupbzt3rcng7sVu5Rx7XV/4aqk7GwIHbDrp4eThiueut5qZ6+9Hzesx2Ip2H211qxuWweb33c7aDN69IWu11Va7aLpVz5lgtfO+taoJr5jVbbjSzz1b0Na6XP1+skia5TlEaRgfrrbh9OAPv1vZSLiWFOTZPkM72tY9S2z+ygZxitPnjUnLbXbp+mXaiL+zRvY27kltaYHlwFyr9M6UFTZ3RZV1ZI9s3xI7aqem75FtaXnM9vS0asH69Pglxr+w0K5onYe1c8szrGyvdEq/CIiACIiACGzuBFhqyCnvi8salnp2bptvVx42oEUO2DNRFtG3LuyzVUcbk4FbF9h/iHANC1t2K7LrjhmUiew1ipO9rOWPXWzV0z8yq68L/V6b4QdYbnEnWzv5bauvKE0qTexn7vD/Hkrq2Y31EPeU3v/efCutqE7qOlsma7bq0dauOGyA83AriEBTCLRqwcoF1Vzmu2RdZxIEOKJ/eztn/z7G/UsKIiACIiACIiACIpAKARaIfjBtpd337rzIwH7XgR3svAP7bvZX5XGQza2vzI7cutC/S5FdmaFbF1gpd987841lwsGAODp9n96295COqRRbk5+tr1xlq1+/26o+farJcQRfzMkvtJKjr7aCHQ9vlviaM5LSihp7e8pye+3b0sC1MOFfGLlVJ3ctDI4gBRFoKoFWLViBxrKHe96cZysqa9zadbdUpVuxXfKjfta2QMbV1Iql90RABERABERABMyJKZYb+nDqHlvYwdt1yehOVZbLcpVLXV29uzakID/XLUveGIGrAW96abZ9v7TSfY5bFy47pL+7tiYTgbw+9fkSe/XbUqupbRCt+Xm5NmpYZzthtx4p3dPaHOlbeecxVrtsdvyocvPc8u+cwnZWsM1+VldVZtWT3rb6mgZvPH9zV+UcdF7GTwVOJ8+sHhj79AyrrA73KndrV2B/PHFIOp/QuyLgCLR6wQoEDI5j0tlvwR1T3ANWLM+qTEQEREAEREAERCBNAiwNvvnlWZFTbTkl9YpDWRqcmf2qrB578rPFbpks4pF7Kvcc3NEO3b5L3BNd08xm5PWXvl5mj3+62BCShAOHdTZEen6Gl4POWFLp7mrFnc0ptuxL3VgiPchu+c0HWv3q5eE4c/OsaM+TLb/3MGOfa17X/mbr9i3XzPvWapfMdIc35XUb2HAf76bIQIoV4ex/TrWyNeF7cNsW5Npff7ZNijHqcRHYkIAEq2qFCIiACIiACIiACGSQwLtTV9gD782PHFbTcGowS4Ob1+2JSLz+xVk2bRGHPTWOmwOfTtl9i4xqoDmla2zsM99HTlvlKp+bjxvSqvYulj10plVzanRIaIl7UtOt9mytm7Sg4XCx6LBVz7Z2zZED0/2E3hcBeVhVB0RABERABERABEQgkwRwNj74/gK3748QPDW4OSUrJ7M+9MGC0Kx0Lmnjbj/YokNmPLvRpwKzrYr9utv1Kckk2hYX99pvX7eKZ66x+rUNS6J9aNiT+hsr2PGwFpfmdBIUbw/xGfv0th9upD3E6eRB77Z8AvKwtvwyUgpFQAREQAREQASynED0qcHca9muKN+2611iPx7R3QnJdB2um/K6vtcmlto/Ply47jZSs0ydCtziq0FtjVW+da+t+d9jjfek/uA4azuqZe9JbQpbvPr/WbeHuLoF7CFuSh70TssnIMHa8stIKRQBERABERABEchyAu7U4Okr7S9vz9sgJx2L8+3UPbewPQZ1SCuXj3y40LhOJixwau7Ywwca92E2d5i2uNJ+v8GpwAOsfSs+GbZm3kSrXfq9Q53XdUDW7Eltat2YsbTSFqxY6yYsenUscAeYpjsB09S06L3Nj4AE6+ZXpsqRCIiACIiACIhACyQwYW6F3frKrNCU9exQ4ARll5L8JqecOzJveWVWzPsxueLl9L17uVODmytscCpwm1y77EeZOxW4udKteERABLKHgARr9pSVUioCIiACIiACIpDFBP72/gJ7a3L4CbJc/8IeU063bWpYvrrGLn1yuq2Jcc0I8e7Qt50Trd3atWnqZxq9t6lOBW6WxCsSERCBrCAgwZoVxaREioAIiIAIiIAIZDuBe96aZ//7bmVoNrgvFcHKyapNCTV19XbXG3Pt81ll7nVOIO7SLt8GdS226UsqrbSiOhJtn06FdvmhA5rkzWXP4hezy+3lb5bZgpVrbVXl+itNenRoY7f8ZIi1yfAVNk3ho3dEQASyl4AEa/aWnVIuAiIgAiIgAiKQRQTembLC7n9vfmiKSwrznGDt36WoSTn6aMZKu//dBVZVU+feZz/smJG93d2rCMu//2+hfT23PBI3d5WOGdnLhqYokLlj9dVvltna2oZ7Vn1oracCN6mw9JIIiEBKBCRYU8Klh0VABERABERABESg6QRufnm2fTu/PHSf6UHDu9gpe/S0PI4QTiGsWLcUuHLdUuBObfPt1uMGGyLSh4q1tc4D++38isi38YRe+qP+NqxXSVIH5Hw1p9x+/+rs0JT1aM8e3AHWtZmWGqeQfT0qAiKwmROQYN3MC1jZEwEREAEREAERaDkE2Gc67qulhvhbWVljOTk5Vrm21iWQU1WP3LGbHTuiu7FEOJlQubbO7nlrrn05p8F7WlyQa+fs18d27t9+g9c5IOmpz5fYm5OWG0uICe0K8+zwHbq6g5hID8uFR/Rv7+LxYW1NvU1eWGHPfrHUpi5aHZqs5tiDm0x+9YwIiEDrIyDB2vrKXDkWAREQAREQARFoIQRYrnvTS7Mie0zxev5yvz72gy07WDKS9d2pK+yB9+bbOv1p+wztaGP26e32sIYF9qA+8dlie+WbUuO/w8KW3Yrt1wf2Me4oeXvqCntz8nIrX9MgqmOFdPfgtpDiUDJEQARaIAEJ1hZYKEqSCIiACIiACIhA6yBQX282YV653f3mXMNbSmA/65kje9suAzb0kgapzFhS6Zbolq0Tk1t2K7LLDkl8/2ldXb29NWWFsR8Vr2tY4A5VThuujtqrGqtUupS0cUuCuZ5HQQREQASak4AEa3PSVFwiIAIiIAIiIAIi0AQCn3y/yu59e15EICIALzukv/XtXBgaG0KT/bCIVkLbglx38u/gFK7F+cs78+39aSuSSi0e1MI2uW7p8IrV1Y324LLn9rDtu9ro3Xok5RVO6oN6SAREQATWEZBgVVUQAREQAREQAREQgU1MAE8me1ufHr8kkpKB3YrswlH9Qg8yev7Lpfaf8Usiy3rZ+3rcLt1TOrDpT2/MNYRyvNC7U6Ht3L+dbbNFW3dHLKuIX1i3B3dFZY3x932HdrKRQzvpOptNXIf0eRHYXAlIsG6uJat8iYAIiIAIiIAIZB2Bv72/wN6esjziwdyqZ7E7yTd44u+0RZV23QszrY71xGbOq3rNUQNj7luNBeGZ8Uuc6A0LHKJ07gHhhzdlHVQlWAREIKsJSLBmdfEp8SIgAiIgAiIgApsTAQ434tTfr+dVuGxxeNLIoR3tFz/s5U4O5gqb216dbTOXrXF/71ic7wQt3thUw9LyarvxxVm2uGztBq+yf/bs/fpYUZv1pwWnGr+eFwEREIHmINBiBWt9fb2Vl5fbNddcY7vvvrudcMIJLr81NTV211132bRp06yqqsrOOuss22233dyx8AoiIAIiIAIiIAIikO0E2J/6f899bwtXrheS7BE9Yoeu9sq3pcZyYAJDn+N26WFH79StyVmetmi13fP2PFtRUWO19fVOFA/uUWwXHdSvkVe3yR/QiyIgAiKQJoEWK1hnzZpl999/v3Xo0MEGDBgQEaxPPvmkFRcX2xFHHGFz5syxO++80y699FLr2bNnmij0ugiIgAiIgAiIgAi0DAKzS9fYHa/NMbygTpyaWZv8XKuurYssF95tYHs7Z/++ae8dXVJWbXOWr7GKqlrjsCeWGMuz2jLqgVIhAiJg1mIFqy+cxx9/3P2n97BeffXVdsYZZ9iWW27pfn/DDTfY8ccfb0OHDlV5ioAIiIAIiIAIiMBmQ+CrOeXu2hp3IWrU+bud2ubb2MMHWq+OukZmsylwZUQERCCUQNYJ1osuusguuOAC69+/v8vQLbfcYkceeaQNHz5cRSwCIiACIiACIiACmw2B1yctt4c/WBCaHwnWzaaYlREREIEEBLJOsF544YV23nnnRTys1157rY0ePdqGDRuWVGH7DCf1sB4SAREQAREQAREQgU1E4KlJdTZxSV3o13NzzH6+Y57166AzPDZR8eizIpA1BNhO2a9fv6xJb3RCs06w3nzzzXbsscdGlgCPHTvWxowZYwMHDkyqEDi0qaKi4eQ9BREQAREQAREQARFoqQSe/HKVvT2tLDR57DG9YN9u1q9zm5aafKVLBESghRDIz8+3kpKSFpKa1JPRYgUrwrKsrMyef/55l6ujjz7a2rdvb++//7699dZbdv7559u4ceNs/vz5bolwUVHqx7mnjktviIAIiIAIiIAIiMDGIfDt/Ar7/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fjHP7ZRo0ZZXl5eFuJXkkVABERABERABERABERABERABGIRyDrBOm7cOFu+fLn97Gc/s8WLF9sdd9xh5557rvXt21elLAIiIAIiIAIiIAIiIAIiIAIisBkRyDrBev3119sJJ5xgW221lSsGBOtBBx1k22+//WZULMqKCIiACIiACIiACIiACIiACIhA1gnWsWPH2hlnnGGDBg1ypXfvvffakCFDnGhVEAEREAEREAEREAEREAEREAER2HwIZJ1gveqqq+y0005r5GHdeeedbf/990+qVMrKymzBggVJPauHREAEREAEREAEREAEREAERCCbCRQXF1u/fv2yNgtZJ1jvuusu22WXXWyvvfZy0K+77jo76aSTnJc1mTB16lTr0qWLFRQUJPN4ys+sXbvWSktLbYsttkj53WReUPzxKWU7H3JH/SFQTzMRFH98qtnOh9wtXLgwo+2c4o9fh7KdT7a3o0r/pu0n1Y8l7rmzvZ/J9vS3xn4yPz/f2rZtm7hyttAnsk6wTp8+3f7617/axRdfbO+++65NmTLFzj//fGvfvn1SiBGsHNCUqULzQIcOHZpUelJ9SPHHJ5btfMjdnDlzXCYzNROm+OPXoWznQ+4y3c4p/vh1KNv5ZHs7qvRv2n5S/VjikV229zPZnn71k4nraEt7IusEKwC//vprW7lypWM5YsSIlMRnpgcS6ig3bUeZ7fzV0SduIrO9o8x0+tURJ65Dme4Hsj3+bG9Hlf5N2w+rH0vcBmW6H1D8icsg29vpTKc/McGN+0RWCtZ0EH3//ffWq1cvKyoqSieamO9yNyx7ZLfcckvFH0JAfBJXC5YTEjK1rFzxxy+DbOdD7jLdzin++HUo2/monY5fvuKjfiwxgc27n1E/mbgGZHs/kDiHG/eJVidYNy5efU0EREAEREAEREAEREAEREAERKCpBCRYm0pO74mACIiACIiACIiACIiACIiACGSUgARrRvEqchEQAREQAREQAREQAREQAREQgaYSkGBtKjm9JwIiIAIiIAIiIAIiIAIiIAIikFECEqwZxavIRUAEREAEREAEREAEREAEREAEmkpAgjWK3LJly6xjx47GBbuZCCtWrHDX8BQUFGQienfdT3FxccbiLysrs7y8vJSuEkolo1z4XllZ6cqguUJFRYURb+fOnZsrykbxVFVVGVy6du1qOTk5zf6NmpoaW758uYs/Nze32eMnwiVLlliXLl1c2WYiZNquuMScu5jbtGmTieRbttstDX1tbW3S91WnCjETdhtMA/GTh06dOqWatJSfl70lRpYJeyNO+i7+ZSLQhtLvlpSUZCJ61/fSPid7J3yqich0P0a/yz/6gUyEzaGfXLp0qWuDMjU+zPZ+MtPjz2C9lL3Ft9JM21sm2ohEcUqwBgjRYf7+97+3iy++2Lp165aIXZP+/rvf/c5OO+0069evX5PeT/TSrbfeascff3zGrtW55557bJ999rEddtghUVKa9Pdnn33WdZgjR45s0vthLz344IPWrl07Gz16dLPFGYzo1VdftcmTJ9u5556bEcH30Ucf2ZtvvmmXXnppRgQZd3n94x//sKuvvtoKCwubndHGsKsrr7zSzj///IxdBZTtdvvII4/YNttsY7vvvnuzly8RZsJugwn973//a6tWrbKf/OQnGUl/MFLZW2LEzW1vTPhdf/31dskll1j37t0TJyDFJxjo3HzzzXbCCSfYtttum+LbiR9nQuX22293/dYPf/jDxC804YlM92NPPvmks7EzzjijCalL/Eq295Pca3rvvffaFVdcYR06dEic4RSf2Bz6yUyPPz1S2VviypVpe0ucguZ/otUIVjrEP//5z7Z48WJHsbq62nlNMDB/3+Xzzz9vc+fOtXPOOcd55F5//XV77rnn3EA+GYFJ/N99952LH28Gs2WIGD9I/Pzzz23cuHGuwUPgIBJ4rnfv3varX/0q4cwvg84JEyZE4qeB+9nPfmajRo1yv5sxY4bdf//9dtVVV9m///1v43t+NplnDj300Lg16KmnnrL//e9/7pm6ujoj/qOPPtqOPfZY9ztmX2HBv7/+9a8RlngkmM35zW9+Y3369In5jffee88NbH1gxnvEiBGOEYF4rrvuOjvrrLPchMEtt9ziyoiy+8UvfmF77rnnBh5MeMPdB2bd9t57b/c8gW/cdNNNdtFFF7lynjdvnv3xj3906bzgggsi78X6PfWB+MkfgVlu6sLYsWMj5cBA68gjj3R54ft0anT88MBbALc77rjD8aS8f/7zn9vOO+/s3ucuM+InXgLfQVwzuPLlwLu77LKL7b///o4F9WDmzJkufjzRpJEBJB5Y7/2GI4EZYeInXQTqNWXLxAOhvr7e7rvvPnc3MWVNg/D444/bV1995cqZcohXbs1lV19++aU9+uijzi6xh1//+teOHfcdkn7Kx9cROJL3oUOHut+99dZb9sknn9jll19un376qYuHPG611Vb2//7f/3PxEC91G3bkK3hPclPslrpKOqm72Bjpj2XPqdjt7NmzXRopJwZFTFLgscGuY9nzyy+/7NoqH2h3DjjgANc2+Dr129/+1i688EJXz/72t7+5/6eu3XDDDW7lwd133+3ubg3aEYwHDBgQt/yj7Zb6RNtQXl7u2j/qLhNQ5CeWPY8fP96VWfDbgwcPdnXahxtvvNFOPvlkZxt/+tOfXPzUafI0fPhw1y5QL6jLTLpg72GB9E2cONHuuusuV27YC+39wIEDN7C3vfbay9U97AtW8PzBD34QGm/wl6SDNp5yw+N25plnuroYZm/8jrL4v//7P2fL/H+iQL5p06jT5Bsuvj3h3eh+DKEzbdo0Fy1t6HHHHRf3E9g05UYbhh2ddNJJjfIdtLdvv/3W1XvSQhkzsRO2kiVY/rCkLaO98Z4qJs1eeOEFV27Y1tdff+3Y0457AUhbzoQy70eXG/FTpvPnz3fvw+OUU06JxI9dkU7fbvv4ScMhhxzieNA+0G+SJv7RnnhvI/l74IEHbPr06e7ZQYMGuXL1Kzr4LumlLyDQv/vJ3eBEKTzpA8kr9dvXC9LMWOPdd99138b2+btfiZVsPzZp0iT75z//6dpNAiKaQL/DpA/fxT64h56JeZ8/6iBtAbxpV/kedYDv0w4Q6Md8XSIf++23nx111FEuvfwMP+yY9hYu5513nmsj/fd9Pzls2LBIf0i5nX766a68YED7TRlgp8H4m8NuqTfx7Jk80076Okm6gpMb5I10UK/+/ve/2xdffOHSTDqDdRlOtFd8j/FlsF1L1m6xYSap4Qqbn/70p67c4BXLnlOx21j9ZDx7jlf+5DE4/gz2Y7RrTETRHrKSi77Gt9/wCfPoB+2N7x544IF2zDHHRBwCydpbrIYuaG88s/XWWzt79mUftDf6CeqFD7/85S8jdhsr/mh769Gjh2vbfHsRtDeY0GfCgf6CsYkfE8eKP9reYMu437cXfN/bG+USb1yfqL9pSX9vNYI1GvrHH3/sBnm+A4uegX344YedgdGBYGzJCNbgN2bNmuUM89prr40sn73zzjtdZ4BwpIPu37+/G3BQsRA7P/7xj5OuGwzgb7vtNrvmmmsiy+SCM7AMcBmEHXTQQUnHGXwQYU+66Kz8jHesGVgGMDSuqXjoaFwRZYcddlhkQIJRvf322473f/7zH9c5MFii8SOvxI/hxwvwYEC2/fbbu8cYqDGgp/OcMmWKUa4MemmEvGCN9fuw7zAIIW7vAWYwiwDguwxU6eQRefDzgpUGifwyyGGgRDn94Q9/CM0GnTWDMbzkBAQt32TwwlJyBrQIbxqhoGD1fBKtDGBQhIj1s+iICt5lcMZSJzoQyjsoWIMJDSu34N+bYlfMXDOJwAAK0U1+yYcXXMH4maCANwMCQvRMKwM2ONPJUX8ZTBxxxBFG3WWgz0CSyaGgYG2K3fIOkwLbbbedq6PJ2nMiuyV/TB5QBygXODCBk6w9M8FDvlnF4QdbwZlWOnrKmboER+oX4iq4RYGyZ9BL/Yr2JCSyW+oTcfPev/71L/vmm2+c3TIAS8aeaYcZZO+6666RCTbsk/QQD4NAnsEGsGvaHtLJAB0xs9tuuxn1KZZghQ/l5gejH3zwgavriNZoe6NuLVq0yA1mGMghlBlwxlsySdrgf/jhh7t2jUkGvzqC+KPtjW8wiGYwSvvh+6N4bRx86I8QQrSN2AuTAYTofozJD9rMRJOVwe8h+hm40UZQX2inyXuYvVF3qJ/YE2XMZAC/iw7UQdI6ZsyYyEQxdugnOEknQoYJAdp+2kkGjeQRjr7e0UdSN/CC01f4b3344YdG28MEhmdA+plwIQRXAPDeG2+84eoMA2EvWClj8kH9hSeMEQoE7PuJJ55wdZCAMOdvQ4YMcT8HVwCQNlhgw/QVQcEKA+yCesz7XrD6cqQf4ftMevIuk6+p9GMPPfSQ6z+j+4EFCxY4+6D/wP4fe+wxLgHa1gAAIABJREFUJ1r9mIPJKtrIyy67zNkP3+c5PxFNGhC7lAvxM+CmnlOe2Ad9HD/Dh/4DvsTjJ46D/WSwP8Q+mAjge9jy+++/7ybpGJD7ATeTLM1ht4iBWPaMHVLPaT+wFeoCE/iUByF6BQBtBm0/8ZFOxM5OO+3knkV88LxPs7eFVOyWdhOuPg5Wluy7775uMjOWPadit7H6yXj2HK/8yWNw/On7MQQa/Rh2Tn/Of1On99hjD/vss89cnaPORC+jZ2zOJDB1jfrCuAQR5+05WXuL1Y76cYS3Z2yDdsA7l4LjRmyTfNAvoweoo4jDeMGP/2nPsSPqFu2Wdy4F7Y0+6MUXX4yMF+NGvO6PfhxBOrA3tAbtFRMnhKC9BeMLG9cn872W8kyrFawMcpiZZpkcIXoG1hcQBsNSw1QFK4MQjNRXICoKRofBBgMzSTR4VGa8dMkGZosRu8z2EaJnYBngMtNNZ09D3bNnz2Sjds/ROGF0DCoIzIghEvwMrI+M35P+H/3oR27WPNlAx0djRcdPoIMKehKZ7UW0eS8aHS2D8FhCgzjo8F577TXXmPgGkI6QdPly5jkGHgzEgh7WeL/3eUIkIqyCwpmGhtk6X848G68BIt+UXXDm1cePyGKgTd30M9N06HQuvpx5ljjouIKClQaRQTdljlgI26fF4ANhyqDON/zExWCPQacPNHaxBHB0uUWXd1PsCl7UN95lsEYZMujj5+g9wXBjUIsQJUTPtPr0+AEVAxC/QoC/ESdiJVY9StZuqa8IH+IJCutE9pzIbn36EXfYA0KGjjpZe6a+wM97J5lpJZ14QpgUCwYGzgh47IXBK8E/z6x+sE779xLZbTB+yhTvPPaC4EnGnhEGDPh8Oxm9AiDIh3wygPDeTP6GYHrllVdiClYGksTNwISB09NPP+0YM+lACLM3fk//QPvHTLtfkRPW1iGCKDeEDANfBlaIVAb23naD9sbAGAF18MEHu3YpGcHKRAMdN/WY8qDd8+Ud7Mdolyhb6icTQQQGN4n23yEYGbDR9lMeiC8mXsPsDQGPLTJ4p02i3WUFSXSgnLBpL4LxUNEWIaxol/wKAD8hSVtIvfXC309qeY8hEy38nUlg8kN6mdRgZQaBv8GEsgqu3PHtqn+G9sEL1mCa6TfwFHrBxQCTesmkGoH2lv6jb9++7me/AsC3q/yOvoLvecFKOrADPEUIRn7vBSv5oc+jfSI/PMf4xP89mX4Me6Z+Y+sE2lJ/FgSTlJQVZcNYBpGIaGB7DwHvIeMV367yO+wIT5z3sGLLL730kpv8ZfKPeggPGDP+oG1mAprtQpQFLJgsJIT1k/yePpV00b5hN/D0vBBAtLOskmluuw2zZ8qLvpNl44glVu3QVxKwA/Lgf/Z1BTFFXaN/pl+iHj7zzDOurSP9fqUTzydrt8F66AUrbQllE8+eU7Fb/43ofjKePScq/+BKNh8/dT5YroylqU++DaX+YEfR42vqA7/ztknZsGrIb0VLxt42aIQCv6Bdpu75cQ+TE/Tdvh8Iszdepw2jLWNiJ16gH8JW0A8E2mjqkP9e0N4Y/zChxviNfpi2OtEZN9QznBveNhkj8j3fPsWyt+hxfdxMtMA/tkrByuyY37PnD/GItQerKYI16DHyHSTeQyoVgwwCDR2DJRp6Om1mW+lgkgnMxNO5Yfx4aQnBGSF+ZgaJ2T9mDlmGnMyS4OC3meWks/ZemuCMUPC54ExVsunnfTo3xLRf7hXtSaTBYvBz4oknOs8DgpX8+g48mpP3zOy4446RDjvWnpCmClbEjPc8+MOJGMhRpsEGN0yw0pjQQCKw6JD9bGwwHwzi/DJyv3QkbE9ItGAl73SwBDjy33QC0Z4g6jgDZOq036uKdwZvsfdIE0c8wRpdbsH0N9WusAXKF2HDoAkOCCnvofbfwNPGoBGB4r3+sfY2MtmCMCHe4J64eII1Gbv1aWGGk4ka4mfmNRl7TsZuffx+JpS6RV1J1p7xCDBgZQm5L0u/AiBYVt5jhXDzA1z+Hj0zHG1niezWP+/tkaW9tG3J2jP1kcklPF+EMI8kA0I8RtgSy7PwqPuQSLDyHO8irhjEM6CnrfOCPdYeLFYmUP8SDVR8286AHVuknaBe+7Yx2t4oL7wz8EpWsPIsAxLsDeFA/H5CMtiPYccIQbxoTGQhjBERCKFEgb6JATsDWuzNe0Kj7Y1lw3gn6GdgGcvzgCjFI44IYmBIvn3fFbbXKlqw0v/gQfJbJbxQoDwQOcTJQJJBHIGBIZPAhODKneChbIiJMMGKnTKRyiSD7/+YyMHrhSeDgKjx3pLgCoDgGQDRgpU+AKGEaKeeBQUrcfr2jUkPxCR2Q/1Jth/je9g1tkO9oB+Cg++b6H8Qqkwys4yedHgeYXuSowUracRz6sswuLWFv5E3PLyILL7JhIfnEdZP8g7lxRjo7LPPduKOts5P3CPAaQf9xHJz2m2YPZNutsPQD2Bj9BV+eXtwBUDQdvDq0x7RD3jPPBN95DtasCZrt8H4afepc9gL5ZbInpO1W/+N6H4ykT3HKv/o8SftNlyou7StTJqRfup9cNVe0KMbzDe2TP31E3H8P4KVFYPJ2lu8No4xFHUVMU2gXUYkYvNh9obApJ76LYO+7Yr1DdorJtOoF4zDqOf0V37lT9DeaMv8lg3GZ3CKnhiJ/g51lMk7BCq2Rn2mP/BbSmLZW/S4PlE/0NL+3uoEKx0PlZQO2C/3iTUDS2GlKljxCDBYQSz62RXiYQkoA0MGcMFAB4MRkx46l2ROmWVQwl5WOms/0GJGCINmGUl0oMNm9s175BJVQhollrEFPRdhM7DEQ2OK8QYHvYnixzh5j/T4pUt4NhApfjBF40CeaDwIPId49XvNor9Bw06HzT4mH4J7uYLPN0Ww0nEyg0jH6r2+wT3Jvhz4TjwPK7NsdMwIr+BpmOSTWUPqpPeEkScGGEGPMfFHC9Zg3hjsIKTwHgU9BzSCfJcZbz+rHtyTHNx3FkuwhpWb/3a6doXXic6WgJeFAWjQ28RMOwNW7AOR4kPYTKufjWdA6fPqn48lWFOxWwbxdHAM+rwHwccfz56TtVvKBZHJTKuf8Q2WcSx7xhtC3aa++PJkRpWyCXpL/f4dOr3oVQZMFjBIDhM1yditTyfLphBIfslVMvYMVzpUyohJAF/Xo1cA+G8wcEYEBFc8JBKsfsafyTBsGVbYM5NzYfZGvWAQgR3SHsbzrpIu4se2yQvePvoavsV/R9sbA3IGdiz3Y+CIoMObTlsX6zRw7ICBIJNSDH6wGd7FVig3fwYAE6XYMWLSt7Px2g3PlPziufbLmOkLqFfES3sVtDfy+pe//MX1QeSB9hc+CPDo08b5NnWagRp1gzbSe1jDVgBEC1b27BM//wjew8oADbFO30H7QJkizBDB3nMTXLkTtKMwwYrw5nn4BVdOECc2j11QtnhkEGRMoAbPAAjGHxSsXmD7Jcxww2uGx4jVMNQDliHThzMBQz/m93Ym24/xPewGMU0I5g8hgthnIou+gT4CryATVnh/KOPoyZhowcqEOwzIA+KUek46qd+010yik3a44YUlL3iTw/pJ6jF2zUDb1wPeh2fQw0q/RVzNZbex7Jk2knEb+aLeIDbpSxEE/C16BQB8/Z5X7JCJINpaJjXIP7aHbSI8sGf6rWTt1tchJh0oJ8aFrNiIZ894hpO122BfxaSu7ycT2XO88o81/oQh36CNYGzjVxH4dhTW/Ise1/EecfqzK3As0cYwmZmMvUWPD8N+pq/zZ8LQ11L32E4Wy96IA+cP9sKYPZmVKn7vKGMavsEkUSx7I37aAeyW54JOhLD0Y5/+7Arixg7pP2KNS8PG9clwaknPtDrB6meUaAj8cplYM7AUVKqC1XtGaGT87CyNIB1UrNPlMALSEO1RCqsofo8as+beO5nodLl33nnHDYaIP9GR/t7zQqcW3PcUNgPLTJc/NS/RQM7nhQEBM0/MOgVPI4x3ulyi/BE3HSkDF3+gSLxTIZsiWOlYGbQEZ76Ce5KDZRVPsNLJUfdYpho8TZKGh+UmfoBPfLFOhYw38PR76FhiGFze5WeCvYeC+GPtSQ4TrLHKzee7Oe0qLN/eo0lj7ic5wmZasQ/KBdGPYI++5iaWYE3Wbv0hUwxQsMGwU5XD7DlZu6X8GAgyAKGDD06EeNZh9uw9mkxYBffMhc20MvlEGfsDo3y8tFMM1v2sbbBOp2K3tDXUZX/QRnQ7FsueWcHAoAkh4AVP2AqAYHw8y3f8Eu9EgtV7kBFyBPLMQJ98h9U7/s7kWrQnN1Yn7vcWMTDD48KsOvZO3qLtjckrBigEvEcwo8zpN2JdzwQ7bID0UNa+PUFwM7j3ZwDwPnUCIQsfJkTxmDKIjtcPUL+Jn3aUJY6IM37G64Xd+b3E1Hvsj36N+GjPaR9ZyuoPawsyot3BHv3KEtp7Jnuo52ErAKIFKxPAxOG/Fb13F+GER5X9jgT6JQb5DPqCZwAE0xQmWHmPwWX0adScfcCgGQFGwIYYsDLYZ0BO3x59FVtQsFIWTHxQvwmIF7yopBeRiYjn8DHEGYFBJ3ZOOcc63Ti6H8MLSB3AJrBX8oe3lX4AQc83vceKsvN7Vkk/+yOjTzeOFqykgzrn973yHpPVtDccRoUA8Ft8qAuUK3YQ1k+SPybwmNzwHmDSj1DxyybxICGA+V5z2W0se/Z7Uf24MOjBR4Riq8F2ib8zgc0Yxo/zyDPxEOhPsMVTTz3V/d3bUTJ2y/u0C+SffpxJV9rDePbst6gkY7fEH9ZPJrLnWOWPDcS7XQMOfssPE15wpN74tgzbSbRlzfdjtKnJ2Fus9jnW730/g0Mp3mnivj1notNvB0jmW7QfTHDT/sWyN+Lxe8FZTRhcOZToG8GVNWH2Fmtcnyjelvb3VidYaRTpaLwHIXrvpC8glovR6NOxMmPGANXvA4pXiMxUIj6CJ1zSyROC+xAxChpiBhY07Aywk7myAbc/3lLfMRBv2IwQ6abxYuaTjoRGL2yvTnRemEUjPcG9tmEzQt7jxYylP7AkmcrNgI68B5exhXk2mBGm86UDo8zo2GOln86AQVlw7ycdHNyDXjoGQQzw6IjpUPzeLvIS9nsvRvzBE3Sk3kMetieZwQi/Z+DBYIPZfhpi9n4wW0oZkC4GCn4pCsx4jwaZ+uE95H5PMuIh2JjTYNJ50kARP54AvkWgDrEUheWC/lAiXyYwZ4DkRWysPcl4Lhg8UweIn0aZgVhYuQXLO127Il8EvH6kP1i/fR3nb35Pday9jeSbSRl/aBX2xUAbntQlBtRMFiBw/Mw38SdrtwyM/anVvEdbQjzYWzx7TtZu4egHR8TPQIX4GbzEs2dsiDrlT3/2g15/KrkXvuQTQez3JOLJI36+g71Q9mHLXpO1W/JJWv3ECJ4F4sf24tkzdsPglvL1KxjCVgDgUaUdZpCLXSFQmaHnIDXabAbO/J797mF7gXiGwRWTcXwHkUi9oi1gABq0N9oVbIB/fm8is9jx7tn0p6viufL2iH0iRMLOAPA2hPc6mSXB1GHqIHmjPaRceA/vXJgnEc8wZcsZAyyBw8OWqB9AtNEm0R/RHhA/Aygm7fxp4j7deMSxNdoJ2lXaOXhFT7SwJA72fj859YN6hqc4egUADL1HHiGFcEZEBtOFYEQIsGeSQJuBIPR9LHUQ5nwzuHKHZ0kjZUt87L3lG8SP5wbR4dOPbfiJWAQl/ToCi0AZsLeSAVT0CgDaB/7R7xIvvIN7Z3mfuh5cEky/gMCFJ8Hnjzwm248RB3lgqS5jF5j4Q4OYoIK5X7KNeMUu6ZOCpxvzbfo7BBN2hFiDBys2sD1+Ztkk5UO6KHvqOfWENhCBRn+Ft49yZaIj+uwO6jq24PsXvun7GLYOEAdpoN75iaXmsFvKM5Y9U17wp02ACcIWfnhWo1cA+LMgmNTnJHECqw+Cq5Toh4NLglOxW2yPckOweKcBYxFsPp49p2K3sfpJbDKWPTPuDCt/6pZfKuvbBfpZJktgQpn6sx6C7QArTLCPsMMVqb+UOYF3/CGMYWduJGNv0WNTxsXE71eU+GXpTDhE2xvpx/vq+wt/7kO88S5lSPyMLbEjbJO65ye8/WnixMGkH/2FtxvGvn7iKtY3iB8bxcYYb/KPVTzkK+ysnLBxfbz0t9S/tTrBSgdJQ+BPv4zeO+kLCsOkcvnA88nc38YsFY2XX+PuT5ejIwqe3EeD6Jc7MACi40wm+GtzvHCK5UnkOX+FD41C9FLkWN8iXQwUvXCi4QibEcIwGCBgZH75XjLpxxgZFAT3cMbybHg+idLPIJuGJuiZCNuTTAPi9wr4tDLrRV7Cfu9nzBngMBAmfj8QwyNOw8XA2AfKggF7MLDUBT5+aQgDeOIJDnr97Du/93vdoveE+Dh9PP5nBop0ZP67CKhgPP45vCv83nvYY+1JRtB4LwDvUr7YS1i5BfOZrl35fMVKP/aI/fgBpN/bGO3ZiOZDfsk35eeXl5Nu/3vvyUvWbqP5YOvETx2MZ8/J2i0csT8fGKgQPwOCePZMO0b9DrYjYTOt5DPIwfPmO9gzA4ywA+aStdtgu0Me4Ev6Ka949kw7iVD3e295N2wFQLSnCvvFThEgpJ8OnBBmZ54pZcUSUwL7lkgfotWfJh72XNDeEh3AF2xnPF/aJ+/RCmsnyT9pID+JQrCd8fn0y9T9aeLBNsl79vCChm0ZCfte0I7gQxsZ5tmgXhC/D97DGR0ng3ye89eD0W7BMWwFQNDzTDzYmO8vfLqi7df3R952fLsVtnIn6AkjfsqI+Elf0Pb4PXtcCdQr/u6vH6PNZQAbtgKAcsRegyGaCxMt5D/YDwTz7fPHhFP0veSx+jHswNuft7vgiqpgvn27xWQ0dS84WU5/R/qCgQE77W+wfcJrH9zLF8y3b7cYSEf3k2F8fD/px0Vh9puu3VKe3u7D7DmYb88PIRO9AiCMj68PPl7qCbyDyzqTtduwcYQffwbbvzB7TtZuY/WTvh2NZc/R5U+dCPNI0h/5a9KC9htsB4K/j24vgu1KcHzcVHuLjj/YXwTtPGzcGCzvWOOT6Pij+ylv/0zkRNtb0J693YSt3Ap+gwkQ2iPG5wTObmHsGDYu5e/R4/pEfUxL/XurE6zRBUEDT6PqPTLNXVB0XOynydRl3DQMLPNKxcuZSh4xJmaKY10TkUpcsQZqzDAxy5ZoWUgq32LWmNn8ZJcqpxI3zzILx0xs8FTIVOOI9zyDW2auk51oSPXbDM4Z4PgZ4lTfT/R8pu2KGUtmLoOrFhKlKZW/Z7vdMtDCroIrPVLJf6Jn6XQzYbf+u3TIxI8HzXtcE6Upnb/L3uLTy4S9IdDw2rFMMmzpezrlybtMEtB3EX88r3g638ErT/xhd8+mE69/N9P9GGIM73sqyxtTyVe295N4zxEsqVwLlQqfbO8nMz3+jGYpe4tfuzJtb6nU7Uw82+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8xfr3729HHHFEC0qZkiICIiACIiACIpAqAQnWVInpeREQARFIg8CsZWvsfzNWWWlFtW3Zrcj22aqTtSvMa1KM99xzj/30pz+1zp07u/fnzZtn//rXv6y2ttb69u1rp5xyivt56NChtuuuu0a+cf/999sxxxxj3bt3b9J3k32pevLbtnbKe+7xNoP3sILtDkr21UbPLVmyxOWD9JLfYHjmmWfs+++/d7/fYost3J+WLl1qt99+u40dO9batWtnd955p1VWVlrPnj3dc4WFhU1KR7IvzZ0715UFoVevXk44NyVQTsuWLWv0ateuXW3MmDHudy+//LJ99dVX7r+Dv0/0Hn/n+WOPPTYS97fffmuffPLJRuET+ejS58xKX2j4sfNBZt1HNwVTpMwfeOAB99+dOnVy+ejQoYP72defnXfe2UaOHOl+R515/PHHI987+OCDbcSIEZGf3333Xfviiy9cPNF2Mn78eHvttdfcszvuuKOLk/o5atQomzNnjn344YeN8pGXl+eemzFjRqN0US/D4m8yBL0oAiIgApspAQnWzbRglS0REIGWR+Dj71fZ395bYKvX1kYS17dzkf3qgD7Wr3PqIupXv/qV/eY3v3FC7f333zfE2+WXX249evSwN998033jgw8+sN12280OOeSQyDcvueQSO//8861fv34ZgVS/drWtfvl2q/r8mUbxF+x0uJUcdrnlFLVL6buIAAb3CHHS3qdPH/c+Yu6WW25xvz/33HNtyy23dL//8ssv7bPPPrPTTz/dCVfE+0knnWQIDcRHpvJdXV3tvvHdd981yh/pYsKgTZs2KeXbP+yF1QknnOB+VVNTY/fee68T4eecc44T5U888YR9/fXXrj4UFBS456Lf43dTp061u+66y/Lz8+2GG26wtm3bRurJiy++6N4vLi5uUjqTfqm2zOy7i8wWNAjMSOh5qtmQu8zyOyYdFQ8iBJm8+fnPf2477LCDE40TJkywww8/3MWDEP/vf/9ra9eudfkj77B65JFH3M9VVVV23XXX2amnnmo/+MEPHN8bb7zRcnNz7aCDDrLdd9/dxYPn/qmnnrKJEyfahRdeaB07dnTcmZR47rnn3Pe333579yyTFrfddptdffXV1q1bN/e7yy67zEaPHu3qAvFMmTLF1edMT6CkBFMPi4AIiEALJCDB2gILRUkSARHY/AjgWb3xpVlWUbVerPpcDu3Z1i46uF/KnlYvWBEdN910kxug77333o3gMRDf2IK16pMnrOLl281qqxsXZF6+tR31ayv64akpFbAXrNttt521b9/efvKTn7j3EeOTJ0+2mTNnOnHqBeuf/vQnO/DAA23QoEFOiOyxxx6GaBl/AAAJPUlEQVR21FFHpfTNpjw8bdo0+/zzz52wCQaEDx62YcOGNSXaDYQnPBDi119/vROrPlx11VX2i1/8wnnUCWGCFe8qgh/Bhrg67LDDIiw3mmCd/2ez6Rea1a9tzCOnjdmWN5r1uyQlTkxm4B3dZ599Qt+DFSsK8MAi8JmwCApWhCfPICwRnfD9z3/+48Tqs88+6zz1hEWLFrn69Nvf/jYiQvn9ypUr3e8TCVbqxtNPP+1EKs8zuYTXX0EEREAERCA+AQlW1RAREAERSIPA7NI19qc35tmilVVWn0Y8ybzaqTjfjtu1h+23dSf3uBes9fX1bgB87bXXbrB8sTkFa9X452z1K7db/ZryZJLb9Gdy8yy/51ZWcsxvLK/XMCcgECXnnXee25uKYMCLyP8jEh588MGIYC0rK3Mc8JwhRPA0IxL23HNPJ2jwtiIgUwl48BAbeFAzHVg+yhLiXXbZJaanFC8pnj28d8EAo+HDhzuhRYgWrKWlpc4jjWD6+OOP7dNPP414HBH/aQnWiglm3x5vVjnNLNOWkJNnVrKD2dYPmLUb4TyXZ555pg0ZMmSD4oEVntQrr7zSHn30Ubca4eijj24kWIuKipz9MNnDSoTnn3/eKAe8rUwKYGdMAlAP7r77brvjjjsafSdZwVpeXm633nqr88jyzdNOOy3T1Unxi4AIiMBmQUCCdbMoRmVCBERgUxH44+tz7LOZZRvt8+2L8uzeU7ZuJFgRUgys77vvvg3S0ZyCdcVN+1ld5aqNlteCbUdZuxNujQhWvMheWOAlRJAhTH/3u99FBOu///1vW7NmjfM0+rBw4UK3jBPB8stf/tJ5nFMJLN9kOenGCghq9kP6paTRwpO8PPnkk3bNNdc0ShKeZby4sQQr4o2lq5deeqkhnhC8F198sfM4pi1Yvz3WbGnjJeAZ59X9OLPhT7rl7RdccEHEwx78Lh5lxCHLfdmn+49//MNuvvlmJ1gRnnjhmfDBC89eVJ6FC/uEmdxg6TVLdvkZD/rf/vY3934wJCtYeYel+6SBb2RqaXrGuesDIiACIrCRCUiwbmTg+pwIiMDmReDFCcvs6fFLrKqm8TLQTOQyN8dsh77t7JIfNRzi4z2sDKgRcieeeKLzCgUDHp1tttkmsiQW4YWHjQEze11TCeX/utDWTn3frG7DZc2pxJPMszn5hVa0/5lWvM9pEcHKnsBXXnnFiSuWQXOIDh4xRCtLghF4iNozzjjDBg8evMFn2MeI2EPgpBI4gIdDlBA2GyOUlJTY/vvvHzk0KFqwzpo1y3ma8ST7/aqUK3tS8TgjwgjR7+EdJB9+z+SKFSvcd/A4pi1Y59xmNuu3ZrUVGwORWW6R2cDfmvW73JX5AQccENlr6hOAR5m9qMFl0+wtxRvLPl2/hxVPvA/sd0WU4gX1AUFKHWMiBDvDS+0PdOKZVARr2N7WjQNMXxEBERCB7CUgwZq9ZaeUi4AItAAC1bX1xv7UNdWJBes//rfQ5q2o2iDVuwxob6OGd7Ycy4mbIwRr386F1qE43z3nBSvCc9y4cfbRRx/ZRRdd5JYFs9yTQ3lY2vjCCy84r1qXLl3c8tmKigo7++yz3eEzqYS61cutdtF3ZnU1cV+rWz7fVr/6B6uvaixecgqKre3B51tu18Sn5ua0KbK83sMtJ7+gkWDlgJwrrrjCfR9PF+LLC1YEpd8jyN8RLK+++qo7cImAsNlvv/3c8uBUAt9E3CUSrHgtOVk2eukwnBHX7L9NJuDlQ0Tl5DTUh2jhiThFvHM6NEIdBpQrnmQmI8IOXeLkZPLP8lm/b5KDifAe46FOW7DWVZmVf2FWy3LxBMJ+zUyz7y4xq43y1ueVmA26xay4YQ9ufGNoa9Z+FydcOWQL7zle9W233dZxwJuKB5O9qCwH9gGPKYHlv2GCFa/rgAEDIvukeRam2AtLtR9++GF3CjW2h2hlAoX/p94l2sNKXBKsiQpWfxcBERCBDQlIsKpWiIAIiMBGIjBz2Rp78P0FtmBlla2tqbe2Bbm2be8SO2Of3lbcJrV9lSSZwTWDdIQoAZHKPkQCg2vETPTvWTLqT5vNWLbramzNx4/bmg8ftbqKUveZ3JLOVrT7iVa018lmuakJ5cWLF7s9m5wETGCPIcEfpMSyT+5bxYPKwUvBw3fYw4qHlMD+Tk5pzVTgsCWW3XL6K944AmKS/Y94uVPdO+vT+cYbb7j/5CCpYECkzp492/0qrFyD77FnddKkSY2WSiPoEWAsl12wYIETXT5ktJ7UV5vNu9ts7h/Nqhc3fLJNd7M+55r1vdCMw5dSDIhvn36EPHbxzjvvOE9pcAk4z7333nuujvD/iEzvgcVTCo/oq2aob3i9PX9+5jRoAoc94d1F/OLt9559f5UO6Qh6cGP9PsXs6nEREAERaFUEJFhbVXErsyIgApuawKo1NbasvMbWVNdau8J826JjgbXJi+9Z3dRpbur365bPs7qyJc7hltu+m+V24TqazOWVU1fxMG/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X/q2nmMSlDoCQAAAABJRU5ErkJgg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3" descr="data:image/png;base64,iVBORw0KGgoAAAANSUhEUgAAA6sAAAHUCAYAAADcCb64AAAgAElEQVR4XuydB3gc1fX2X1XLRXLvvfdewMbYlNB774GPmBSS0FsoNmB6gEBIQknypwQICS1gejPNuPfee5HkKjdJlrTf887sSKPd2dV2zWrf8zx+SLRn7tz7m9nZOfe0tJUrV3ogEQEREAEREAEREAEREAEREAEREAH3EFiYtmHDBk+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IgAiIgAiIgAiIgAiIgAiIgAi4joCMVdddEk1IBERABERABERABERABERABERAxqruAREQAREQAREQAREQAREQAREQAdcRkLHqukuiCYmACIiACIiACIiACIiACIiACMhY1T0gAiIgAiKQNAQKCwvx5ZdfYvr06di1axfq1auH/v3747TTTkO/fv2QlpaGu+++Gxs2bECTJk1w7733ol27do7r+/vf/46pU6canz3xxBPo0KFDpd6mTZvw8ccfY/78+Thw4ADy8vIwcOBAnHvuuWjfvn1AXvn5+fj8888xc+ZM7NmzB/Xr18eAAQOM+fXp06fyOM6P4y9btszQy8jIMMY99thjMX78eDRq1Ajl5eW44447kJOTgwcffNDQsQs/57w3btyIZ599Fh6PBxMmTMBZZ52FSy65xFD94IMP8J///KfacW3btjVY/exnP0Pnzp2T5tproiIgAiIgAqlHQMZq6l1zrVgEREAEkpbAnXfeiS1btuD44483jK2CggJ88skn2LdvHx5//HFkZ2fjF7/4hWHoHTlyBBdeeCHOO+88v/XSGL3vvvsM/YMHD+KRRx5Bly5dDD1+9thjj4E/kKeffjqOOuoorFy50jAuW7ZsaRjDNIqd5Pbbb8fWrVtx8skn48QTT8TmzZvx6aefGmM9+eSTxiE0UJ977jkUFxfjzDPPxKhRo0AjnOtYsWIFevbsCa6Thvhf/vIXzJo1C5MmTUKPHj2qnbK0tBS//e1vDQP35z//uTHetddeizPOOANXXHGFofv6668bxjOZdO/e3TCM58yZg++//94wpG+44Qb07ds3ae8HTVwEREAERKBuE5CxWrevr1YnAiIgAnWCAI3Pv/3tb5g3b57hPTzmmGOqrYve1uOOOw5ZWVmGYdaiRQuUlZUZBt8DDzxg/N0un332Gd544w3DUKSX1jJW+aM4ceJEw4C99dZbDQPPLjT8aIj6Gquc35/+9CfDEP3Nb36DkSNH+h13yimnYP/+/bjrrruQmZmJm2++udJApjI9oy+99JJhSHINJ5xwAr799lvQA3zZZZcZhq3vXLgGelfbtGkT0Fj94osvjHPSm2rJ0qVL8dRTTxneZHptJSIgAiIgAiLgRgIyVt14VTQnERABERCBagTo7bz//vvRq1cv3HbbbYaxF0ho6LVq1crwvv7rX/8yjE96K+1CryrDaxmiyzBZy1ilMfz0008bHtXLL7885Kuwbt064zzDhw83jNBAMm3aNPz1r381wnTPOeccP7Xly5dj8uTJhjf3xhtvxN69e3H99ddj0KBBhsFpF56H4ck0ximBPKtOxir1X331VSOkmt5VGu0SERABERABEXAbARmrbrsimo8IiIAIiIAfAYbCMnT2/PPPdwzrtR9gGav0GNI7Sq8jQ3ctYUgvw3z5N4bd/vvf/640Vj/66CO8+eab+P3vf4/Ro0eHfCXoDX3hhReMcNxTTz014HHvvfce3n33XWNew4YNc9S75pprDI/nQw89ZHz+5z//GQsXLjTyUpnLSlm9erVhvF966aVGjmokxuqhQ4fw61//2vBIM3xYIgIiIAIiIAJuIyBj1W1XRPMRAREQARHwI0AP4Msvv4wrr7zS8HoGE7uxSu/hd999Z3grrZzUe+65xyhWxDxQ5onajdXnn38eP/zwg2FM0ksaqliFjBiizPDdQPKPf/zDKOr08MMPVwsBtuv/4Q9/MMKQaaRS6LVloSgapmeffbbxtylTpuC///2v8ffevXtHZKzyBYDeWRZZ4jklIiACIiACIuA2AjJW3XZFNB8REAEREIGYGavMIWVhI3pkWcl37dq1Rtgs//cFF1xgGH12Y5V5sT/++GPcjVV6fX3zYa1FswIwc2CZU0rh/2bYMg3YP/7xj0YINItJbd++3Vgbi0RRwg0DtoxVGrvBQpd1O4qACIiACIhAbRGQsVpb5HVeERABERCBkAmwCBJzPS+66CLHXE/7QHbPKv/OkF7msDKn9MMPP8Q777xTGfbra6y+//77ePvtt418UeaNhirffPMN6DVlCC8LMAUSnpvnoEE6ePBgRzV6j5mby/laQoOaXmAarV27djXyWNkOh0a4JeEaqzR+f/WrX4WdnxsqE+mJgAiIgAiIQLQEZKxGS1DHi4AIiIAIxJ0AczQZOss2KwzRDaXAEr2XrAJMg5RGIkOB2QqmadOmlWGvvsbqTz/9ZBjFNATZ/iVQixrfBdODyxxTFiq66aabAvKwCiyxpY7d0LQOWLBggVHdl6HONFotYbsZVhtmKDDXRIP3xRdfrHaecI1VhlXTyGZxqY4dO8b9GuoEIiACIiACIhAuARmr4RKTvgiIgAiIQMIJMBSWxiDDeOkN9G1dw6JIDOtlqxq7Z5WGHfutsh8pP2M/VhYm6tatm7EGX2O1qKgIt9xyi/HZo48+avRVtctrr71mGJHp6enV/s75MX9027Zthid3xIgR1T5n7uzVV1+N/Px8o6ovCyUxHLlZs2aVemxdw8JPbCvD4k/2VjNcA8dlfinHaNeuneGdtUs4xurMmTONVkD9+/f3GyfhF1cnFAEREAEREIEABGSs6tYQAREQARFICgKbN282vJ5sYzNmzBijncuBAwcwY8YMI5+TxiXzN32NVS7OykVlCxuG17LAkpOxyr/Nnz8f//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qhyfY7LgEkODma/qJNRjLm1JSYnhZfY1Mvl3GrGsGMzcXgpZvfHGG5XDMXyaIb/0TNNQtlrh6HYT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KuNVY9Hg9KSkrA/1Kys7ORkZFh/G/+vaKiwvjf9erVQ3p6eopfRi1fBERABERABERABERABERABOoWAdcaqwsWLMDHH3+MYcOGYc2aNcjJycFVV12FwsJCvPbaa8bflyxZgnbt2uGiiy4yjFmJCIiACIiACIiACIiACIiACIhA3SDgWmP1+eefR9++fXHcccehvLwcEydOxG233YaXXnoJl19+OTp27GhcgTvvvBO33347WrRoUTeuiFYhAiIgAiIgAiIgAiIgAiIgAiIA1xqr06dPx+eff47x48dj+fLlqF+/Pq644grce++9uOWWW9CmTRvj8t1///2YMGECOnTooMspAiIgAiIgAiIgAiIgAiIgAiJQRwi41lilN/Wrr77Cu+++i8zMTDz55JOGwWp5Ulu2bGlcgscee8wwYi1Pa03XZf/+/di+fXtNavpcBERABERABERABERABERABJKaAOv7dO7cOWnX4Fpj9dVXXzXyVC+55BLMnTsX77zzDm699VbDaL3pppuqeVavu+46tG/fPqSLUFpaikOHDoWkKyUREAEREAEREAEREAEREAERSFYCLFCbm5ubrNN3bxgwc1QZ3tupUyej8u/kyZON///WW2/hrLPOQq9evVBcXIxJkybhjjvuQPPmzZP2ImjiIiACIiACIiACIiACIiACIiAC1Qm41rP6zTffgHmrrPbL0N0GDRoY4b6bNm3CK6+8YhirK1euNCoBDxkypLKtjS6wCIiACIiACIiACIiACIiACIhA8hNwrbGa/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Z+o2PAVpTPyuI/k9e/Z1A47FA66uBtIzA+vumAbs4/i6g8bFAm6sBpAfR/xHY9YFXf5xXPy2I/g9e/d1A4/Fe/SCA934H7PoQKNsLNBlvrjeY7P0W2DUFKNvn1b+qBv2ppn75fnM+ra+sQf8br/4BoPFxQOsrgutXlAIFrwP7fgSyWwFNTweajAt8TEWJV38akN0aaHa6eR0CScVhIP8NoOgnr/6Z5n0RUP+QV386kN0GaEb9MYH1yw8CBRx/BpDdFmh+JpA3Ooj+AXP8/TO9+mcDeUcF0d8P5L8O7J8N1GsHNKP+qMD6ZUUmn/1zgHrtgeZnA7kjg+jvNee/fy5QrwPQ/Bwgd3gQ/T3m/A/MM/VbnAs0GhZEf7dXfz5Qr6NXf2hgfX6vOJ8DC4B6nbz6Q4LfQ5z7zneB0h1A7iig9VVARsPAx5DNzvdMfbKnfnqDIPqzvfr5QN7RXv36QZ4ps4BdHL/AvBf4nUyvF0Rfz7jgz6w4P+M8ZeY9uu87IKsl0OxUoMnxgafkOeLV/96rfxrQ5Lggz5QUe8YF/7bqUxEQAREQgSgIyFiNAl5cDt32ArD2RoAGjSV8Wez7byCni/8pt/0VWHMzwJeJSv3RXv3O/vpb/wysvRXgy0ql/hivfid//S3PAOuoX1H1GQ0fzocv4r6y5Slg7e0APDb9sV79Dv76m58A1t1Z/e803Pq8aRoe1cQDbHoMWH+3j/7xQN/Xgex2PvoVwKZHgfX3Vv97058BfV4zDSe7eMqBTQ8DGyZV/3uzU4Der5iGXDX9MmDjQ8DGB3z0TwN6v2wair5SsgVYfplpqFqSng10+yPQ/gYH/c1e/Wk2/Ryg+5NAu9866G8Cll1mGqqV49cHuj8NtPu1v37xRnN8bnhU6jcAevwJaPtLB/0NwPJLgaKZVZ/RSOr+LND2Fw766736s2z6jYAefwba/D8H/XXAsktNQ9WSjDyg53POmxLF1L/YNDwtyWwM9Pir86bB4bXAcurPs+k3AXr+DWh1mf98Dq8xxz8w36bfFOj1AtDyYgf91V79BVWfZTUDer4EtLzAQX8VsOwi4MAim35zoNffgRbn+evzL/mvAauvB7hpYAmNbX4n6/f0P2bHK8Dq3wIVh2z6I7z6PRz0/wms/j3ATY/K8Ud69bv762//O7CG+iVVn3Fzoe9bQE5Xf/3aesb14zMrxZ9xvBql24DllwPc9LMkLRPo9hjQ4Vb/61Wy1dTf971NPwvo9gTQ4SYH/RR7xjl/S/VXERABERCBGBGQsRojkDEZhp6qxaeaHkBfaTgAqOdgfBb9ANCz5Kc/0PnFbN8PQHk4+t+bHka/8Qc5G6t8oXHSbzQYyHYwVrmzX37Af/xGQx2MT4/5wuSnnwYY+j7GJyq8+raXeuNMaUDuMCDLx/hEOWDwcdIfDmT5GJ80+Mm/3GYEGOOnm566rFYOL3KbgIOL/f+ekQs0dvCulmwEDi4JQ38DcHCpg36esze2eD1waFkY+uuAQ8v99TPzgDwHb2/xWuDQCgf9xkDeWP+/F68BDq0MXf/wauDwKgf9JkCegzeZujzGVzID6a8EaLCGrL8CoEHsp9/UjJLwlcPLgcPrQtenZtE0M6rAVxr0BnIcjM+A+n2AHAfjM6B+XyCnm/95i34M8MzqB9RzMFYD6sf7GRfmM6thmPpJ8YyjsboFOLDQ4TvfyIwk8ZWSzcBB22aK9XlGIP06/Iwb8LEZjSQRAREQARFIGAHXGqtbt25FcXFxJYj09HR06NABWVlZ2LZtGzhxSrt27VC/fpDwtIShjMGJll8CFPw3BgNpCBEQAREQAREQgZgSaDvBjHqQiIAIiIAIJIyAa43V1atX49ChKo/VP/7xD9x///3YtWsX3n77bZx55pmYPn06KioqcO211yInJydh0OJ2ornDqocbxu1EGlgEREAEREAERCAsAszTHTw1rEOkLAIiIAIiEB0B1xqr9mW9+eab2L59O2644QY8+eSTuOqqqwwvK+UPf/gDbrnlFrRs2TI6Em44eu1NwJZnnWfCMNEGfYE0W2GjIzudQxQ5AvP8GvTx0S90DlG09Bv2NUNkLWHBJqeQRn7OvECOb9dncRXmEDqJoc/xbRJUv4l3fLt+PsCwVcfxmwIMg6w2frj6O4DiDQHGbwY06OUz/naAOZ9OwjzF+j76zPtlSKxTGDbHYIglCy5ZwhxaQ98hDDug/nLnsGrq1+9uFkepHL/MO75DGHZAfY7vGybtHbB+DyCrhc/4yxzCpAPpHwEOLq+eW2lny3zMrOa28am/rHpuZTB95oEz5LmiKmKj2qXj9eJ1syRs/RLv+LbczWrz6Q1kNbWNT/2l1fPT7fq8nzNt+vzsyG7nsGd+xtxh4xmRWTUKizc5hT1HpN/IO76tGFvQZ1C4+nrGoTTcZ1aY+nwGHV7pHLZtPFO6Vs+1N/RXOKeaBNKvy8+4jneaub0SERABERCBhBFwvbG6e/duw6N69dVXY/jw4bjtttuMf23amPmGkyZNwnXXXVdpvCaMXDxOVLodmNnF+eW14x1A10eqV+1loYz5xzgbWJ3+AHR5qLqxWrINWDAaKN7kP/vO9wJdHqxufLKwxvzRAHOWfKXzJKALCxHZjFtD/2iARYR8pctkgOewC/UM/a0+2mlA14cBrsEuNAwXjAG4jmqSBnR7HOjIwk42YS7ggrEAudqFBj8LGnW4xUd/FbBgvFkxtZp+hlmgyLcAEnM3Fx4P4wWzmn4m0OMZ/wJIND433m8WZfIVVr0dMh3IsRWAof6G+8wiUX767YGhP1XPS2YO7fp7ABat8tPv4NW3FcWiPotbbXnaQb+jV9+WZ8wiXiyetdVhQ4WFa4ZOM6vlWmLo3wxs/av/+FznEM7fVkTLUwqsuRFgAR5fyens1bcV0aIxueZ3AAv8+Ol3MedjL7rFAkCrfwPseNlBv6tX35b3TP1VvwLyX3XQ7+bVt+U90wheNcGsmuor3CgYwurPdv3DwMprgYK3HPR7ePV98qR5ry041tkAZQEtFq6yVwLnvWzoO+Tdtv8t0P1PDvpjnTep2t9oFvayG8P8bs0f67xJxe8Xi/DYK40b+nxmOWw6xf0Zdx/QhcXQfJ9ZKfSMYx7/xkfM54qvMOefzxR7IT8aq5smAxvud9Bv59W31VJItWecPxX9RQREQAREIMYEXG+sMtT3yy+/xMSJE42l33777bjjjjsqPamPPvoorrzySnTs6FCZ1gHW/v37DS+tG6VhyVS0311VsdWDTFSkN8HBnPEoyLsPFWn+ubkNS35Ay6KHkVmejzRPqaF/IOc4FObdG0D/O7QsegSZ5QWGfrkx/vFeff9Q6kYlU9Fy36PIqCi06Z+Awrx7UJHmoF/8FVoWPYaMip1I8xxBeXpTHMyh/t0B9L9Ay6LHkVGxq1L/QM7PsDPvLkf93OLP0KLoj9X165+Mwtw74UnzbZXhQW7xp2hR9JSpjyMoT2uKA/VPQ2HubY76eYc/RvP9TyOzYjeAMkN/f/3TsTP3lgD6U9B8/zPIrNgFoNxY7/6cM7Ez92Z4HNoNpXsOo2XRo2hU/DXSK/YaOmUZbQyeB+v5F+5I9xzy6n9j02+Lgsb34lC2f8EeU/8RNCqeatNvh4LGE3Eo279djKn/sFd/n3c+HVDQ+D4cyvZvF0P9VkWT0bD4O6RXUL8ejmRQfxIOZ/u3f0n3HPTqf1+ln9kRBY3vx+Es/3Yuhv6+B8H7unL8zE4oaPwADmcN9vvamvoPePWLzPlkdkZ+4wdRnDXQQf8AWu+7Hw1KpiG9wtQvzeyCgsaTUZzVP4D+JDQo+cmrn4PSzK7Ib/IQSjIZWVBd0j0cfyIalEy36XdDfpOHUZLp42lnKS7PfrTedx8alMxAesV+eNI4fnfkN3kEJZkOxZLoIC+da6w5q3wL0jwlqEjPM+4dMqpI829H06B0NlruexBZ5Vu9+o29+vcH0J+JVvsmI7N8m03/WOMaO48/Ha32PeTV5zOosfeZNTHAM2gaWhZRf0flM0vPuKr7KL7PON5zh9Fi/xNodBrvDTQAACAASURBVPhLZFTsgSctC2UZrVGY9wccrOffjsZ8Zj2OhsXUt55Z1L8bB+v5F4WrK8+4RsVfGd9hCn97tzd9xpGPG98lNCcREAERsBOoV68eOnd2KNKaJJhcb6xOnjwZ55xzDgYNGmQgvfvuu41wYMuz+sADD2DChAlo3963zYnzFSgrK0Npqa0tjFsuVEUJspeMRWaJtzJr7ih4ujyE8sw2xss0ELgPKg1V48UPJShPbx6C/g7TuK3UZ8XOwH1TOXZ4+tu9+jSGWxgv99W8GT7MM8vjrb/NNM7B+bT08gnc95Uv6aY+jW3On/xr0ifPMpSlt8CRGvThKUd2+QbDgPagnmGslmUw/DfAOcLWL0N2+Ubb+G1RlsHw30DjU5/z2Q0PcrzzCazPTYgsY3xLn+Mz/Nd5fF/9IxltUW7Mx1m4iWKOzxfpHBxJb4dyY/xQ9OvDGD89mH4Jsso3ecenfjvjexN4fOpzPnxRD0W/2Dv+XuMltyyjPcrTbeHFPidK8xQjq2wTMjzUb4AyYz6B9Xl4Rnkhsiq2g8dyg+RIRhfD6Agk1fWb4UhG56D6vP8zK2hMcnzqc3xbeLHfd7i6fmlGl+oeWD/9fO/4oT6z9Iyr+RkU+jMOqEB2Gb/zO73PoNaGwRr4HGHqh/3MCveZGP9nXPb+T5Gx0mxn5UlviJJe76MiN0i/are8S2geIiACIuBDgEVqk7m2j6uN1WnTpuHDDz/EPffcg7y8PAP9c889h9GjR2PEiBEoKCjAM888Y3hbmzb1ye1KtluVfTcXnVKVr2eEtd6RbKvQfEVABERABEQg+QkwzeCnFlU1A3q96Nx7OvlXqhWIgAiIgKsJuNZYZduaxx57DH369MGll15aCXHz5s2Gwdq4cWPs2LHDKK5E1zZ3DZJamDu4+Y/cwzVzyI5aXz2fL6kXp8mLgAiIgAiIQJIRWHYxUPi2OelWlwJ9/51kC9B0RUAERCD5CbjWWE1+tGGsoOIQMKtPVSGjDixk8kwYA0hVBERABERABEQgpgTy/wWs+Lk5JAtQHb25esGwmJ5Mg4mACIiACDgRkLHqhvti63PAmhvMmWQ2AYYvAFj9VCICIiACIiACIlA7BFjxfd7RVe3Ghs0GckfUzlx0VhEQARFIUQIyVmv7wpftA+YMrPKqNj8b6Pc2kJ5d2zPT+UVABERABEQgdQmw1zjbkx1cajLoPNHb/ih1kWjlIiACIpBoAjJWE03c93y7PgKWXVDVW7XPK0Drq2t7Vjq/CIiACIiACKQ2AfaKXnIusPsTk0PeUWb/4yCVsVMbmFYvAiIgArEnIGM19kzDG3Hl/wN2vGIek9USGLUGyDQrH0tEQAREQAREQARqkcDGycAGs8876nUChv5g/lciAiIgAiKQEAIyVhOCOcBJjuwCZnaryofp/iegw021OSOdWwREQAREQAREwCKwbxqwYKz5/zIaAQM/BRp7/78oiYAIiIAIxJ2AjNW4Iw50Ag+w9lZgy59MhXrtgRGLgMxmtTYjnVgEREAEREAERMBGgP1Wp7cCWF+C0usFoO2vhEgEREAERCBBBGSsJgi032lKtgDzRgKlO8yPWl0BMF9VuTC1dUV0XhEQAREQARHwJ7D8EqDgv97f6kuAvm+JkgiIgAiIQIIIyFhNEGi/07B/28prAU+Z+dHAT4Bmp9XWbHReERABERABERABJwL5rwMrrjI/yW7j7beaKVYiIAIiIAIJICBjNQGQHU+x5CyAlYApDfsBw+arXU1tXQudVwREQAREQAQCEWC/1flHA2VFpsawWUDuSPESAREQARFIAAEZqwmA7HeKQyuAOQMATzmQlgH0+y/Q4vzamInOKQIiIAIiIAIiEIyA0W/1BODgElOr831AlwfFTAREQAREIAEEZKwmALLfKdi3bdcH5p8b9AWG/gRkNqmNmeicIiACIiACIiACwQiw3+rS84BdH5tauUcBQ9VvVTeNCIiACCSCgIzVRFC2n8MIJxoDlO01/9r+RqDH0wDSEz0TnU8EREAEREAERCAUApseBtbfa2qyz+qQH4Ac9VsNBZ10REAERCAaAjJWo6EXybFbnwPWsJdqhXn0sDlA7vBIRtIxIiACIiACIiACiSBQ9BMw/xjzTOq3mgjiOocIiIAIGARkrCbyRvBUmEUa9s82z9r0Z8CgLxM5A51LBERABERABEQgXAKeUuCn1lVRUT1fANqp32q4GKUvAiIgAuESkLEaLrFo9Hd/Diw5HaDRyn6qQ6cDuSOiGVHHioAIiIAIiIAIJILA8suAAm+P1ZYXA/3+k4iz6hwiIAIikNIEZKwm6vJXlAILjwOKpptnzDva9KoynEgiAiIgAiIgAiLgbgL5bwArrjTnmN0aOHqLufEsEQEREAERiBsBGatxQ+szcNEMYNFJQPkB84OuDwGd7gaQlqgZ6DwiIAIiIAIiIAKREjAKJI4GyvaZIwydAeQdFeloOk4EREAERCAEAjJWQ4AUlUrpDmDrX4D814GSjeZQaenAiKVAgz5RDa2DRUAEREAEREAEEkTgSAGw8ERbv9V7gC4PJejkSXwa9qnd9gJQ+B+A70SNRgAdbgCangSkZfkvjJy3PQ8Uvm3qM12q/U1A0xOd9UvzgW1/AwrfAY7kA7kjgQ43A02OD6L/V69+AZA7yqt/nLN+EqPX1EWgLhCQsRrvq7j4DGD3Z1XVf01rFejzCtD65/E+u8YXAREQAREQARGIBQFPGcA+6butfqsjzT7pCgUOTnfp+cCuDwFPeZVeRkOg2x+Bdr/xP3Ype9FPMet7WEL97k8DbX/pr7/kbPOa+Or3eBZo8wsH/bOAXZ9Ufy9jSlaP54A218TiTtEYIiACMSQgYzWGMP2G2vYisPrXzmdoNAwY8i2QkRvPGWhsERABERABERCBWBHY9Aiw/h5zNKPf6vdATudYjV73xsl/DVhxdXKsq9EQYPBUILNJcsxXsxSBFCEgYzWeF3rBOGDfD85n4C7eqDVmkQaJCIhAyhIoLi7GypUrsXPnTuTm5qJbt25o0aJFTHkUFBRg7dq1OHToEFq3bo0+ffogM1OFYSzI27dvx7p168Br0a5dO4NPWlrdrSdQUVGBVatWYevWrahfvz46d+6M9u3bx/Seq7ODsUji/DHm8ujtG/gZ0HhsnV1u1AujJ3rXB1EPk5ABeD1HrgTq1cHvArtR5L8KMGS62WlAh1vMlLRAwohAQ78AaH66qR+sxsruTwBuTJQWAs3P8OoHuWq7PgYK/gUc2Qk0o/7NwS8xvfJb/wzs+gjIbgOwGneLcwIf4zkCbH0O4HnqtQVaXgI0PyuwPougbqP+J179S4HmZybkttNJaiYgY7VmRpFrLDoZ2BOgj2pmY2DUKiCrVeTj60gREIGkJkADdcaMGSgqKqpcR3Z2NoYOHYru3bvHZG0rVqzAwoULUV5eFYLXuHFjjBkzBk2bNo3JOZJ5kEWLFmHp0qXweDyVyyCXY445Bnl5ecm8NMe579+/Hz/99BN27dpV+TkN8/79+2PQoEF1br0xXxBfgo1+q3vMoXs+D7QLEEEV85Mn4YDLLgEK/5scE8/MA0YuB7LbJcd8Q53lhknARuZW28KqGw0F+r4BNOjrP8qGe4GNjwCoeiYidxjQ502gQW9//fV3A5serf535hlz/Pq9fPQ9wLq7gM1PVP973iigD/V7+I9/eDWw/Apg/+yqz9IygI63A119zkuNw6u8+nNs+plAxzvN4qa+cmglsILjz62u3+kPQJcHQ6UsvTgSkLEaR7jY/k9g1QTnM7AAwOCvFQYcT/4aWwRcTIBevG+++QZ79+71m2VGRgZOOOEEtGzZMqoV0KM6derUaoaqNWCbNm0wbty4lPaw0qP6/fffO/Lp1KmTYbDWJQ8rParTp0/Hxo3eYn+2uys9Pd1Yb8eOHaO651Li4OWXAwX/Npfa8iKgX5IYY7VxcQreNA0HJ6nf26zfYQ+73fMFsOZGZ30aVr1fBrjZbwk9hmtvctZv2N/Ut6db7f4UWEsvoYMwPWvwN9XHrw1msTwnPaTMAa4o8R+V927ft6p7WMln6XnO+q0uBfp673trNHoil50fQP8KoO/r1c/L3OVlFwH0ZPoK67j0ebX6X+lRXfFzgPeRr6RnmwZ0ywuqPmFe+fIrzWJeTvqcf4vzbfql5v3J4lx++vVMPi3OjeUV0VgREJCxGgG0sA5ZdArAh69dspoDvV4EWti+YGENKmUREIFkJ1BYWGgYkmVlZY5L6dmzJ4YMGYKsLIdqmSEsvrS0FDNnzsTmzZsdtevVq4fTTjsNDRo0CGG0uqnCzYIdO3Y4Lo7hseeccw5oxNUV4b320UcfGeHgTtK2bVscf/zxdWW58VuH3QBjdNTorSqyFIh22W5gelt/4ySzKcACSK2v8j9yxTVAwRsADQ9LMpsBPZ8DWl3uoE9j5t8O+n8FaGD5CnvlFrzlU/ApD+j9D3PzoS5JsAi/urTOeK2FIdADvAXV4nUOjVsjARmrNSKKUmH5VUCBd2cpPQtofi7QeZIZehEsXyDK0+pwERABdxOgV++7774DvV1OQu9qTk6O4V3t2rWrkWtqGU70mK5Zs6ZaDiqNWo61bds2bNiwwQjz5AM+2PhnnHEGGjVq5G5QAKycUq6HBlXfvn1jYkROmTIFDIsNxP+iiy6KyXncAvjIkSN47733HD3JnCNzps86K0hel1sWUtvz8Ou3+hOQN7q2Z+XO8296GFh/r3duaUBmLtDkBKDTfQALGjm9B7Ef/fa/A/n/Aoo3mC1oOt8LNBwcWJ8FLfmuVbzRHL/zfUDDgUH0nzdDV61wblYN7vVS3Xsvm9UTOLzGnfdGMsyK7+ojlyXDTOv0HGWsxvvyzu4NHFplnqXHX4D2v433GTW+CIhAEhCgMUnPKj2goQhzWWmw0iO6fv36agYHDU4aGvTWBvLU+p6Dx5x88smGQexmWbx4MZYsWVItp7RJkyZGzi3/G43MnTvXKG7lJBybnue6EAbMDQsWU2J+7r59+wIi69WrF0aMGBEN0tQ41rffaqe7ga4Pp8baw1klvarzjwUOeV/2WYhq4MdAhktywdfeCmx52lxRwwHAiEXBiwiFs3a36K69GdjyjFtmk3zz6HAj0F38avvCyViN5xUo2QrM7GT2/mIftlGrgZwu8TyjxhYBEUgSAiysRKPTXtgnkVPv168fBg8e7GpjLJj3mdVrjz322Kg8n5s2bcKPP/7oiJ0VmU866SRX8wnlfjlw4IBRxIubI/YiW07Hjh492vDiS2ogoH6rod0ie78FFp8OVBw29dkntaaqr6GNHBsthg6vuMobDpwGjN5S94orlRcBc4cBh9f6M+vygHNYNdPXitf567M4Eavq+sqik0wPeDVJA7o96p/uxhzUxRzfN28+Hej2uHN+6M53zaJMvlKvAzDoK4DFluzCgl5Weyn73+t1BAZ96a/P+2DDRP/xczoBwxcADFmX1CoB1xqrnNi3336LOXPmoHnz5mjWrJmRP8RcmxdeeMGoYrllyxaMHTvW8A64sg3DtueB1debF7h+T2DYTN30tXq7x+fkfBlkNVe+CNJbpQqr8eFcV0bls43PNXsuKUN+KQzl5fOOYa68rxjuS08Y7y+GcIYi9MCyii0r/tITy/+/fPly7Nmzp5oXlwWcWGTJzcIwaXoEnYQ5pQxZjfTZ71t8ih5U/rOHTbMqczK0sXF6BrGAFwspLVu2zAgHt4Sh5DTE+TmPs6+XLMePH2/cN5IaCKjfas23yMpfADv+z9TjC79RaddF99b+WcDCkwAadJR+bwMtL6x5XcmmwaJGSy+oyulla562E4COdwHpDpE1e78B1t0NsApvxUHTycJc4Y53OOvv+QpgRWCGG1cc8upfaVbrTa/nT4t1XBgabugfNvWZu9zhVmf9imJgy1NVYeHpDYEGvYCuj5gh4r7CMTc/5Q0L3wAY+r1N47nx+AD6fwS2vwiUbDM/JxfeD2pf44q73bXG6oIFC/D111/jd7/7nRH2Zslzzz2HE088EfQKHDx4EA8++CDuuOMO4wXPdbL4VICV6ijNTgX6v+/8RXfdxDWhUAkwN5ChhJYhwZc9eiZYGMcyQEIdS3p1nwBDfhn6u3v37kqPasOGDY1NN4bj0pCgwWoZYPS6MqyX9xeNq/nz51czPOzEaGiNHDnS6BNqjWGFsHIMnpOVb62wY1a7ZSitmwsIffLJJ47Vkrlufr/OP//8iApQkednn31WLV+V31n2G6Wn1WrrQjY06lu1cm+LMRqkfAbxuvJ+4bXnJgQ3OXxDfsnsqKOOQocOHYzNNd4X9C7zvrKE9yPDn7nJIQlCoGgGMN+bp6p+q/6g2D9zRqcqryoNHXrO3CRHCoE5g4HS7easOt4GdPujm2YYm7ns+w5Y+LMqY7Xvm97CU0F6SZcVAeX7zWN4f7MwaLA+q4Z+kemlDkl/n3d86jcCsprVEILtAY7sBpjPzEhFVnhmq6GAQv1dQPlBU5+50kHDzz1m0S1W+qak1wcGsYfyuNhcA40SFQHXGqsvvfSS4aGydnhZTp9GwF133YWbbrqp0iPwwAMPYMKECe5raM6k/dn9gFJvpUmGvnR/qu7lQ0R1+yX3wWw5wmqi9FD4Gg3Dhg1D794O/ciSe8mafRQE6Nlkf0u7AcFNtlGjRoXsjWc/UPZMdRJ69Rm2So+jk9CQmTZtmmGcUGgcU5+5rm4Uevy+/PLLav1A7fOkIUnDiwZmOAY3o3PoseX1oNCgZ+Xl4cOHG/+bnlwa9VZ4Ng2/4447LqxzJIonPe7c1LV7Tp3Ozc0PcmIfVd/7g+uksbpq1apKLyvzdbnmVK4UXeM1ZL9VVrnlCzFF/VarI1t3B7DZa/jRqzr0R6BBvxqxJlxh4QnA3qnmaZudDvR/z9m7l/CJxfCEW/8CrLnB2zc1DTh6E8AQWkl1Anxfn9HRa9SnAz3/BrT7lSi5gIBrjdUnnnjC8JaeffbZRnXLV199Fffeey8effRRw5Nq9R987LHHcMUVV7ivN9z+OcDCE23hJW85x/q74CbQFCIj8MMPPwRsC8Kw9VNPPTWygXVUnSPAwke8X+wbG/TWsa9lIOPSCQI9YV988YWjt5Ghw/QOBisIxAf+Bx98UGmUcEOFRpobhVELzLUMVM2Yc6aRyjDdcHJv6Tm1DHaO0aVLFxx99NGVxiiNN4Zpr1692sBCngMHDsSAAQNch4mbD049U+0T5bOIuajclAhk1Dv1X+UGMXOCJUEIsAVK/humAsNHGTYoAUrzgQXjgMPe4pJNxgMDPwHSXdgma8uzVX1aGSo69CeAbXLqkqy4Gsh/zVwRKzAPnyfHSaDru2AssG+a+alT39e6dF8k0VpcbayyrUL//v0NnJMnT8a1116LZ555BrfeemulZ3XSpEm47rrrjLCmUIRtCli0I96Se/hjtNl7O9JQbpxqfauvcSQjtDnGe24aPzYEWFkzUCVXvhTSuyqB4aFiyD5DL8mFxlmwEMNw9d3GmC/+9N5xvQy75D3C/HqrSi+NH0aN0NMVSag4x+Z4fHgzlJNhnzRI2NIlFA8jjRsazxTOhc9Yt1UE5hppLFrh9VwX/5EtvYT8u+X55BqYg8n1B7uvrIq4+fn5lbcMPYf0qvr2suXYK1asMO5bS2jYu80LHewZxHmzCBU3RUK5z8iU7ZDsa+ax/G0N5b5y2/cwEfPh73zbvbcYpypPb4Z1rX6AhyGHKS4Ni6ei3d4bkeYpMUjkN56MfQ0udiWVrLJN6Fp4CoAKeNLqYWPLKSjN6OzKuUY6qS6FZyC7zGxfU5h3J/Y0vDbSoer8cU0O/gutih4y1lma2QUbWnpT+ZJ85Uyn5DtHsoprjdVXXnnFeAGjZ5UyceJEXH/99eDf7Z5UhgXTeLU8rTVdCL6wBNupr+n4UD9PW38XMrYx7JfFlXqhbOgSvhmGerj0koAAQwntL772KfOllnlfqS400GbOnIkdO3YY3zsaFnxoMnzTKQ+Q+vSmUZ8GA/VpSFE/1O94bTLnC//06dON/FJr/vyvveIv24PQUxeKARFoLTRSyZPj0pDgWKG2WNm5c6cR5moZz926dasMga1Ndta5uaHI8PqSEvNFl2tj0R8WjLKYMvyVa7AXneIGwPHHHx+w4BKNT7bBsa4Fx2M+qq+has2Dm5r0wlr6vP8YGhsq50SwJAN+V5yEYeGnn356WNPgxgoLGzLFgWJ5lem9lvgTSDu8AhmLxgJlZjugsgHfAY3HpDyqtBWXIWPXOyaHzKYoH7kRHuYAulE8HmTO71fZi7Ss+4tAmzpkzJUWInM2HSXsSpGB8pGb4Mlybw5+bd8iaSWbkTG3D+BhS7k0lA1fCeTUjQrpkRYjrO1rwvO71lil5+Cpp54yjFX2wePL/4UXXmi8bDCMjS8ZfClkDg7DLV13ERYeB+z9zrzGrHDW/Uk3XG/NIUYE6H3gi6KV9+Y7rJvDK2OEoMZhaEwxnJLeGl9hERensEqG/Nur5FrHUf9nP/sZ+F+3imWYBwrLpFHEwnBWtEhtrYOGLos80aCm1JTrmsh5kiFDW+0VgK0QXF8jkfOfPXt2tRxgroUhvb4bIfw94e+FZdzSAztu3LighZN8w4HJgeHGvIZuMVhpqNK4dNqApYEZSXQHuTJk3dos4G8rmTIs2C3rTuQ9GfRcLNDDnMeDS0y1TncBXR91zfRqZSKH1wFz+gEV5maT0X+WfWjdLMuvAAreNGfI6q8Dprh5tuHNbfOTwLrbzWOYMzxiAZCWFd4YqaTNolIsnHZwafLcvylwfVxrrJI9d8+t3X/ugnOHnS8QVpsQ6tD76jphNbQfc6uq4A2Zpt1W112kyCfEF14WNWF11UBCQ4wbKaksNOhZIIchnbEQGnk0FtwqNLRpaAVqMdO9e3ejmJIbXvh577IariXkWttGNA0uFqCy55MybIn5loHCUOkJpGFlj3CgIcpcYIYFU/gZoyCs3xL+jnDjI5QK8r5FnnjtuFHqltYuvI6ff/65X69eGuvMN7VX0g/ne8NqyHzGWcy40ULj3i3rDmctcdX167c6Ahg63aw+mqqy6pfA9r+bq89qaRZWqt/L3TS2PuctQERnWiYw9kDdKbI0dzBwYJHJv+XFQN9/A2np7r4etTk7Fk5bdhnA3q6UhgOAEYtrc0Y6t5s9q0l9ddiuhm1rjId1K2DkYvO/kqQnwBBKemgYqmgJN0z4EscXR+ulmblwDMFL5fYPrHpLg4ievFgIW7IwDDORQmOFxhPzJ7kehiQzh69Hjx6G54l/Y/4nvVH2e8Jpjizkw1YxbhFGBtDjSKFRw/s1nGJP1jq4KcEQWxrrZMJwXEYW8HqFk+vIMdiyzPIS0uDi9a4paoZFq1jNlh5t61gr3NwKlbZvILCgVDiVun2rA/O7znDjcNYWj2vOTSAW27I2g3hv0rhn/i7bEkWzKcJNYVYHZkscS2iwckw+01ghmR5merJTXjY9avaYNL5InYAh35l9I1NRSrYAC44FijeYqzeq677r/pZ97BO65Gybg+FHoPExyX8FS7YCs7pXebm7PQZ0vDP51xXvFdh7KGc2AYYvAHKSN98z3rgSMb6rPauJABCXc6z+LbDtb+bQeUcDg740+0hJkpoAQ34ZPmmv6MoXcvbI5As1v0wff/xxZdEl5iaOGDEiqdcczeQPHDhgvEz7tvaJdMza4Lls2TKwiI09zJIv7Hxx599oiNvzUYOtzW2eYRqX9EpamwmMBIik4i09cL652zTkeO/TqA9FaOzzu2XNhd5PGs+hFjTitaCxy7Y+wa4HDaxwKgdz7hyPRhuNNwqvPzkxPLm2xClEeejQoWBF6FgJz8FWSbz/nYSe6VNOYWGaFJeiWcD8o0wIqd5vded7wLKLzV6blL5vAK28fSvdfJscXgvMPxpgb1gK2wx2MAtnJbXs/sQ0wq3rMegroOmJSb2khEyerYwY3k9Jrwf0/x/QTN0dEsI+wElkrMaaPvM05gyoTNZH66uA3i8bie2S5CTAlza20Zg1a1blyzRfWOkp4wuiVUmVL8wsJrR+/XpjoTRomE8d6gt3ctIJPGuGEDKfzsqNtGvSO0PvlD0Uk/oMA7W8fXZ98j755JNDCt2MFUca2zTE7NVRg41NA42bFk4Voum5ZPgovY5uEc7zq6++qiymw96aDI8NJxqA9QTs3jf72rhWjheogJGly4gEFlSyuPH7xBDWcAtq8XvKcF8a4U7CfOczzzwzosJWTuHAJ554YtCc13heZ3rz+d2yPMaM7uD9Fc61C2V+HP/TTz8FvwtO4obw8VDWEVcdo99quypDp+dfgXbXx/WUrh188RkADSQKi9KMXOZ+ryrnyms4ZzBwaLk5dxrYfV5L/ve2TY95vf4eM0919HYgq7lrbx/XTKy8CPipjdfTngZ0ewLoeJtrppeKE5GxGuurzr5i80YDZd58xh7PAO1vjPVZXD0ejQ0W1eHNxaIcNXlrqM8wS3rgQtGP9+IZ9sn58+WZ86GXhx4by+tjtfvgunxDAWmY0QCwhH0v6c1JRQlkrNKgY3VfpzLqvGf4Eu5UuIpenFDyDGtizVBVekxZnIYbCfT+MazREhom/Iw6NApq8pzm5eWB+ai8V6jL8FqGB1vim0NZ0/wS+TmLWdG7SuF9zVxPhpCGKvScMzTeSTgeIw/o7aPhaQ9LpUHJ7zxDWPm953W3hB5ZetEjkU8++cSxBy3H4n13wQUXRGSs8njOmcawdT9wA4Lh/ol+ZpHXlClTKg1VbgacddZZcWk/xGcgCxoGysPmBke4FYcjua6uP2bFVUD+6+Y0aaTRYG0WpBp82R6AhsSeL4D63YA2vwSaJbmX+sBCYN7wKi9eshnta28C2HOVkjsKGPwVkJHr+lsv6ASXXQQUeqsy8/4aWFWnILkXloDZL70AYKQApcWF1fQyRAAAIABJREFUQH/1UE4A9YCnkLEaa/q7PwOWngdUFJsjs9gCQ4FTRObNm2eE49mFLzTM1eN/fYVeGXpnfPX50syiWokUGimcD1+iAwlfDBnOyUqbgXLW7LmAzOliC5uavEuJXGeizsX2FzTcLY8ZjSAam8xFDGZ08sWYGxj0uDEP0Qoj5vG8L6LJxaPxydY49vxSGjE0qGh0MpyVRkkoRaHYw5LVVn095zSGmedIg5U5oMxxdJNH1X79aXixCJZlcFrtTmrKE+UY3IxgTjIL3tUkZETDldee5+J33reCLa8rjVQyjfQacy1WD1nfOdG4PPfccyM2Vn3DgUN9xtXEJpzPnUKSuSEWy/Bf+3z43aVhbFUG9p0rNyFOOumkcJZQ93SLZgA0CpivaQnbtLAycOeJ/ustmg6s/H/AIdvvXnoDoPPdQKd7kpMPw0y5pvx/mfOv1w4Y8mNytfzY+w2w0Bsim9XCLKqTXbWJmZQXZkYnoGSzOfU+rwOtr0jKZdTKpAvfNkPaKbwPjt6S/J72WgEZm5PKWI0Nx6pRtjwFrPWGC/AHaOzelCkTTgODXhonTxS9Dwzts0swfRomzAVNpDDUl8WTAnnSaJzS6K7J88SQOeauRpsLmMi1x+Nc9o2LSA0FhlWvXbvWmB69WAy9jDSsmi/cDDd18tpaxlFNXlQ7J96fNd0L8eAa6zHXrVtnhK9bax85ciR69uxZ42lY1IgbU+Ew43fIt++sdSJuTjHUO5qNHd4rXIuT0FBmqGw0hZEYdcHeq07i9IyrEWKYCtzAoTfbMvStfs6hbC6EeSpD3bfNke8Y0XjBI5mP645hf9XFpwNFP/lPjVVl+79vtkKxhB7VRacB+x3uUeoP+MAsSpRsUrweWDC+yjBqfjbQ/53kevehwT2tMVB+0OiviUGfA02TeCPm4DIzJQ0eM+9yzE7VTgnne3WkAJjZHSj3pkAMm2l63CW1QkDGaqyxL7sUKPyPOWqLc80fqxQRetGc8hMjWT49Uuedd14kh0Z8DFtAsGWDk9CYGT9+vOEdqkn4IskWJla/UObgMXeVxlaqCB8sH330UWX4IIvRRFKQht5Zeu/IlNeAhlSoRXt8WdNI5T0aKKTRrs/QXXpDaQzwOto9SzR2OIe6UjyL14oGkJWbS28Z84kDGUD0trHftW9EhJ0f73l6nul1JXerBUqw+5/HMKc02rxL5j3TI283ojk2N5rs4d6RfBeDPePi/cyit5/PKCtkmudjTnCkmzehrp/RBmRqD9XmsUyP4DM62usV6jxcqeeb9hPtJNtcC/T+Z7SjJP54elRXXguwlQ+FfUrtRnriZxTZGelZpYeV0v4GoIc3LDiy0Wr3qHV3AZsfN+eQOxIYOi25Ng9ql565abHweGD/bHMmHW4Guj9d27NK2fPLWI31pZ/ZtapsOwsrtbkm1mdw7XgffvhhwEIc4U6aBsGll14a7mFR6b///vt+L2TWgHxxv/hib0hICGdhKClzLyk0stguI9I8vBBO5zqVJUuWVFYR5cssPVqR9kSmt94y/BmqS4MmEmH4KY0N3/BT+1gMg+V1YvEsevh4H9LgonFm5bjyc+bbRuOhi2T+8Txm+fLlRvsX635laCdboDgJw6jpjbWE15c5uzRqGFXADR2GptKYImuGcVPfymMPtA4aPwzTjbQ3qDUuvYEM5WehMxrgbDXE+ViF0KLhGOwZx/lfcskl0Qwf9NjZs2dXS1GIdfXfYCfnNWTePj3L9s0etgDisy1l5eBSYN7IqpYn0YJgnutAb4GiaMdK5PELxgL7pplnbNAPGLEoOUMm198LbHrYXAfbDx1lFktMPqkApncESr3F5oxNEPa+VX/VkK+lpwJYeY0ttL0TcNQaGfwhA4ytoozVWPI8tAqY3dsckTkrrISXQv3W+LLLl95YCQ0HeuMSZRj4vgza18EXd4Yohir06tAwsvLnGOLI3NW6ZOAEYkHPG8NtGbJIYfglPXV8mY9EaCSysI0VVj1u3DjDAAlXmKfK6r6B8lGZi8z7LRWukS87smXoulX1ld5VhlzbWdBg4XfE2jjgGDRIWSwrlIgDnoM54TRanYTfERbRildIa7j3i5N+sGccn1dnn312LE7jNwYjVvgdiHf135omz2vIzSOr4jKvFZ+LTvUIahqrTnzOPpYLxgHFVZs3Ua2r2+NAxzuiGiLhBxdNA+aPA1ABpKUDvf4PaHN1wqcRkxOyGNHyy6o8xKPWAPW7x2TohA7Cd9G5g6r6q/Z4Dmj/u4ROoU6cbOuzwJqbzKVkNgaGzgAa9KkTS0u2RchYjeUV2/IksPZ2c8QGfc2wi0z3tKqI5VKdxqIXhaGfTm0OuPvetWtXv8MY1mYvduOrQK8kX2KZ7xrvcLdA+W6cw+jRow1vWzjCAjts+2B58lIlv4uh1Cx0Y607UuPSYu2baxpp7iE3EJhH6xS+ynuModqRGtTh3Bdu1fVtQ8Owd4byUsiOGxD2fqpsBUODlkZaqMJ7gt8Je7Vk69hkqJzN+dOod3pm8Tlx9NFHOz7nQuXjpMdNAnp0rVBqerJZ/TdaD3Skc7JHjXCM2uh/HOncY3+cB9gwCdg42X9ovtSyyJBv27rNjwGbvOGZ9qP4zjB8XnK0eqmctwdYchaw62PzL6yEPOQ7oF7H2KNOxIgH5pn9NZmLTEmWPrG+bAyj+9KqyszKt4zs7uH9MNcbOZKWDfT7L9DinMjG0lFREZCxGhU++8Ees8DAPrMNhJGv0e9dID07ZmeI1UB80aLXiy8/NAB920pEeh561JhfaBmrlqHJEEEWbHHyWNHzyKbzzE3kfBjmyZfg7du3V3rSjN/AnBzjpYhj0bvA+XOXn/rh9mN0Wh+9RcwztQwszp2Gi9XahOcN1+PGseiFYGVYCnNW6TmiN6oui70aMj0u9ChHWt3V4sQwXP6j8CWdRlK43hynaq68Frx/2C8y3pshbr/mfC4wd9XKz2U0Qbdu3YycxFWrVlXLRyd75g9H8t3jd5ffef6X32Vy50YWv9/JsFnAcHKGxNLg5vx5X9mfGyy8xWJL0QhDz61nHCMLmINL4fcontV/Q5kz18vnmtUPmeHy9K4munp7KHNNiE7FYWDLM0DBG8DhdUBmEyDvKKDrw2ZIrK9UHAK2/AnIfxM4tKzqU/b1ZF/2WAjPse8nMyUpqynQaFjwyrzMz2ORqOKNQFYzr36QzVlL/8ACYPMTVT1mWW229ysAi0Ulo5TtNYsS0WNOYdvBHn8yCy4lk9jDmTPygDHbARb8lIRHwOih3BY44q1l0vk+oMuD4Y0h7ZgQkLEaE4wASvOBuUOA0h3miCxb3/XRWI0es3H4gsGKt9YuPV9+6D2h5zDa8Dt7LhtfOs844wzDMKvpBZQvevzHlyAahPxHA4/GoxX6aQHgizP/Zn85ZEXWUaNGRTx/fgno7bFapFieVIaaWkZrpBfAXj2UY3GeNHzrqnDTgSyt4jZcb6QFkeyMuBHy3nvvVV73SAo20QBgaLZ1nVlshx573p/hbkTU1evnGwrvVCWZG0TcLIhm08X3O1/TM8JtvO3zt56p1hy5mcJnX6Q5sqxKzorG1jPOXiiKhj37mtY2Lz4z2dPW2thgPjo34qLdlHLbdQ59Ph6zXZ1RYCjd3KROywpyuFd/zkDgsFntHB3vArrF4J2BhuSyC4E935jzYWhudlug31tA3hj/ObHa6bILgD1TTU8c9dl6pu9/TaPbV6i/9Hxg77fe9XqqNAZ/CzQZHzo2N2ouOQfY9aE5M1YDZoVmpnUlkyw6FdjzuTnjVpcBfd9Mptm7a66rJgDbvUXPeD8M+sJd80uR2chYjdWFZu+0RacA5fvNEfv/z3XhAvSc8GXdt6ojp8s+fdyxj/Rlgx5Sjm29WNEgYy5bNEKjYtmyZUaOW03VRCMxXjg3GjAshGR5g2m0cKx+/fpFzMK+ZhrWDIm18jfZX5ReiEg5R8Mz3sf6ei75ss5qpTRuYiFz5swxPHwUeqlpEITT5sTeBocbM5xbpEWfYrEeN45BryG9q4GE3laGusbqmrqRQbhz4n3PXH16/q3NNUaHHHfccWF7G+mtZV61taFinwvvdUYphBN2He5aQtXnmvl9tHpS03hmD+RIcslDPWed1Fv1S2A7C9/ANPJo7EUj9Kiu/AVQ8Jb/KDmdgEFTgfrdqj6jYcv+qOwp6Ss5nYHB3wA5Pvorfg7sfM9fn+HOI1dVHz+atdTWsbwevC4Usho6C8hqXluzCf+8hjewXZW3e9DXQNMTwh9HR5gEuCnD0HC2AGLUxOit8lLXwr0hYzVW0BkCtPznZpEByujtrmsoTY8qK2Q6SbQ79vSCWqFqHJ8vVWz9Ea3wpYg3KcPOArWV4TkYgkbjJRyh54J5ePZ2O3369MGwYcPCGaZGXbbuYHi0ZcjzZZ/hlXVN+ILNDQtuAFD44sp81ViJb+sZ5kGzGmkowlxLXmvrGgwYMACDBg0K5dCU0glWZIxRDfTqpVILpnAuPotH2fOhW7dubXigwxF75Wvf46KphB3OHELVZaXlDz74oFKdkQqs+i0Jg0D+68AKb+gve2GOPRhdFV1WJ2a7jSOFzpNIz/EJ0fUA5Yer3lt8jwpXv+tDQKd7wgDgQlX2wp3WzJwYvcyGAZ5E0VD0qC/yPncymwGjtySfZ9hNtwVDgGf3A9h3lTLgQ6D5WW6aYUrMRcZqrC7zmhuBrX82R2s0GBi+IFYjx2wcFj+yDAnfQbkzfsEFF0QUSkuvKg0By6sQD0OAuWF8MWI4qJNw/hdeeGHI4XEcjy/mDLmzhBVNGQ4d68Il5ELvrVWchl4XFvOJ9XlidqNEOBDzfn/88UfDIKTnOFj7k0hOQe86OVqbC/RS8+W4Ju8qrzWPsyozkz+9qvyvpDoBRgFYnJyeESzsI2PV+a7hs4n9SK1KudRiigIjTGq6R60R//e//wWsVh1u+6xE3NuMfGH+rrUJRO8qq7fHU7jJyPQKenWZdsDnKIuu8XfHDV7nsNbOnM/5xwD0iFKGTAMaO4TqhjooI7xorFaUhHpEbPVaXQH0fT22Y9bGaMxbpeFP6f4noIO3ImxtzCXcc9KzvuP/zKMajwMGf528OcThrj0e+sxJZ9SkVY+m9ZVAn3/F40waMwgBGauxuj3mHQXsn2WO1uleoKtDdcBYnSvCcXy9n/Zh+OLO/pXh5kLRgKARaeUuxbNFC1s3WMWKnBDwRYU5iDV5dPlitWDBgmptdhjeSAMmXrmL7DPJnF4KDbkxY8bE/aUuwtsk4sOYq0rvJ6Vt27ZGu5pYC19QuclA4cs7PVc0WoMJ7xkWfbJeqOlR5YutxJ/ArFmzAraWYY4qIyYizcVMBd68x2jwM5zaEqYUMMWiJmGqAEOwA/UBZvQLNwvcJNwI4nppNFJ4b9D7Hs97hM8AhiDbc3l5bob0cxMwqYQFjRYeV9WbPdrWNQeXmONZBWESDaPzRKDLA4k+a+zPt/JaYMfL5rhNTjANvmQQblJMbwOwUBSl/e+BHs8mX4EoV7H2AKuvB7a9YM4quw3AlkYZ2uxO5GWSsRoL2ixzzgcECywwbGToTCB3RCxGjtkYvr0vfQd26qsYysmZQ8gXB0vi2Z6FL4D0kAXyrnIONGDozWD14UBGDF922MLE8gTTU8T8snCry4bCx9KhUc82PVbLDnoCaBzXFaHXmLl2FBr89FDHw8NCjowQsHql8jqzKm0g4b1CA8CKKOBGBj2+0RYTqyvXzXcdNDoYJeGUM8nWTfQShruhVVdZBVoXN2z4nLJqA5AXUwtYaMwpV53PNebl01sYLDefdQWGDh3qOpwrVqwwnqcUro9rDTU8P9zF8PvMVAPLOPY9PhnaH1WbM2tcLDoJKJpp/pldBFjQh0WaIhGOt/xyYNdH/kdntQTaXOM/9t6pVRvt9qOyWnn7pfrMZe83wH5zw7CaZLcCBn0DNOwfyczddcy2F00Dxegdmw2MKTD7bLpd2Gpl/migwhuB1udloDWvuSQqAjteMXO7KRm5wJBvzYrZkoQRkLEaC9SF75nV9Cj12pu90vigd5EEa2bPafIlg+076AUIR6ZMmVLZc5C76eecc05cX2btL0bWPDl33112GkzMC+XLnT0Ejy+E9DBb+jRamOuaiJBQu0HHuUfbfzSc6xRPXbJk+C/DgClkSYMwXuGiLGbD+9m6bxm+znxKJ6EHnaGKFN4T3JRgbp0kMAHmnjMKwF6Jm14rhlwH4iye1QlwM4X9WOl5tO5T35Y2NEyZ58o6AoG8qdao3Nxi39tQw4kTeT14n7APrGWc0wN/7rnnxryIHA1VRqjwOx2IFyNkWMAuqWTZxVUFjhoOBIZ8bxZyiVSYW8ewRYYYW0JDq9/bZnVbXyktABb76jcB+r9rehX99PO9+gtt4zcF+r+f/JWArRXRgF9yJlDuDc8e9BXQNLz880gvX1TH5b9mGlUeb+2UEUuBhuG900V1/rp68KGVwOw+5upYSIxhwKyyLEkYARmrsUDN6nj53hh25ggM/MQ1IQI0JFj0w/4DT2OCu/z8wWfOpr3BPT2j9FaFUq3WbgDT6OPLLF8W4i30RLDYEl8E6Snjixw9E/xnXwvnwdA5hiZbPR25ZuslPJ4eQCcGfDml18oKESRjGnT0ajMsNVkrrLLQCkMBQ/V2Rnt/+LagCRRmyXuB3l5rXlarGje+8EfLJNbH0zvI+5Th/fz+MJ9bHtXwKPPZyhxWS/h953OSzyzeizS8rCrklg5TGfj85eYAvYfWM478Q3kmhzfD2GmzFyzTNKxnK3vmsgBaKHP2zUHlhgif6fTk8/7js57/eE/6tjLzXQHbsNGoTyrZ8iyw1psTmd3OrMDbILTCcQHXufFBYMMk82MWB2J3AsPjGaBfKMNG93wBHFoFZLcE8sYG95CyCJGhvxqgR9XQr0NGUfEmYN6IqkJVTOtiepfbxV47hY6TozZGV7DL7etN2Pw8wKzewOHV5hk73Ax0fzphZ9eJYGyG0iGStmnTJk+0jcxTEiiTr2f1AUo2mctv8wugN0vRu6OJNC8uPYnWTjSLUTCnyOqRyGI1NKCsz2nAMdeQlSyDCY0/hrVaHkqGfDIPM5SXk3jdJ1wDjXJ6X0MRhqux+m8ixe7ps5+XIci8Lsko3CRgriOF159elWh6cNbEgNeZL8bbt283VGnkM6TaN0+OoYn2e4F9IGvKb63p3PpcBMIhYP9u1HQcN10Y3VKbz9Ca5hjoc34nmRduFZfihhDzyUNpDUVGzEP3jY5xipipaX5JWWmdIcDzjzaXxuq7g74EGo+taanBP18wrqogjF6sI2PJHrjMAaa0vBDo+2/3FyqaPwZgkS1Kx1uAbk9FtnYd5U9g/d3AJm8f5NyRwDBvjRqxSggBGavRYj60HJg/FijbbY7U63mg7a+jHTUmx9MzwvBMy7MUyJPIAjTsQWnlqXH3n1UduUsdSOw9K6nD0KtEeFVDAcMdeObS0nPh+wJkHV8bxUroWWW+ldVz1XctyVj4h2v65JNPKj1EXbt2NfJV4y28Z2mwUujxY4il/X7lvU+vqt3Tw6gBiQgkksCiRYuwZIn3hdfhxHwm04PIHM+aCsMlct6RnIubR1OnTq08lN7Vmr5zfAHhZqmVy1/TeRkVxI09PuOt3zX7McxZZW5vUhn8LIrzUyug3Gz5hZ7PA+2ieIegl3R6a2/eYrqZA8tcWEl4BNbfA2x6xDyG+YlDpgIZsekZHt5EQtRmz1xed/6XOc/D5wCN3JfjHuJq3Ke2fy4w/yjAUw6wzRTbU2ZG357RfQt154xkrEZ7XXZNAZZdWJXQzpY1bF1Ty8IQSFZntRfsoOeTL0ZOQsOOBqhl3NEDy8qTTjlqDF1jkRvLG1tTkZvaQvH+++9X5lH5zqE22kBwM4C5XYGKqCSjd5X5duzfS6HRyJzQmrzysbofmBNoveTaw/9ooPKl2WpxQy8vPa/coJCIQCIJBGtFQ0OVOf7xjEJI5Fp5Lt8+sUxzsEKb7QXXaGguXboUa9eurTFfl15a/m4xdYXPSBqizF9llAprEDBU2vrd4jOItQBYjTypZOEJAPMkKa2vAvq8Fvn0d30ILDnHPD6rhVkMpkEdKHoUOZHIjmR3B3Z5oGTmASNXmpVg3Sr5bwArrjRnV68jMGqV6amXxIYAQ9/nDquq3N37ZW/BstgMr1GCE5CxGu0dwrAAhgcYPwwtgdFbgbSsaEeN6nj+kPOlwerrycG428xd50A7zvyxZ8gkPQH2KrnM/7Hv+PPFgN5Bq0UJDQC2C3BjHuBnn30W0IvJF8TzzjsvKs7hHsz8KxpYTpVWORbz2Jj3myzC+4Shf/ZwXBZWSlT/WBrKLARk9XXlfch7laGIjCiwNgWSObwyWe4FzdOZAFMlmG/pJAxbP//88+sUOm6S8vfBKrZkLY6/OzQ4uWb+LgWKLvGFwY0vboAFy5f2/b7T+0qDNak81b45pmyNEams+R2w9a/m0Q0HAIOnmkarJDwCnjJgenuABasoA6a420O9+HRg96fmXJudas43LTO8NUs7MAF2+1hyLrDnc1OHxcoGfSFiCSIgYzVa0EvOA3b9zxyl9RVAn9ptiE0Dgi8L9hck/uDTCAolNGrx4sXgP0v4g89cP6v/qL1fKHXc3CrA3pPT9zLXRiEOX4+f75wGDhwI/ksW4YspX8atVkKJvhdY2In3Ov9L4cswowfo9bda1dCzc/bZZ8etf26yXCvNs3YI0HPIiBUnYdEkGmJ1SWp6xoW7VrZK6t69e42HbdmyxdigtTysNFj5uxXPfq81TiocBbaDWWirNjt6G5AdgXeYL9Tss2q1wml2OjCQbWzcUUMjHCSu0LUbgG0nAL1Yj8SFUlYEzGjnDQFmvuqdQLfHXDjRJJ/SutuAzd48YDqnRi4HsoL3eU/yFbtm+jJWo7oUFcD0tgBLv1NY6r1F7e6Us6gMq/9aP9o0VOkdDbWvJD2nHIMvWZawWi1zWOmNpHFi7YrTEKA3y60vBGTAapxsxWEXeoO5nlCKf0R1ezgcXFhYaMzJMrDsKuTJ4lasvpoMsnDhQiOUj8J74Mwzz0xoaxNeXxoC3ECh8AWVBgA3KSj0xrDgSjz6vSbD9dEc3UGAYfKMArAL71XmWde1gl81RY9YDLhxypBe/j7xucffLPszkZ/TSB01alRIF9GpuB6/98yftzZaQxqotpQOrQBYFOlIoTmDfv8BWl4c/myKN5rGavEG89juTwEdbgl/HB1hErB7vI3IuW3u9Fbu+9Hc7PB4+6u64F20Tt5CO/8HLPVG5GU0BAZ+Fn0xtDoJKvaLkrEaDdMD880YduPNuBEwcoXZZzVK4S4xe0nyx5sVmumxChYGxYq/1Gf+ntXXj1OggUoDIpJ+l6wgbDfyeH7+6NvHd1NRpWDI+SJE45vht3yBYRXgULzMUV7GgIczPJVtf5hvRYPL8kzyAG4MMJTWzWLli7GKpyUMM2dP20QLN04Y7u0k3IxgRVI3hqgnmpPOV7sEWPCNzyDmavIZFGpbl9qddfhnrykvn78hLMLGVl323tb8XbFyUJnjyvzUUDyq9hnyWcpiTfb0F7fWU/AjW7oDYN4qCzZSWGCJhZbCFeZZLjgeqPD2B3VJDY1wl+EafRon7IPrMfslY8RiM7TabbLteWD1bwF4zJmxZU1OJ7fNMvnnw+8pHVSGpJme9ra/SP51JcEKZKxGc5E23A9sfMAcoeEgYMh30TXzBgyvpt0zyqH5400PEXvP+QqbyvNFyLfqbbR5O7wxaLBaRWp8z8swWuYF1abRF82lc8ux9AjwGtLws7cBokfBjUYWXwTpzfTtD8mXy1C9ILFkz3xZVgW2in3Zx6aXOukKrcQSjsYSgQQT8K1p4Hv6QD2RYzVNGsvffvttZfQPN1lHjhyJbt26xeoU8RmHHrFFpwN7vzbHzxsNDP4WSM8O73yG0XK9eQx7th69SX02wyNYXfvgYtPjzQrLlN7/BNpcG82I8Tl21XXA9n+YYzccCIxYqNDv+JA220xZYfZuDg2P1/praVzXGqt8cbcbYDSKLMPI/lmthvjMGQwcXGReOob/9nsrquJK9JAy7yYWwvAqvqxHw4eePxaqcRIaAcy3krEa/dVinhdfsCyPAJlaLRiiHz12I9Cjyiq7gQrGMKyxU6fE7eYy5JDtafbu9b5I+CyVmykdOnSIHQCNJAIiUCOBQLUCmH7BSJ94/2YwwojttOwVgpm/yrBjV8vam4Etz5hTrN8dGPxd+JFa7ExQ+K45hgtqaLiadyiTqzgMzOoJlGw1tdteB/R60X2G4JwBwEEzJQfdngA63h7K6qQTCYEtzwJrbzKPbNDLrBItiTsB1xqrU6ZMMRqFM2STwtAphhmyv+Irr7yC/v37G6GvDCm64IILEu+FKtkCzBsBlOabF6nzJKDL/Y4XjMVe6KHkrjPzEVn11TIi+YPKl20aKr55O9FcfVZkZWGZaLxzX375JZhj6STMUTz33HOjMoajWV9dO5b3CA1Wy2PJEG560xNh/NErSQ8l58BWReyXa8+bpZHK+5NVNzds2FBZLdr3GnCuNFgTJfze8B61h6bbz80wQhZokYiACCSOAJ8nzNFltAgNR/4G8ZnC4nGJMhj5nsBcYSvFgpFGfGfgs8LpGZc4OkHOVPgOsOwiU4H9Gwd/AzQaEvrUKkqB6W0Attig9HkVaP3z0I+XpjOB5ZcCBf8xP2tyPDDwYyC9vnto8R10RgeA1YtZ/Zcta3K6umd+AWbC32++XzItis+FmqKg+K68Y8cO432ZzxTm+9dKxe/Dq4E5AwH2R05LB1i5Owl4u/6GqGGCrjZW6cG55pprqi3hiSeewKWXXlr5En/nnXfi9ttvN34MEyr7fgAWn1ZVfY2J1s1O8ZsC808ZTmu1g6ECjVUWfuAXjwVqrMqlsZw/w5/YFiFjoCqYAAAgAElEQVQaY5UbBqz46iQc/6KLLpKxGsOLRkOV+ZfWCxavHXMu41kIii9v9J5b7WeM96TMTKOqLg1W3p988fQNM3daNr35nG+ihPmqNFbt3y37uelVpXdVIgIikHoEfCvb2wnwGccie0xncY1wA3xGR+900swqvqzmG6owNJEhipSMXGDIVKDR8FCPll4gAgVvAcsvMz/N6QwMm+uuCrBb/wKs+b05vwZ9geHzgfR6rr6eTlXS+XvN9w6nYqA0aFmYku/TljBCg5vRCQ/xL9sHzB9dlV/e7Y9Ax9tczbsuTM7Vxip7KFqtPM444wwwjIjG6c0332wYfJT7778fEyZMSHy4H/MDVv0KQAWQlg2M2Q5kNqt2T9AIZZiib885KtGz6pRnF+im4s4wPUX2ECr2OmWorpNwx4kFkIIVZqrpBmbP1SVLljiq0YBiaFW8Q7pqmmNd+pwGodU71FoXOTPcOh4Vl2nkzZkzp1rlZ+u84d6fPK62W9f43gssYtO7d++6dItoLSIgAiES4O+r9Xxz2mzjM5Ut3RLl7Q1p2jO7A8VmdXN0vg/o8mBIhxlKrJ/BOhqU+j3N/qoxKPgY+gTqqCY91fRY03OdlgEMmw00SnwxQWe6HmDeSGD/XPPjlhcCfZmOluHai8FNZqYTMY3HVxj9MHjw4Gp/5neXxdcYSekrjCDk+1FCq6qz2NayS4Cd75vTyR0JDJ1helklcSPgWmPVvmJ6U1k4gYbqfffdZ3hSWTWV8vjjj+Pyyy83quaGKqF4iYKPVYE0FjHY/pKh5mExhCHT/A6xt9WoaW5WKX+u08m4ZQh0nz59/Ib59NNPHXP2+KLeq1evmk5b4+fM/WEol6+waAWL6khiT4AeAfsmgVXVlgaktTlQ0yaBldcdTJ+VSb/44gvH+813VRyHGx8s9uWUI0ov7GmnnZbwzQtfVta8+QLKtko1cYr91dOIIiACbiHAivr2aBXfebFa8IgRI9wyXWDVL5C242VzPk1OgGfQV6HNzVOOtMWn2go0HQPPoK/DL9AU2tlSTiuNKV8H5pnr7jIZHvYxZchtUKlAmqfcqNDrQXp89OmNn92vsvqzh5sbne519fX5/vvvjXS+WAnf/ROZfmTMe+MDSLOKq7LP6tBZ8BjVl2vYJPCUIY0OLqTBYxi3wfQ9AL/XlfrUDWYQ16yfzO9DSWGs0kM5ceJE4x+N02g8qwxrtYc8hvuFyS5bj+YHnkOj4q+R5ik2Dj+Yczy2NXkWnrTqoRdW+5lA52CYJ73FeXl5Rhl/9jGlscrcQIaEMvSBf6Nhzp0jpxuNF5D6/FEORT/c9TqNz6rENKCS+cYPl0Mi9ekRYG6o1c+W52aeFT2hNBh5rzB8zcnbSiN1586dRi4Idy599Rn2y3uF9xf/GyjMm+fk9WXbI96fNFL5jwYzx+c/3hsM2eE9zP6m3OVMtHC9XCtTBqz5cL6cD5lJREAEUpcAn4FMZQgUxcRnmtMmcG0Ra3zoHbTed49x+oq0Rljbejo8jNyqQTIrCtFh11Xg+wlld6NfYmfurTUdps9DJNB63yQ0PvSWVzsDxVl9UNTgIuyrf4Hj9ckuW4Pm+/+C+kfmIb3iAEozu3r1zw+gv8qrv8Cr3w37GlyMovrnOurXO7ISzQ/8BfVL5yGjYmflKrY2ewkH640PcVW1o8aIPXu7vmhnwd/5QYMGRTtMWMc3LPkR7XdbLWvSUJbeAsXZQ7Ar9waUZPo7idI8R5B3+D00PvQ2ssvWoSI9F8VZg7Er9/coyezpd25T/12v/npD/3AWx/89SjP9nUSm/tvg8yO7bAMq0vNwOGuoV9+shM73s2TuOe9aY5WGF1+0+cLMUJ63334b99xzD1588UVceOGFRmEl6vBvCctZ5S7Z/KOqQi7st5hDBbZZ/5+9qwCTq8i6p3VmukczcXcnSkJIiANREha3AEtw90UWWBaXH2dZloTFJSwaEogSJSQh7u4y0XFr+79Tb15PT8/rntbpnpm638cHTNerV3Xq9eu6dc89d8UKITKhZXRCx44dG5MNflDfStk4JgjQqWRUmw6lljGSyefH+8CAIl0sheNtfN64MaOTGSizgLkgFHmSJhGQCEgEaiICKnuE/9ayuKvDSjrn2nMAp3IQjj7LgZT+VUPPqgRrh5WLK/WYBWScX/V1skXVCHDfR6pt/prKbdu9BjS/r+LfRXtGYtdWbt/+TaDZ3Rrt+wD5ZZUlPD/t8C7QtKwUkfp39r+qN8CyOt7W4R2gKeutxq8xsuqZexruSBlZHTx4cLjdBHe9Z56w55XWrkDfdZWj6IfeBnZ6rTuvY81e5hh7R+mpCk51cG9jWSLR3jMi6wIO/h+wS0MBOrkH0Gd1XNPCAwU+bp3VL7/8UkQZeRrADTjFgshl37x5Mz777DNRVJwnppTCZ33HcHIzAwULB14Bdj+s3dzSFei9uELeKnNKSUHScg6Yf0oqbTilZQIet2xYIxHg80MBIR7KaBmjh56qvYwesPyRr41ZMCDEZT5XMBOQbSUCEoE6j4C/vPy4fMcV71GczpIyLYq2rwItAoiQHp8GbL5CUE6FuNLZRwCDtc6vf0QA2P8isOdR7a6YE9zg0oolC6kWe+IHH+1bKHmlns5J4Xbg5I8+2rcsa+/hnPhrn9wH6L0srunf/vY1jPxpCUqSOaWlz8J9/3nnnRdVEcpKC+PIU2rvah1GsDFF0azdyi9jjivLSZUc0F7jeuMAOrmqMTf6BNuXi0lVuDBzvCKk5W5fAlBJvPSwdv9tXgBaPhKRr0IsO4lbZzWWoPi895pBQO7v2h/rE4H+O4CE8rqOWmqEdE6pXDx06NCwlHrjEh85qIgiwC8nFZl9Oauh3kzNfaVIGX8cqMxHKi2dXUZqSU+nWnVcKWWGOll5nURAIlCnESBLhdEc9R2ngqEl5hJzoKg0uv5cIO9PZSj1JwLdfDg+noPdcQdw+F/KXzLOA3rMjvlUas0AVpNNt6JmTIcldQadAPSWuB0vv4c8hPc07km4H2HuqS81YFYtYAUNT0o/9yvnnnuuW8OmWiZtOwYsb1teCaRabhrGTdIGAb2WhNFBfFwqndVg1sGz4Lb3daZ6wJkbAXMT8QlFiebOnetWPKOD2rp1a5HfxxIfMqIaDPB1sy2ZBaQC89+RMNKASXvjySUFiNQcU0Yf+APC/FU6qlSS9ozYRuLesg+JgERAIhArBNR33I4dOwT7hMbIKlMpoqG0Hvo8nYrSKCMlNGsPoNciwJjmv0tPFeF2rwLNA4jGhj7IunXlpguBEz4in/GGhLkhcNbe+KoD64ER9xgUdVSVgKm/0aVLF7Hf4L7Yn5GheOzYMTAyu3XrVjeDjClOdFi5t64Ws50E/uwGsL5tTbAGFwNdy94nNWG8PsYondVgFu/Ed8AmFu2mmpeXpQ4EevyqUHAArFmzxi21zdOf4cOHu8vtBHNL2bbuIsCI6sKFC5GVVfmlyGdK6wSSp45adUfZntFSHphIkwhIBCQCdREBagBQQV8VeIm7nFUuyoFXgd1l+WdkarEETZIf5f2iXcCKss91JqDXAoD7EWmRQYAHB1uuEMqslYz1TL2ENUUbZz7g0tgnkoGnJZgVqfbMU2Z9Xj4HcWgsR7l7d1lpJkAocYdStYLipdxjq8Y+qk3V21kEbLigXHm7As56wJBcGXlXaXkeuuenVATWR7l958+BhkwRqNkmndVg149Fu7255AktgC6fAWlDRG8s7UGaA+lHNOanMq9WqucGC7ZsT0EkFsOmeq9qfI74cmZ5Im9jhHTZsmUV2jOKz/Z9+vSRgEoEJAISgTqLAA/z+D5V89+qPSoTCPK5y4A1Zc4maZ095wEsj+fLDv8b2HGb8in3Ij0XAEmKAqi0CCGw6wHg0FuAy0M/IqFl2b5PQ9yH4jgU1fF0cBNbAV0+B1IHVR7UznuAw+9qtP9Se+133gkcfq+iQ5zYWqmxmnpWhCYd2W5YtYJUXjWtiZHUIUOGhJQOx701D/IZaaUxd5UU4mpLXcpdDmy9Cigqd7xFHnLTWwGKaHmXmOF3esvVAHPS3Rs5tr8daP965fY5S4Gtk7zam4BmdwJkTnj3n7MY2HotULzXo3+2vxto94oolVPTTTqrwawg81WZtypMDyQ0BepfKOpuwZgu/sofQ9Ic1LIjUvU3GIBlWy0E+HKn3DsV9EiboUov1bB9GV/kbM9aZmzPwxIZUZXPlkRAIiARgEh5YIqOKnzIQ7x4Kl8DCrIstkL8m9bxA6DJjb6XbvOl5bThlDOVSKxWdEcufngIZH0BZH2oOAQUxRH7vlTffWZ9BrBmbsk+oN54oM2z/tfl6CdA1keKuFbmBUDr5wCDn9zTox8BWR8rwj2ZE4E2zwGM3MahkdHw008/ub9zpN5PmDBBkx0W6PDJjvj555/daVJMYRo3bpwot1ct5igE9j6hiGPxkKjRX4HGk3w7ho78svbTAR50NL4BaHS1n/a5wJ4ngVM/AwmtgMaTgUZX+m5vzwb2PgWcmgHw4KLxjUDDy2uFo8r1lM5qoE81fzg2jAFOz1OuSO6t/Ch45ZIwH4YntyoVkyIOrAElo6qBAi3bSQQkAhIBiYBEIHoILF26FPv27RM34OaWuatxVZd53XAge4ECADe1naZqg2E/DbBt/rqq20YPTtmzRMAvAsuXLxdCjqqFSv/1vglzV1evXu3+c1zS+uWzEREEpLMaKIyssbVuBMDTC1qLh4G2L1W4mie1pP+SuknjSc/EiRPj60cw0PnKdhIBiYBEQCIgEaiFCFAAcdasWW5K4hlnnAH+Eze25+/A/ueU4Vg6Af22ag+taJtS6qb0qPI5aaYNr4qbaciBSARI1SWTQTUKOI4aNSoiIqNkMvJ7TNElGoNCI0aMqFKsSa5KzUNAOquBrtn+FwD+gFBcidz0MzcBlo4VrvY85WGe4KBBg8CCxdIkAhIBiYBEQCIgEYgPBMh8Yv4cUyVoTJegoij/HRd2ehawfmzZfkMPDDgMmDXUUk/PVRhfzKXUGYABBwFz47iYghyERCA3N1cEcDzVf1kXNZJUXVKM6Qzz37S4zEOXj0LYCEhnNRAImSS/sgvAYs808sw7f1bhSgrg8IRH/VIyeZy1VLUUWwO5pWwjEZAISAQkAhIBiUB0EDhy5Ah+++03d+cUQWzf3o/qbnSGod1rwSZg7WCANF9a16+BBpdVbssctX3/VP7O1KS+5ZTI6hyuvFd8I8DDmb1794Klm7jpb968OXr27Bl11l+k1H+rQtdbHbg66MAsKbhhwwahJULnm9og1BORZSmrWq3QPpfOaiC4HftCUfKiGaxKgd3kXhWupKDNpk2b3AnkdFSrTZkskDnINhIBiYBEQCIgEZAICASYtkNn9ehRhULLOo3MXaWyaMyNtF7mohaW0X+b3we0e63ysNacDeT+ofxdIzUp5vOQA4gLBLydRg6KLAKWs2vYsGFUxkjWAtkLqn5LOOq/VQ2QopKLFi1yl/njd5jMRjrl0TBSm1l1QY3m8h6kIFP4csCAAdG4ZZ3vUzqrVT0CzhJgVW+gcIvSMn0Y0P1nxWktM4I4ffp0d/4LvyCU5JYmEZAISAQkAhIBiUB8IkDVftIU1Q113CgDc9+x/nwgZ5ECXOoAoNdiJQVJNepnLM0o+z8dcMYvQL1R8Qm0HFXMENizZ49wrLSscePGGDZsWMSjgdFQ/60KQC11YB4+RZraz3fFggUL3I6x97jOOussEWWVFlkEpLNaFZ78sdgwFnAofHi0ex1ofq/7Kj64ixcvBmtI0SRfvipA5ecSAYmAREAiIBGIPQIsC8bfb1KCaYyuMneVv+Mxt513AYfeUYaR1BHotbBiPuqJ74FNFymfmxoAvRYAlq4xH7YcQHwhwFKKquin98gYgWzVqhWaNm0q/vFMW+NBDlkHdAIzMzOr1F9R2zPKyf9Wv1O8Z79+/UBqbrTNWx2Y7Ma0tDQkJCSICDLnEa4x1Y/BKeKiZYwgjxw5MtzbBH09fRFSkik2xdJAHAfFrGqLSWe1qpXcdT9wkEV7WVrVAgw4AJjqua/iF5L0A/VktmPHjujbt68sVVMVrvJziYBEQCIgEZAIxBiB/fv3C7oijVQ+UiPjoi61Z/qRKRPoOR+w9ihHa8dtwOF/K/9v7Q70XACwnTSJgAcCM2bMANWvqzI++8y57NSpk6hFvHLlygqXMApLai0dP29jLqx3e7VNvXr1cP7550c8eqs1H6oD0zmns+xtzCVlyZxQ89KZNpCXlwdSqn05/7wn5zt69Oiq4I7o53Sg+Q7Lyspy98uDB0Z5eRhRG0w6q/5W0Z4LrOwIlJY9AC0fUwove9j8+fPdOS/8EvMhjTTtoDY8aHIOEgGJgERAIiARiDcEuMGdN2+e2KDTGI3g73jMa6MX7wOWt1bgotIv04/qlW2CHYXA+nOB3DJ6Z+ZEoNt3gE4fb/DK8cQYgY0bN4KaKsEYHTt+L7yNwRg6fJ528uRJkfutFWnknphU3OpkKniLnXqOlbWUqSfToEGDYOAQolQUcaJIFYWV/FmPHj3QvXv3oPoPpzEDZaxjy7F5G/EnzTsSEeVwxhiJa6Wz6g/F/c8Dex5XWvDEsu86IKGZiKKSPsQEcp6yiN8SnU6cYvBkSppEQCIgEZAISAQkAjUDAUZKWP5C3aBXF22xSnSWtwGKyzahrf4BtH5KuYR/WzcMoENLa/8W0OyuKruTDeoeAowIfvvtt5WcSTqkdGLo3NHRVNmBkUQoOTkZEyZMiGSXVfbFvTmjyZ7iR54XsZzk4MGDNfshhZk4cD+vUqLpjGuJKbGNt0NvMplw8cUXV0sUWZ1AYWGhqERCZ07LGEmm0nlNN+ms+lpB2wmASntFO5UWmRcAXb9Bdm4R1q1bBz7ADL3zRUCrX78+hg8fDj6s0iQCEgGJgERAIiARqBkIcJNK0RQ1upqamgrWg9SiPFbrjFiFgHRgWsYooMevyn/nLlfUgp1lG9QzNwLWbtU6NHmzmoHAzp07BUVX3avSCSNVtXPnziJPlc4ZabM8sGEAxh/FNdgZ816XXaZRcinYjoJoz+/y999/7xY89b6UY2JQiTmdzGPld5xOJ6nMu3btEs472zDXlf+mHo2KHftinm+XLl3AdwTbEy9PR7+6D7pITZ45c6bPwwZGkfkuq+kmnVVfK3hyOrD5UoCqfLQuX8KReangwzOB2duYPE56RMypQzX9iZTjlwhIBCQCEgGJQDUjsHv3bjdTilGnc845J2qlLwKe2pEPgO03K80NKcCg0wol+NDbwM67lb8ntAAG7A+4S9mw7iDAqBvFgFRnipFUOi7+aoFScOzAgQMRAYkO3fjx4yPSV6CdcK6//PILcnNzq7yEONCZoyDRvn1lLAUfV3FvT/yY004hNtXoHDONQM2TpfM7ZswYUXu1Ooz5yFQ09yX4pEXdro5xRfoe0ln1hejWSUDWZ8qnia2BMzdg45a9Prn//FIyiZyceGkSAYmAREAiIBGQCNQcBLjJ5aZP3XSSLcWNfUwPoEUEdRjgLMuT67saSO4NbLwQOPmjAm6j64DOH9UcoOVIqw0B73xV1gCtKlWNkTpS4rVopbxWqy7r2rVrNXM5mbvJHM7qNEZBmaO7adOmiN2W+/tu3bqJwyst9iSj1ytWrBD34/uiZ8+e6No1+srcjOryvtnZ2ZpzrU3VSaSzqrXELMj9RwvAZeejB3R8H2hyk/ghU2lC3peRGnDBBRdU22lKxL6FsiOJgERAIiARkAhIBES5DdKBVdofN/dqSQ/Psh7VBlXxbmDtUKDkoHLL9m8ATe8AlqaXl9Pr8jnQ8KpqG1J13YiHB4xakaLJ/RUDATE9OKiuiUfoPszd/Omnn9xOJPNHx40bJ7CsyijWs2rVKoE/vwt89qkGzKii1veAtVzZnvdU2zdp0kS0D+R+VY0n2M85DooOkcLL/+Zzw+enZcuWYLSZaXxqfqonxVfrPoy6Ejd/KQF8RknFVaO5vIb+QDTTAsnw5LvK81CBWHMsnC/HQB0drkNtMOmsaq3i9puAI1OUTxhV7b1M1DejNDRl7rUsFqpnteEBlHOQCEgEJAISAYlAPCBAKh0V/tXoKjd9/G1njl+vXr2Qnp5evcO0ZwPrRgD5a5T7NrgYaHYvsLZMIMaQCvT6DUjuU73jivLdSG1ktI5OBZ0NUipZToi5grFwfqI83ah0//vvv7sVYulgsn4wn+NAjY4Xo6zEnxUuyDTwZ57t6RjHWoGWTii/x2oOKqm7jJDSqOjLuTEiyVqyzNXVUj9mWzp71KOpyhjl5LuDeNHatGkDHnZF+oCF8+JhwurVq4Vujmr8fvCefIfRSeZcuQ61xaSz6r2SVNdbMwBgdJXWaBLQ6b8iT4QPCF8AWsZkbUpix+T0tbY8jXIeEgGJgERAIiARiBEC3AgyIsP8VW+j4MqoUaOq+TfeBWycCFBDg0YKcPpQ4OAbyv8ndVDqqyY0jRFikb8tI6q+tEFIxSStNNIOQORnEdseyQBkHqXqgLHW5sCBAyVuGstCjJinS4fV25jTSoczkLrL7Gfp0qXufF86jHRyq3Lyg3lSeA8GzPiOUvOQOUZq5vTt2zeYrmpcW+msei9Z1qfAthvKKMAAes4D0keI0xI+0KQJeRtPL1gsOdYnSTXu6ZMDlghIBCQCEgGJQJwgwA0R8/UYddGy6q6hKMZw4EVg96PKcMxNAIMFKNql/H/aEKDnXEBXe6oQbN68WURVtYx7LeYRV2fdzjh5NIMaBkutkJqrGqOqWrmmQXVaixszwkrmpKcoEw9EqJjcu3fvgGfOQwKmC6rGHF86u5EwOqcbNmzA1q1b3YcQdFTJ+GB5mtoeKJPOaoWnyKUU2j49X/krqTV9V4n/ZFSVNVXVkyrSUsgJJ4+fp33R5KZH4kGXfUgEJAISAYmAREAi4BsBblapJOqr5iQZVCNHjqxeCLMXAeuGat+z5eNAm2fDGg+jydysU5CGm206hNz8Mr8vFpRbUilJzdQybs6ZP+ipxhrW5GvhxXyGWWdUzcVkVJBRVWn+EeB3ngclzHPlYQif/0Aiqt690k9QmRl0eEePHo2MjIyg4Ofakb7M7yQDZPQ36IxmZWW5+6HPwTI5oYwxqMHESWPprHouBJX3mAvisiny8N1/AuqNFQnMpKWoRYaZqE06kHxhxslTLIchEZAISAQkAhKBMBHgBnHWrFkVcsE8u4zJxt9RCPyeWa4I7DmgnvOB9Krz6fzBoua/MY9PNTqpjApxM1zd5q90CvdeLAvCHEpplRGgaBAje6o6LJ0cOksMrEirHgToJ3ANKOREY54wD7iCCWjRYSbVV0uRmX1yXSmexGBZXaHES2dVfX5dDmDjBODUTOUv1jNELohDn4aFCxe6T/ripv5a9Xzv5F0kAhIBiYBEQCJQJxDgZp+/98eOHas0X24KBw8eHJvaq2sHATleehmGZGDQqbAowNxQk/ZMJ13LON8WLVpU29rTYeZ4fNXIZP4f8wCD2fhX2+Dj4EY8eCAFWI2qkvXHMirSqg8BYr9mzRpB16XRZ2Bkm5HaQIzvoN9++w0UbNIyCr7xOxCMWFYg9433NtJZVVeoYKNSz8x2UvlL8weAdi9j9+69oo6RSv/lAxcrOe54f5jk+CQCEgGJgERAIlCTEaCCKIVSvPNWuekcP358bBQ29zwK7H+xIqz1xgJnzAgLam8FU+/O2rVrJyI41WHc5NPR2rdvn9vZ8r4v91/UB6kr0aRgcScrgArKNNJGSZmWUehgUQy/PQ+BWMqGyrw06tmcf/75AT233td6j6ZBgwYib7uumXRWHQXAsS+Ag68DhVvK1l8H9F2NElMX8cCpoXie5pGCUpvkoOvaAy/nKxGQCEgEJAISAX8IcJPJyAjpeCyjouawNmvWTERX6bhWnzmBox8B2yZXvGXbV4EWD4Q1DOaoMkfUV44uVWTpHEbbGAygeAxz9FRjnh9TrRjlVinKzCWkWJBMwaq8Ijt37hSBFRqdeVK4mXssLTYI7Nq1S6yHGuXmelC115+xLQ8byC7wVUqHQln8DtQ1k84qfwCyPilX/xXfdD3sHT7H4q2N3Oq/zOHgS7t58+Z17RmR85UISAQkAhIBiUCdQ4Abxj///BN0BGiMVg0ZMkTkilWbHf8a2HE3YPOiJje8CujyeVjDYG4jS5x41mv07JBRHJbkY65oNI30Vc9yHKxnO2zYMJGbd/r0aaEZojrUrCVJdpu0cgS8c61Jl6ZDU72HKnJFPBEgnZcHQWqkm88y18RXsIsHZBs3bhQqzr6+j+yf6sSsN1zXLO6dVZ6ocbH58lLpDDwNVBeTL1NyuEOyY18DW67QvDTX2Q5zjj2KEkeS+FzSf0NCWF4kEZAISAQkAhKBGosAN0lUV1UpfXRU6UhViyPAeu/rhgOFSv5bJevyJdBQew9TFeDcW5F2q1WOz/PaJk2aCOcwWiI9dEYpSMPygDQy2EaMGFGhFODKlSuxY8cO97D4ebUeGFQFZow/Z1Sa/6hG6jYp3NJii4B3tJv5w127dq0wKB7CUOXXn6ASL2C0XD2EqIs0+Lh3Vj/++GNxOnHdddeJFxhD61999ZXgbDPEzhM/fhaSw0pBJbXYttczbXMlYWbWiyhw1Bf3kOq/sf3Sy7tLBCQCEgGJgEQgFgiwFAU3kyql78wzz0THjh2jP5T8tUqFAoe2ABIaXQ10/izocVDA6Pfffwfzc1VTRYtItaXjqKqZ8nPm3NFhTU1NDfpe/i5gXjAFrVRBJY6B9/FmsNGh5T5QDVI0bdoU55xzTq2vLekPO+YbHzp0SGBy8OBBN1Wa9Gnuj2t73c2IPohR6oyOKCm9anSVBz58tvlvHgJxjdavXy+cVfWwhkPh30kZ5nPPa+nf8Jmno8sIbV20uHZWKWFOh5R5I0wUp7P64osv4jOuqcgAACAASURBVOqrr3Yr1D366KO4//77wQhr0LZ+FHB6tuZldlcCZmS9hCJXI/FSlPTfoNGVF0gEJAISAYmARKDGI8Co6oIFC9wKnWR5kdIXdfGa/NXAmsGAUymDUckaXAJ0/SZgfOlsMweXc/F0RhmxYS4uHVUaP+P+S91k82/8jJRgOkORiOxwc75kyRKxv6OxT9IbGX3S6p97QZWOzag294PM36uLtn37dqxataqSEBXT1RhYIRNRWnwgwO8Qqfaezqj6vPM598xN5XPN7xcj43INK65f3DqrPDV6/fXXce+99+K1114TJ0V8OT300EN44IEH3BSQp556CjfddFNozuTh94Adt2s+0Tn25ph7/Ak0at5Vqv/Gx3dejkIiIBGQCEgEJAIxQYDRq0WLFrkdqzPOOAPdu3eP7lhKDig04KJd2vfp+D7Q5OaAx8BIHJ0+VTSSm2WKKDEPTnVU1c7YZu3atWA+qRpRZhtupBnlCccYceI4mJ+nGsWA+vbtCzpcWsYI4i+//OJ2srmZp8JqXYsgcm/M0ibMifQ2masazlMZnWu9c1d93YXfrV69eolAXF17pgNBPm6d1WnTpomTBb6MGD31dFYffvhhdyT1hRdewDXXXBNwLTCeYnh+yfWbxsGU9xsApxsvh8uM1TlXYU/xaIz0kxAdCMCyjURAIiARkAhIBCQCNR8BRgJJ2aPRqRo9enTUcjlVtHSH3oLp4JPQuYo9ANTDljIMzq4/C0FIb6NzyX0O9zt0SDlWjtuzDB//TqeTlGZfm2NGg5gvyrxW1WHldXRY6Rjxb/x/Xu/LyVTHRgeV/fGao0ePilqUalSJ0SQy2KoScmJklbRJdSx0stu2bVvzH6wgZvDHH38I+q+WkSLKPXNVaxHE7WTTMBHgIQsjq+oBkXd3/P5QZZwHNdF0Unmfqr5fYU41qpfHrbN6yy23oHXr1oKrvXnzZuGcTpo0CZ9++inuueced2T16aefxo033igWOxBjjoSnoEBp3l6Yj72DxuY/kWTIxqnSdtiaPwpHS3uhTduOMhQfCKiyjURAIiARkAhIBGo5AtwwkYKpHngzh5MRwWiKLelgg7V4AdILP0Vi6SbYDQ2Rn3geTluvg0OfWQlxOoCk1jIflc4hx8ZNKgWVVOeQf6OjShptVWPnNSwfwz49r6dDRAeU15MOTRFKX9oh6kaT9GL2QWdTdTg5Nub/BiLgRNxZUkjNXWU0qlOnTlHd5MfbI83yPr4cH64Fo3NVrWm8zak2j4fPLMWvfJWi4TPMXNRIUOv94cjvJlkUNdXi1ln1BNQzsvrWW28J6Xh+IfkyfuWVV8BIK0/mgjU+RFSho3y7tzVq1EjkZ0TzpCPY8cr2EgGJgERAIiARkAjEBgE6WCxloyrTcn/AXE+KpcSDcXyrV6/Gtm3bfA6HIkakL3fu3DngDTL7ZZ/cdGvRT3kzMuHIgFOFmtQBsD1FZigW423Eb/jw4UFpjnjXr6w2sat4WGBARMfV3F3vIfHwZMyYMTKyGidrxWHwYIWllxgo0zIe1PAZluYfgRrnrDJ/4r333hMnggcOHMDtt98e8smmt9y3J1QsOs0XbyCnffIhkwhIBCQCEgGJgESg9iPACCVzJ9XoVjzlCXJDTMfQV+SN0RVSeEMVjKSjSFqwrygRsfCOrnKzzjxLLVNpq8EonPLezNlU6dh1rVoDo9MspaR1aNCtWzf06NEj4EOI2v9tjf0MedCzbt06wRD1NkZVSduOulBb7GEIewQ1wlkNe5Y+OuBLnfQWLSPFhQrEvgr4RmtMst+ah4CrMAfOglOA0wGdJQ36lBCUqWvetOWIJQISAYlAnURg3759okap6rQxd5JKtrE2OoXc1/hyJpkuRcZYqEYHkY6ir/6D7Zd0VUYC09LSgrqUlGSqFZOGTCMVu1+/flF10qgIrVKp6SDT0Yg2dVMLFOarstyPamouImnd/fv3l1HVoJ6k6mlMOj4ZGVw7Pkf0L/j8MKIaL6yM6kEi9LvUaWeVPzaeanSeMPJ0kC/RYE78Ql8GeWXNRMAF2/alKJz7DpynDwNOO/SpDWDuexESz74SOoO5Zk5LjloiIBGQCEgEfCLAqBbLvxw/fly0YWRk5MiRMT/cJtWWYi7cEGtZuJRDluFgvVNfVOBgHxk6fRSpCjYowM0/HTY1ukoGHCNUwfYT6Hg5b9KrWfaHDjLvx/w/KkJXp5gR69HyMIJOM43zpTAPnz86/LFwngPFsK63U8tGce34zHDNpH8R+FNRp51Vvuj4wvOuf0T4GjduLHJjZc5q4A9TXWvpzD6M3CmT4cjNgs5z8gYjrBOfREKv8XUNEjlfiYBEQCJQJxBglISlbFShIFIwWSM0lkbKLfc0WrRbbpCHDRsG6nGEatxo00mnXoi3ca/kK0JKJ09rn8V0Lu6zQlEppWPOXEA1ukrnceDAgRF32Oj4U9uEc/A2tXxRdTmJy5cvB6nYqtW1fN1Qn1t5Xc1HoE47q1y+LVu2CCl09YXHvzFflaIJsihvzX/AozmDgu//gZI1P2newtiiB1Jv+iiat5d9SwQkAhIBiUCMEKCTSudh9+7dYgR01s4991zUq1cvRiNSbsuyMIx+ehrHRqpyhw4dwh4bo4xLly5Ffn6+uy/2zwhfu3btNPunOBNrtnrusxgV5D4rFHFM9SakVlKdmUaHkRTncGvAek6AdGfm6Ho6iJ6fc684atSokJztYBeC1HOWrVEx5DxZ7kcGVIJFUraviQjUeWeVi8ZSNvv37xfFplkih1Lo3op2NXFx5Ziji0D2K6PgzFNoYN6mMych4+9LozsA2btEQCIgEZAIxAwBOmyMuqmCRszB5CE3y+7RcavufYS3mAujqS1atBBjCSei6g0w50tFWkZwSWfkfBkl9Wd0ornPKigoEDVauc8KJaLqeQ9GV+mYq6Vs1DI93Mcx0k1HWCvqyWgpDxmYBsa5cOwsH8K1I8WZY2ReLNt4OuVa8+M9VHxJ6+Sas386uOyf0Whir/YfShSWwlkU9VKj07wP09R8lQqK2RdC3lgiECUEpLMaJWBlt7Ufgbypk2Hbt0ZzovqMZki/b3rtB0HOUCIgEZAI1FEE6Bz+/vvvYNTL0+g00UkcNGhQtSLDA3fmrKplMugUjhgxotZG34j/qlWr3NFVT7DpCJMmS0fa29Q1Uync/JyOX2Zmpgha0EHVoi37W0zej5FWOr4sh0jn3Lt/CiDxuQjWGFFVI/i8VtJ/g0VQtq/pCEhntaavoBx/zBAoXf8L8r97UqgAe1tCz3GwXvxMzMYmbywRkAhIBCQC0UWAET06h1q12nnnAQMGoG3bttEdhEfvdGhITaaTxAgeneWWLVtW2/1jcSNGMDlnLWMOLenJnlRZimKtWaN9yKzVB6PTxFNLAZkYezqkVc0/lMODgwcPitxo1egM8wCCByLSJAJ1BQHprNaVlZbzjDgCjlMHkfv2xXA5bJX6NrXtj5Tr/x3xe8oOJQISAYmARCA+EKA666xZs3yq47KeKQWEqsOYy8j6myptlVFC1oqv7U4NBZ9I2Y20kd5M0SaW+6EY58aNGys4rKmpqUINmJ8dOHDATUX2Nw5ShCdOnBgw/ZmiTjwM8VT/5Zqy7Ik0iUBdQkA6q3VpteVcI4eAw4a8z+6Bbdcfok9dghWGRu1hP7AecLnE31InT4GxVZ/I3VP2JBGIQwRcRbkoWfU9StbNhCv/JIyt+yBx8PUwNu4E6A1xOOLaNSRn/kmUrJiG0o1z4CrOg6ndACQOnQxDZktAJ6Mv0VxtOhN0Vn1RRqvTWaXQEAWHaHRQKb7D+9d2i6SzqtK3GQ1nRQjP/FI6xIxykibM6CbLAKkRW64/1aFJB6fz6qu0D6O0zDWloxuISfpvICjJNnUBAems1oVVlnOMOAKlm+ch/6uHASiOaeKga5E09EbkfnAdHMf3iL8ZGndA6k0fQ2dKjPj9ZYcSgXhBIP/rv4HfB7ic7iHpklJhnfA4zN3Oi5dh1s5xOOzI++xulO76o0L5LH1KfVgvfQGm1n1r57zjZFaMeDHypVXWhEOsrtxC0pEpNETBIRqFglj3tS4I8FDoacWKFRF5IogbFZ1DFX4iJZgVJqh87MvoqFJsqU2bNn7L7NDxXbZsmTuaS/VfqidXZ13XiIAqO5EIRAAB6axGAETZRd1CwGUvRf5nd8O2W/mB5MY8dfJUGBq0RdG8d1G06EPl70Yzkq98DaYOA+sWQHK2dQYBlm5iCSctMzbrhpS/vg+d2VJn8KjuiRYv/RSFs17XvK2pwyCkTHq7uodU5+7HnMnVq1drRtPolLD2aigKsMEAyaje4sWL3Y5Nnz590Llz52C6qNFtmdNJDDzzR/2V0/HVnocLkcgxZrSXVSb85bPS+SSNmKWOvJ8PCmT9+uuv7meKlOTRo0fXicOHGv0gysFHDQHprEYNWtlxbUXAtnUB8r5+GHDYxRQZUU0acRsLvcGZfRg5b14IV9ln5h5jkHzJc7UVCjmvOo5A3n9vgW3PSk0USI1Pu/dH6K2xrTsZyBLZ964SNFpnwWmY2vZDwpkX1QgKbc5bF8FxYq82/okpyHhsYSDTr7qNw46S1T+KAzp9ciZMnYfC1O6sqq+rAy3okBw7dkxE1CjeQ0qo6qQwQjds2DBRqiWaNnv2bFFGhkZFWlJN61L9TUaWWcuVuaOk6RJvHhSQrqt1UMD2W7duddN6WeqmS5cuPtsHu3aMuKv9c5PN/GFSg1mj1tP4fNBp5YEGy+WwtA+v5TV8llTr169fRGrkBjsP2V4iEC8ISGc1XlZCjqNGIMD8vJy3L4EzX9kYGOq3Rtpd/6uwsS2c8xaKF3+kzMdoRtodX8OQ2apGzE8OUiIQDAK5UyfD7qN8E+nvafdNF85NPBu/q4Vz36lAYzY27y5otIaMZvE8dPhzVsX7qWkXWMc8CGPLniE73zyAy//mcdgPrCvHwmBE0ojbkTT4+rjGJxaDY24jo5wUPKLRYaLDGi3nkQ4a70ejY8boYIcOHWIxdXnPKhAgZZlOLCOnnlFXUnvV58W7C+bO8vmp7UJZ8uGRCPhDQDqr8vmQCASMgAtFCz8UVF9hej2s4x5FQr+LK/RAwZPcf18NZ+4x8XcKnqRc+07Im8WAhycbSgSqEQFXaRFy/zMJjmO7te+qNyBp2M2CeUDWQTyafc+fyP38HqC0qNLwRPmpi/4Zt2PngAt/fQ3Fv3/mF1pdYgpICbaMuhf61IbBLYPDLmjexetnVsiJFY6RKRHJV7wq0xy8EKUTQuXYDRs2uD8hJbd3794RpwMzikvKKSO7tOTkZJFzabFI6n1wD3r1teame8+ePVi/fr1mORzPkTDnmFFyuZ7Vtz7yTvGJgHRW43Nd5KjiEAFGVXM/uN5Nu9PXa47Umz+B3pJecbROJwp+fgElf34r/q4zJSHl+vdgbNEjDmclhyQRCAUBF4oWTEHRgvcBZ7mwklZPiYMmIWnEreJ7EG+W9+ldsO1YqjksfVojpN83HdAb423YYjzO04eQO+UGOPPK6YLqQHXmJDC33rMGtD69iXBYTe3OFurlztMHwYM1sj/oxOqTvaiqTgdYnivvvzdr3oP3Ih045SrtnNm4BK2aBkUqJ53IU6dOiTuS7jl06FCQbhpJI1X0t99+c6sR0ylmvqq0+EeAJYZY75UKw75yW1mi5oILLohaVD7+UZIjlAgoCEhnVT4JEoEAEVDovR8rCsA6nYiWcuOnZfZDm5D7/qSyj3RIPPtKWMY8GOCdZDOJQHwjwPzFwhkvwWUrFgPVWdLFoQ3p8YYGbWA/vBVQ6w8bTDB3GAjrxc9Al5AcVxPLeWMiHKcOaI/JlIh6jy0CDHHorDodyPvifti2K/RPsQYJFuFYm9qehcRzrhX07KI5b7nz50UjvQGmlj2hr99GXMscXQrB6VMbwTL2QcECcZw+DNu2hbBtXyKwcZ465FY99waKa512l3IoJ60iAkePHhWOpOqIRKPuKem/pAHTWMOTjk1iolSfrynPIqm/M2fOFLRgLSM9+KKLLhJrK00iUJcRkM5qXV59OfeAEXBk7UDOv65057WZOw9FchURhYJpj6Bk42z3Zj797u/Epl6aRKAmI2Dfuxp5n98DV0mB4v+kNkTKde8JJ1U1295VKPj+KThPH3b/jarY1gufgj4lstGlcLAs/PlFFK+YptkF6bNpt3wKPeuVxpExYlo0920U//55ObYdByP58hcrRa8d2YdRNPMV2HYuUyKtfoyq5vr0pnAc3V4hf9ffNQn9L4N1/CNxhE58DWXdunXYvHmz22Gl6E+PHj0ikn/IqC0VY1Wjsiz/kVazEFi1apUQh9IylrmhCnC08p1rFlJytHUZAems1uXVl3MPDAGnAwU/PSvUMGmiJM3Vb4gohD9znjqInH9fBVdxvmiW0GcCrBdql/kIbCCylUQgtgi4CrMF9dRTgTb50hdg7n5+pdxOx5FtyP/qARGpU744OiFIlnz5KzA0bBvbiZTdvXTDLOR/86jPsejTGgs1b2Or3nExXrI6ipd9gcJfXnNHO01t+iH5qtcEtVfLmFtMcaTCGS/7VA4OZXI8pEilMx9Hhw+hzCOa13jXP42UOrDT6RSiSizXQiNdlHVV6dxIq1kI8BmZNWsWSAv2tu7du4sDiGiXPqpZiMnR1kUEpLNaF1ddzjkoBBwn9yH3/WvhKlaoOizZIOoXVpXL5rAj/3+PoXTTXGWvnpgscly5Ya9T5rTDcfIAXAWnAFMimDvnt5yJww7Hqf1wFZwGTEll7TNqLWSMeDlPHQAdQZgtMKQ3hc6SFtH5EktG2WArhs5aDwZGC/WGoO7hLDyN/C/ug33/euV5NpiROHQykobd5LMf5kTmT/ubohjscol2fP6tE58ADCbAXgJdcqYyHp3eTz+nRFmo8vatwhY+sh/cKPIxVSqzEIHSG6AzW+EqynGPhbmrFFoyte4bc5E0+/61yPv8XjB/nqZProfka96GsWmXKteSz1fh/PdQsvJb/5FTvUHkr3LeVBEmrZiR2dLN8+DMzXKvY0IvClA9U+V963oDb3Vg5q0OHz48rGhZdnY25s+fL8qc0Fq1aoWBAwdKp6aGPmykjLNWL8vXkBpMKnfz5s2FKBepwNIkAnUdAems1vUnQM7fPwIuF/Km3gjb/jVlDmeKyNHSpwRWN4/iLRRxUS7WwXLunUgc/Nc6g7rLXiIUS22b58NZlCui0nRMLOMfBcuDeJto/8ursG1ZUNY+AYb6LWG54DEYm3atdbjRUSqc/gJsO5bAWZwvFFYNDdvBeuETMNQvp9WGM3E6ZYXTnxf5h3SM9UmpMHUZLsR2dObAVUMLfn4RJSv/V06F7zEWyRc+KQR6/BnzWAt/fBal2xa5m4kooMsFl8MGfVIaTN1GwnL+3ZoiTFTsLZjxIpzZR5X2FrY/F5bz2D60/DxXaaEilpa10z2mpKGTBS7ss3j51yhZ8Y3HeC2wjLpfqb8aI7Mf3oy8T+5UDjVEjqoVqaRfa3yPfA2RUdacty+GM+eoZhMeJFjG/w2GjObQJdcrXw+XU+BfsuZHFC34QLk/SxPdOQ36jOYxQqTm3JbqwFR/Va1Tp05CCCnUiBkdG5ZAobGkybhx40R9VWk1FwEePPAfRs0ZgbdarSE/HzUXBTlyiYA2AtJZlU+GRMAPAqWb5iD/678pLXQ6JA6cJDb5AZvTgdwProP90GZxiYEKwndMC3mTHfB946Gh047CWW8I2qK3GTJbwDL24Up/L90wGyVrp2u0b4mUyVPjvmZnMLDTcSz88RmUrJtReb4N2yL1hilh5zgzoipqoZ7YW6n0SOLAa2A5/56qI6xOh3DcCn55xR1V48EBBcYCzsF2OVEw/QWUrP5BKNQyxupdzIb5j+ZOgythUTDjJaFK690+afgtSlTXT0RWaz0Y4c/77G73d5LRVPMZo5H8l6cqsCWK5v0LRayX7LQrX39jAiyj74O594Rq//4ylSCPUe29q8reRXpYxj6ExLMuD+aRE9izFI3WMydK0Vz+EkwdK6+BehOOI+e9K4USMc3U8RykXPlafIpQBYdMVFuT6kmxpUioA5MuOmPGDHddznbt2uGss86K6vhl5xIBiYBEIJYISGc1lujLe8c3AvZSsam17V6hbFbNSUi99fOgabz2I1uR+59rAYey6bWcd1ediK4yeiNKa/iI4gS7+Cx/wrqdtcWY05n78a1wFZZTTj3nxkhf0ojbgnbG3H2wRubPz6Nk1Q+akJGOLUovJWf6hdS2bTHyv3kEjMrRDPVbIWXSO9BnNAtqKRhFzvv4Ntj3rwvqOl+NDQ1aI/XWL4J2HAu+ewola39253yau4yA9dLnhDPqaTxMKN00D4U/PeNBFdYLB1Eoe1dX7ViHDXmf3wfbrmXlFNz+l8Iy+gHBVAjWnNlHkP/Vg7Af3lJ+KWvi0vkfOlnjGMHjDi4XCme97q7tyndiyvXva7Ikgh1XbW+flZUlqLvhqAPz2hUrVmDXrl0CLkbgSCmm0rA0iYBEQCJQWxGQzmptXVk5r5AQoGPFSKBt60I4i3LgKmKeqhIHShp2o+I8BGkuWwnyP7+n3Om11kPa7V/WemESx7FdyP33NSC1NxJm6jBIyRWuJVa6dQHyv3rYHbmrPC0dDA1awdx9NExt+4lDEkYymU9Z/Oe3oDiQM++EcBQSB14NU6s+cBZmw3F8r5JjuGl2BTVeLdio4GvuMRoU6TFktoLOmg5XQTaKV36D0o1zlDqctuLyEjVmC5IvfR6mTkNCWoWc966C44hCXwzbDCak3fF1wIdHdD6LF01101h5f0ODtuKZouPuy0o3/ApGdz0PFUytesNZcArOwhyRy5o4+HoYm3SuOkodwKSZF1q87EvYtpIKnwe9NQOO47vdVxL7lKvfCKAnP02cdhSv+h72vWugt6bD1H4QqNYciAPuOL4Huf++2v1MJA64UkR5pVWNAKnAmzZtcjusVHlNTk5Gy5Yt0aFDByQkVDwwYY90UJnTSMXYEydOwGazua9v0qQJhgwZIvMaq4ZetpAISARqMALSWa3BiyeHHlkE6FQx8mPbt7YS5dDQqL1QvvSOvgQ6AtIfC374p9Jcp4f1gsdimv8W6LjDaUfRIOYFspZjJCyh3yUCtxpvLhdKN89H0Zw3Bb01EGMEi6qrFLxhZMy2d3UFkRzW2DQ0bC+cS1f+CfCAJBhj7qrov1UvIfZUyu+Ay1mhC0bxrBc9DXO3ysq/gd4rf9qjKN04K9DmVbajk5k05AYk9P1LlRHo4hXfoHDmy4IKSxMR4uv/LWqM+jWXE/asHcj/8kE3/dWbxkzxtOSLnw3ZiXff3+VE3n9vQeneVZXeQWzDXPnUmz4SJWZiaUXz3kXRwqnK6yzBirS7v6v1h2+RwNtbHVjtk7mrzZo1E46nt+3cuRNr1qwRTqq3UQG4UaMqnt9IDFz2IRGQCEgEYoiAdFZjCL68dXwhULxwKgrnvas5KKEAfN17IQ+YFMjcdy5xl/FgNCz1xg+rVhQO+Y6xv9BxZAty/3urW0XZc0R0rlKufgvG1n3K9+kl+SLSaNv1h+bgzT3GIPmip2suZi6niHoWL/0EJetm+omoQogW6XT6cvppiMtJJ9TFnEutGpvM9fRySP3dhs5d6o0fhaVUzJxLoWZbVqPV837mbueKMjFCJbjMbHv+FArEWu3djXQ6mNr2R9LQG2Fs2ZuKM5WmYd+9EnlfPeAuI0XF3+QrXoKp/cCAkRUCRx/dpvk8sxNGWFNuUMSHQrXiJR+jcPab2pcbE5B262dCgCvWxgOo3H9dLiL7NKEM/JenqzwwiPW4Y31/brjmzZuH3FxFzdnbunXrhvr1y8X76KCyVitVYrVswIABaNs2PspAxRpbeX+JgESg9iIgndXau7ZyZkEikPPGRKGYqmW6pFRkPLogyB4rNi/dthD5X9yv5J3pdGJjTmGXWmkuJ3L/e0u5IIzHJCnkYhn7IBL6VlZWZZkgRrBIIfY2XWIKUq59t2bmx7mcKFr0IUqWf61Qaz3x0BvgKov28c+M0lkveBz6zBai7FHp2hlw5h0P6jHRpzdDQt+JMHceCtveVSia9WYFOrahYRtYRj8I267lKF03E1TsrcoY3U27+3uwvmY4Vrzsc8UhK8vhZl+GRu2QfNUbMGjkwdK5L5zztjsiKjBKSIKrRMmhVY0RPjqMFO7SZ5RHHpkjm/f5Pe5yL2RHJF/9GkxtBwREe/W8R/YbE0XkWfMdkZiMjMcW+s/5rAK4nDcvhOPkfu3+E6zIeHxxONBH7loKZqnq0Koy8Q0fwEAqtDSfCLDkzOzZs2G3K/oF4Rrpw+ecc0643cjrJQISAYlAXCMgndW4Xh45OG8EnDlHyvK5FopSH6bWvZF4zvVKncEg60Z6953z9iUVcsMqbIStGcj427ywFoTlMvI+vKlc2ERvEGVcqL7JnEPSMGuFuZwQESI6GDSdHqb2A6CzZIg5mjueA2Pr3j439axnW7J2BuyHNkFnMIrcTLUWprFlL5FjKEqfxKM5HSjdvhglf3wN+9FtMKQ2grFdf9j3rAIjc56mr9cMiWddBXPXEaDqtP3INhjSG8PUeRiMzbq5mzLX0r57hahzSbEj5kpqmsGEhJ5jYe45Dsyp9Pw+0GG1bV9SluPaDQm9JoDRbRrp73RaWV6odNtiuAq1aduC7nnXd9Cnhv+cUrTMtuN34bgbW/RAYu8JgKlyvp46T0bbmYfrzD8FU8ueSOg9ASUbfkXx758rBxseEWIKRjG/2X5gvcjhFerDZTWSeUiUNPJOJA2+PmhHlWPJfe9KsU5aRnwyHmd5Hm/d4sAf1Jx3LtU8qBFfI0saMh75LfDOotzScXQ7ct6fBDgUemriOdcp6tLSfCIQaWeV9VUHDRokEZcI1CgEyvdxi+Aszqt6H8dUuK7thAAAIABJREFUjIMbUbz0U3H4qrekixx7Ktrr0xrXqLnLwYaGgHRWQ8NNXhULBES07maRr+e5HdQlpSD5khcUgZAwLP/LB1C6RXszKEo0XPNWGL0LtwCFv7wGRpYqGGmMbfqJ/LnaYM6TB0S5FDVaJ1RnWXYmlB8Vl0tEJFlGRBG6AoSgS3WqsQaxKFxbjlVVztW8VG9EQr+LkTT4r8oBRaCqsi6nUPYt+OlZzW5JD0294YPAy8l498L+V36Lgp9f0O6/SWek/vU/IvIbL8bSPCXrZ6Jw1psVaNVapXGUZ+cKJJ1/b0gqurye4musA6y9rgZYJzyOhD4XhgxP/tcPi2i6lpnaDUDKdfwexIu5RB5+yeofxYAo/pV+/89B1e6Nl5lU1zhYR3Pu3Lk+acDBjkPSgINFTLaPOQIh7ONs2xYh/9u/u9M4lDnoxKE3S7xJq/0IxK2zyoGx6DXpMlTM692bkRjFqIqn5nx07txZFsOu/c+pmGHxko9QOFvbYWTOWsjOntOBoiUfo2juO9p70JQGSL7sBRhbledXhgI5HZi8j2+F7cAGzdgL67cmDro2lK7j5hqXrUjQeBkFE2Y0C+EZ5iOGasyPyxd1MTcpP1FJaUi56jUYGT2MI2PtydwPb4QzJ0t7VAajUIxl+R1FebVybmUg0+GPNqPNqlCQwCQxBZZxDyGh5/hAuvDbJv8biiDNqSjglJQC6/jHYD5jVNj9R6MDx+lD4pDAtmkuXGWRPu/78LAk7Z7vQxZJU/sjpZgRbl8mSlPxexwM04NshKWf+sxX1VnrKSrMbftHA76Q+6RyMRWeeWhAE2V9qAwc4rMd8kBq0IV79+7Fn3/+idLSUveoKbBESu/AgQPB//a0PXv2YNWqVRXa6/V60f7ss8+u1L4GQSGHWgcR8LeP8weHrwNIy7l3InHIDXUQybo15bh1VqdPny7U8Ro0aIC3334b/fv3xyWXXCJk33/44Qdce+21osj2sWPHcMcddyApKalurVwdnG3OGxfCccpHPpfZgoy/LwkeFYdNiQ5wc+4o2zzodGCOKs3U4RxYht+i1JQMNALmYxTc0GW/OdHrdLC8sd5aD4lDJyOh9wXQJZRHr0jTJK2UDiDzBekw+IsikzLL3Ejbzj+gT2P70TC1Pzt4bEK4omjhlLIoqHIx6c2WUfeHjZ193xrkfniT24Gi05dy8yeCJhysidIvy79WynZkNEVCr/F+HV9XYbbSft9akLor2rfsVX5bpx22PatQ/McXsG1f6lO0iGuWfOmLYUcmKTZUvPJblK6fKZSBRemUoZMVKnwEnARXST6Kl38DlmxhKSeWzaF4kaFxx4j0H+x6BdzeXgpBo/WVU5pgRfrDc4Kuy+p9fz4/Rb9/BtumeYLGTCq/epDCtlRNNlEsauITgFftVs25sB7uT88KvEn5Vo20X+a3k9JsGX6rePYisb4B4xlIQ6cDBT8+g5I1P4nWfG+SRREPIlCBDD8WbViK5tSpU2Ivw/2LxWJBmzZt0L59e5hM5eJi6tjY/uTJk9i8ebNob7Va3e15kB8Jq/IdF4mbyD4kAgD87eNCAYjl19Lu+jaUS+U1NQiBuHVWPTH89NNPRX2x++67D88//7xwVJs3by6aPPbYY7j33nvRsGF4oh81aM3q3lCdTth2/g7SdH1FTQgKRVos592jOGYBRDVcRbmifmLp+l/cmNIZtIy6LyoRJOYCZr95kaiT6deMZpHXae4yQtS9LJrzDuyetSkNJiQNu0k4EN7mOLYb+d8+DodnXp3RLKJ5LPERTXMc24m8T+6EM/eYuA038VRQ9lfDMpjxFM3/N4oWTXVHFBMHTYLl3LuAIBxWx+EtyP/uCRAn1ZhrmMRoWP/LKg2HeaYF3z4B1pYsb5+MpJG3wlC/jSJQtHmeu6SJv/kknHmxoIlKix4CLJXEXFUtoyOV/uCvYTurWn3zGSic+Yr72Wcb5g9bxv1NRL19GQ8eCme8jJK108vfQSn1kXT+fUjoOSZ6QEWwZx7ikFEg8oaZEzzidiQNnRzBO8iuoomAz3fc+Xcjsd8l0by17LsuIRDgPi5YSAyNO4m69dJqNwJx76weP34cL730EkaMGIGxY8figQcewEMPPYTGjZWk6ieffBI33XQTWrRoUbtXqo7OjpEjRh3s+9f6zwMsw4eKpSxfQafAn5NEhyrvs7vhyNrpjoTRaaF4T4WoWQRxV2jAt/ncTFe6lU4vojROW3El2jD/nnzFK0KcSTVGVPO//psQ+PGWeFHavwrm3kbFmIdC8ah9a9zdJ1/zFswdKf4RuuCM51h5+p/78e1wlDnuwaoD85Ag79O7YTtYmYatMyUg5Zq3YWxzZjmehdnI+/Qu2Cj05A2awaSUlrEHXs80+bIXYe5+flTgl50qCJSsmCZUarWMtPHU698P6nAjGFyF6vDHt4NUeGE6PQwN24p3ilYtV5Z9yfvsLjiO7ih/B5kSkDzpHREtrzHmcsJNHRe1YBsg7f4ZIbEeasyca8lA+U7N+/RO2A5trvybYUpEyqR3KpQXqyXTltOoZgQC3ccZW/eFdfwjFUdH5fHpL4g9oJZR1I3ibtJqNwJx66xSNe/bb78V9cUcDgdGjRoF5qc+/PDD4h81kvrcc8+JSGugzipzYDnpumz6wlMw5h4WtFenJRP2jJYRcyiIq6HwJAy5R8r6r1/Wv2/EDQUnYcgra2+tD3t6S+hL8mDYuwzFC6aAeVFuIxWXpV88zGVKgo4UXo/yH4yQMvpob302dPaSsv7tcFrrwwUd7L+8INTlVHNktoV54tPQZxKL6JltxxI4f30J+mKPOns6HewNO8GpN8OYcxBcn2iYoctI6Mc/GfmuXU7oVk1D6W9ldWh1Orh6TID5/Psjfi9GMl0/PSHWlEYlWf3FL4PPQJV2fCfsX93jk4Zd5fV+GriMiXCkNYMzpSFMh9dDV1peF9GlN8LZaTgSxz2uSYe2O4FjBS4U2ACzAahv0cFamQ1Y4e75pcCJQhdsTiDZDDSy6qD3cybg2T7FDDSson04WMT62pJvH4V+N3Omy98TzoRkGEY/CmO0DmvKJu08dRClPz4Jw4ny0kvG5mfAfN49yjPLdy7fQXqT8g7av678HVSvNcwT/wl9/VaxhjDo+zuzD8H+yc3QleSLa80DJ8E1qDLzI+iO5QXRRSBrG+xf+65jbOh3OfTDbo/uGGTvtQKBcPdxzqQ0GMY9WeHAWAXGvns5HDOerbhv4q7VlAjTHT8E9vtfK1AOfRLMc2cKQU21uHVWPQFdsmQJvv/+ezzxxBN45ZVXcNddd7kjq//85z8xefJkkd8aiOXl5eHIkSOBNK2VbUyH1yJl+RToinOhczngMiahpFV/FPS9Dq5A8quqQMV8cBWSV0wVmxbRv4n9D0BB32vhMpgrXW0+sBLJKz4Um3u1fWmTnjDkHIQxe38Fx9SlN6Cg/43Q5x9Dwv7lYg625r1ReMbFMGVtEfeF06N+nU4HR3IjsUnUlXI8TjEel05f4aVH5zh3xCNwWupFf81dLuE4W9b/D6bD6+C0ZKC09SAUdRolNrDCST+1G0lbZ8F8dENEx2Or3w45o5+LaJ/szJCXhbRZT0JfrNCbHdYGyBn1D3EQEnlzIWnjT7CuLaf9FHUchYJ+VZciMR7fgfQ5T1d8RsIcIOda3H4ESlv2hzMpAy5TAkwndiJp048wHtsGZ0oj8XlJ2yGaz7/N4cIP25zYne2CzQEY9ED9JB0u7GxAA6WyTCU7mOvCT9udyCl2weFSHNwOmXqMa68X/+1tB3KU9rkl5e07Zuox1kf7MCGJ+eU6WyESt/6KhH2/Q194GramPVHU81LYkxuHnTsdyOT0hSeRuvBVGE+WU8fFYYrT4X7HuXQG9/eFfdpTmyJ35ONwWqPxnQlk1GG2cTqQsuQt8V6mORNSkDPmWfH+lRa/CJiObUXa3Gd9vhNLWp2NvMGyHFH8rmB8jCwi+7iel8Fhqa/9jua+qeA4LOumwXRwFfQqewVAUeexKDizZgtTVscqJiQkgKWuaqrFrbO6a9cu4YAmJiZi2bJlQlTp8ccfxxdffIGuXbtiyJAhoErelClTRKQ1LS2tpq5BtY2bKqW5U2+AI/tIJcqPyIEcfmtYmzmKseR+8Fc4crMq9z+SeUwVT9pJDcmdwvbH/BNFmcPZ/TxQ9U2LTqcCSGpv0Zy3RQ6hWpeTn/lSkWN+FVVqrRc9E3Ipi2guHvMkSdEiTpEw5uxZRtwOU7eRYC3KSBipzcwlZh1MYaQbX/q8yLeNlmmqA1/5f77pag6boF5TbZUUae/IfKjjZH1fy8jbQ6aVltqd+M+iw/hjt0eUvWwwTdLMeHxca6RbKgqoZBfa8ezPe3E0l5HliqHUc7tk4JqzG8PoEWI9XdY+S6P9+d3q4eqzGsHgLyQbKjh1/DrSwwu+/4ei2uzvHcQoZNcRsF7yfFy+g4JZRr4D8j65Q/l+6fQQ6uYDrwmmC9m2mhFwnNgran9TKEzLEodMhuXcO6p5VPJ2NQmBSO/jqpy70468L+5TxAzLBO1Sb/kUhkYdqrxUNqi5CMSts7pixQp89dVXQpadlOCXX34Z9erVA3NY+d9UyGP5GuazZmRkSPn2AJ7Bgp+eQ8mf2qpphvqtkXr7V2FtmLg5U1UhvYfDXFJ9SkURLFdpAZi35c/4Akq+mNS4NoGNzV4K+7FdYqPoyNrht++E/pfCwpqL5gAopAHgG/Emosbo1Arquuo9qGLLHEvoK5Y/KVn9E4oX/9f3UPQGGNKbIuncO8UBQLhW9Nt/UPRbeX3YxIGTxCY1XOXkqsZF+iRruQpRF0Z3G3dE6i2fVcqTY/HxwhmvwLZ7ud+cZ0P9Vki+8nV4c2mLl3wsapt6m6FBa6Te/CmY5xyq7T1RjBd+2YeCEodmF/WsJpiNFR3SErsLp8kX1jCTQQde4ylaXWJzgg6rltVPNuHpiW2QlhQZRdFQcait1/EgJ/dfV/hUJ+a8E/peBMuY+2tHbVKno2wTqaiy8z2Tdu9Pld5RtXW9a+S8qOb88/Mo+fN7zeEbm3cXOdcsFyZNIqCFQMF3T6Bk7Qy/4AS9j6sCatZdzfv8XnerhLMuh3Xc3+QC1WIE4tZZrcWYx2xqOW9dDMeJcmpahYGYEpDxyG9hKWVmv3YBmLsUEdPpkTT0BiSefY27jEww/bqKc5H9f+NAtU3tX2Ez6j1ZFg0MpuNqbssIMZ3PElFGJEs41oYGbUFRAeZreptov2gqSjbMFrm+6iGBM/twJSxYEoOlZSgo5Ti+u6x/C+i4sSalT3PYYT+6HY6j21E0/z04844rm9P6rZBy7b8ipv5bFdTCUV74gTtXOaHPhTD3GC3GAbsNJet/QfGyz0HVZ7fpdEKl2GW3wZl/QjibLINjGfOAwLUSnowcz3kXOevnwVx8CnajRZSIyZz4MHjAo2Wldhf2nyoGo6BJZj2apSe4I6QMOp3It+FoTgn+3JeH+VtPRyrQWxVclT6nc/vyJe3RIKWKBNmge478BSfzbTicXQI665nJJrTKTPSboxv5EYTWY/arYyrm3Ht2Y4zdO4jPIZ/R43k2JBh1aJyWEJHngIJ1uR9c5z4Y4uGVqcPZ4junT28aGohaVzn5DtohSivpzJay/pv4f2dlbQ/8HRe5kcZ3T04HCn99DcV/qGkVOlBsrpyZpENCn4mwjHs4rL1BfIMgRxcOAn7fcWHu43yOy+VUxA/L6rnzdzztti+gryeFVsNZy3i+Vjqr8bw6ER4bywvY967W7JXOSdo930MXRt5q/uf3onTbooiMmpHD9Pt+DqsvUtLUl5l3R3yppd/7Y1j9V9vFLhechdlAaSGgN4o6nX4jei4nnIU5SnuDETpTEhzZh0SE0VtRj86sLqU+WAOWkSAd+09tAOvEJ2Bq06+y82YrRuH051C6dSFcJYUVaoqmXPtutdVz5cBchTnI/fg2tzowabE6kxm6xFQxLmc+harKRXaIG518UpRdjMjaigGq+iam+Iyul5Cqu+AAtu85Ar2jBE69ESlp6bj53HZonZlYCR+2f3/hYWw4mI9Sh0tQbBulmnFF/4Y4dLoEf+zKwckCOwpLHWC+aiyNEdVnL2yLDGt8R1Y3HMrHlEVHkFtsh9MFJBj1OLN1Cq4b2Fj8dzyb2FDtUOhqld5BGc2Qfl95yZrqmgefu0+XHcXy3bkotjuF05+SaMT1gxqjT0vfZXYCGp/DhvyvHkTptsVlzXWCEaOzZgiFdh6QhWukWBdOfwGlW36Dq7RQeWel1FfeWW37a7yz2P55lG5l+6rfceGOryZdL1JN/nuLOLijET/LhMdR8M2jsB/arExFp0NC/8thHfNAQCXhatL85VjDQ8BVnI+cty5yPz+V33Hh7+N8jZBpXznvXu4uBWhs1g2pN30smRzhLWncXi2d1bhdmsgOrGTV90pJB4cPCmGbfki57l3hDIVqWavnw/TDg5qX701oj+PGytG6M4pWIdFZWZ05v8tEtLzyqVCHIq6jo5r/1UNiQ1PBdDoknnUFLGMfCqv/Gnexw4aSdTNRsuIb2I9uq6CeXOlHJr0JkpiP6WXMEynd8Gulv+sSLEi745tqi6pyAC57KQqmPYzSrf4PSPTWDJi6nYekQdeChyCBGp3NqYsPY+nOynVx6YD+pU+DSl3RAVizPy/QW/hsl5xgQM8WyZq53GsP5CNfgzrcol4CWtZLrHSNr/Z9WqXgjuHN4trhY0T1mZ/34gTljL1mNqFnfVxyZsO4jrDa9/6JvM+11VYT+l0C6wWPhf2sBNMBI6rfrzmO71YrbAhPy7AY8ffxrcXhSshGWun058Hfm0rvlNRGSJ08BfqMwMQQNcfgtKNwztsi/7xS/2mNkaSRX2nbsQyl62dWbp/eBKk3TKnWd1bIuEbpQjr9xSu/Eb1TWTXlr++D6tWOY7uQ98X9cJ464P7MMvZBQVuXJhHgQbVt5+8o+u198az4sqi+41xOUaO6eMU05fZ6I5KveBnmzsPkAtVCBKSzWgsXtcKUXC7x417yx5d+a0Lyh8rKOpCdhoSGiMOGPe/ehLQT6ytdv9/cBu83eBB5hsp5L+fl/oQLssteNmVX7jO3xcyOj+Pxy3qHNhb1KuZ8LvwARfPLcyr5kbFVLyRf8X+gE1MXzVWch9KNs1H46+uVHfkwAGGtM0Yuq8scJ/cjb+qNPk91KfJi7jpS5NCylBH0GlK5fgZ74FQxnp+5D3nF2jml4c7TYtYLh3THsSKcyCs/RLImGHDbsGbo1SJZ8xaLd2Tjv0uPggJNqjXPSMCDo1qCeajetmh7Nj5aekREej3t2oGNcX7XalDADgOoD5ccEVRpLeNcX7q4HRJM8R1dLVr8IYrmvFNhCsbm3ZB81ZvQJ1cv/nxm/v7DHkGp1rKhHTNw0xA/dNoq1pLvltz3J4HfTS0Ld/PqLDiF3P9cB+fpyKSbUADKMjryJbbCeOSr7VLWxM796BbAoeS0C8G48+8qOxRywX54K/Km/FUcCtLIurJe/CzM3UZW2xjljeIPAUbhC/73BGx7V/lV1q+Od5zz5H5kv3mhGyRT+7NBhpe02oeAdFajvKbMGyz+/QswIdxZeBrGpl2ROOAKmNoPDFlFNNAhky5VNPcdFC/7srzovCUdCWdeDJ3eIDb5pZvmunP6SNdKvvoNmNoNCPQW7nZF8/6FooVT3bTLvQntsN/UFvsS2mGVdSCc8L2h7Fi8Ee1LtsLiKChrPwgmowFTr+8c9Di0LrDt/AO2favgKi6AqcUZMJ8xSqhV1nVjzmnO+5N8RtuDxcfY+kyk3vCfYC8LuT1panlTb3Bvprw7MrY7C6mT3qngpDqcLvy5Nw9zt5zC/lMlSE8yom/rFIzuVk9QIU8V2LD3ZDE2Hy7Aqn15Ir80UmY1G9C+UZKgD3dvlox2DZNgNugEvXXlnjwcPF2MDIsJPVoka1KMPcex81gRNh4qQE6RDa0yk3BW21Qk+XHadhwrxPqDBZi3+bS4H61jIwseGt3S73WRmnuo/Tz63W7w0MCXJZoUh79HcwWzZhkJIld45oaTWFcWgW7XIAljumeia1OLpvIx8zZF+4P5QuyqPdufkYkuTbTbhzIX1ge271sFZ1EeKFqT0GNMTN5BRTYn7vpiO4pZoFfDGqea8epl7UOZoriGzmTO6xf4FDPT12+N9Du+FvR71Zwul3g2Z206hd3Hi5CSaBDrOe6MTJGfrBp/z0o3zUPB90/5ZYUEM3jm66fe+GEwl9SKttRyyPvsbtBhpelFlPmDSnnFpRvnoODHp5WUD7ZLa4TkK14FKZfSai8CPAwie8G243c4i3NFtJ37Vh5gFC+cUjHwodPB1HGwSK9xZh+s9necW4RSqJDrxPNp7jK89i5OHZ2ZdFajvPB5H92G0j0roOMXqcx4QmkZ/4gQLoiWMZeANB77/jXlP+x6PZIv5xd5qJtSV7LyGxT8/JLbmdWnNUHa7V8GJWpUtHEuir/7u9tpKDCk4KXGzyHbEHrUIDXJiH9d3TFa8Mh+ubHMzULu+9e6BZLCBSXhzL/AOuGJcLsJ+HqKQuVOvREu5vNqWOLZV8EypiItnU7JN38eq5Avypy91vWTkJZkwO7jxSgodcAehXzScT0ycUnfhqCwUaxswbZsTFl8WNl46iAiuGe3i1+lT6olbzrkQyTNA0QqICeZDMLRofNzPK8ibdhs1OOmwU0050qa8bajvEf5urD9LUOaikOA2mR0Uh+YthM5RdoK0aSG339e6CIlFDPL+dcVQvhI0/QGmHuOhXX8o27BniU7cvDh0sOgMJn7N5KHKY0teGK8ImLGclV0Uu27V/g8nAplnRL6TID1wn+EcmmNvoY5xcwtVtOCkobdjKTht1RWcXc6ULTkExTNfds9X7JUUm/9DPrk+jUaAzl43wiwpKBt/7qKiRdGsxKFL1PgF78h1Lf4yz9gbNlHCHPFwpjmRbaFSkfWW+sh9c5v6ixzLhZrUB33lM5qFFEuWT4NBTNe1LyDoUknkS8TTukLX0PnRoF5Q0odKmUDYMhsBetfnhLKrxXMYUPh7LdQvPxrN6XD0KANUq55q8rcIorJ7F/7OzJ+vg96p0KVPG3IxHsNH8ZRU8W8pBGdM3DDORXpZVuPFuL/Zu9HUWnlU369TofL+zcUES9ZBzI6DykVHwu+ewqlm+ZUugHFiFgax9iyp/szipNQpr5083zt9pPe0VQojs7oAVdJPvKnPSJOf71Nl5QilIk9IwCMkj43Y69QQA3U+OwxGuttzCn925hWaFO/XGSJUbk35h7EliOVnSu2f2RMK7T2aB/oGCLZjo7cizP3Y3PZGHko9Fyciiwxwv38jH1CjErLfK2NL7xIlR7dPbNCjisPJxhl17IOjegstQLfRbXBuPa/bDiFr1YeE6XftOyuEc3Dc9AdNhT8+AxK1voXx6OgH50jR6dz8cKcY9hzgpG7yjhP6m3B0NKlKF44VRGZ82PinXX1mzC2Kk8f8feOY1dsb+o0uDYsb8BzYFSVZb/IrKGJsnW3fua3fFLhTOYG/s+9RzC27oPky18GHQNptQuB4iUfiT2h3++aJV2k2CQNney/ckA1QVO87AsU/vKqcjfWeB59P3hYLa32ICCd1SiuZe6UGyqpr7pvZzQj7aaPYGgSGaqr2q/j2G5B72GpEtX0yZlImTxFOKya5rSj4KfnUbK6vJ6kqeMgpFz1hs88v30ni/Gfebtx/Y6HkVlSfq9PG9yBlUlnV7hN2wZJePD8FuDG2Nt+Xn8CX604pjksbkZvHdo0riM/UXx8qqVrKurlf3Ef7Ie3uO8nIv8XPIqE3hMqjYHR2PzP74P9yNby9qZEWC54DAm9xlfLmD1vwoLkeV/cC8fR8pq6FHtitMTc7dwK4yF1ls5qICq8LOcysnM9dGtmEeq+B0+X5/gx1/TWYc00lVPpCL86e79Q/lXNYjbg9uG+c1CrG7T1B/OFU63mvI7qVg/XDGgc7dK4QU3T6XThH9P3ClqoltHpv2lwU2w+Uojftp72mYMZ1E29GpNi/P6kTrXmsIy5zlMWH9E8fFGnTvotc58ZdQ/VWDs7/8v7YT+40aMLnRLKd3ocTBqMKE1rhbctN2OfvrLoUoeSLbg+ZwpSSk9UoP3qEpKFurAq/sObMIVFYSuV56+pN9d6x6mfmXuMQfLFz8SEkh0qvuFeVzT/XyhaMEXpxmBCylWvVanSLGjDXz4gItvCqAfQZTiSr3gl3OHI6+MMgZw3/wLHyX0+R2Vs3AHWv/wThsYd4uZ7w4P0nDcmwJl/UoybtPb0e6dLZeA4e7bCGY50VsNBr4pr8z65Uyim+TPWdjS17SciUoaGbQGDGSUr/wfb9iVwFuWImo4JZ10BMyX/DZWdPTql7tyCohxx8qnml/C+prZnwXrp825KBOlxM9afAjespDu2rZ+EUd3roVtaMYqmPVzBuabyX8GgOzFjW7EoxSHaN0hCm8xE/LFxD646/Draliinsw6dEce7X4OUkTcLpVJGTRlpYv8D2qX6jU4wP3BbltKeVD5SNRm1pTFn6aFRLcGoiLToIMDoA3OXHUe2ik0gS9YYW5yhGengCPjDULqZ7bdBZ61X1r67ZntGJZn7OWfzaVHXMTXRgF4tUjD2jEzNkineOaWpiUb0bpkscgipVqplpLyXbp4HR9YO6JIzxTNvbNa1UtM9J4qFs+orX48O6llt04SwUYeGSW4nhc8z81yZU8ocV+ab+ouQ5hc7RA1V0d5iwhnNrKIuaLxYqcOJN+YcFO8AWj2rCY+NawXmK8aDMZLKAwI+N2LjodNhcIc0UQeUa0HK9lltUt10akYM950sEfOZu+U0ThcEHjn3N1/e955zm4v8yVhStyOxJsz7fXX2AVBdmcYDFL73i0od2J5V5D4U4AEh6c8D24dJDafy+MY5cBzeDJ1zl8XwAAAgAElEQVQlHabWfQBToqgZTcZPeR1PoEifhOXWoWhiO4gWpXtQoE/BKWN9tCnZAbOr/NCnWJ+ErCaD0GzsbThkS8Hm36bDcnoHSkxpMLbui2Ejh6B+svYzrL7jeChn37MSrAdLY43W5EtfqDPRVeepg8j9781umjbf9clXvRYQw4ulwvI+vxf2A+vcjyTLoukzmggF1oSzr5bUy0h8WWPcBwXS7Ic2aY5Cl5SKjL/NC1qssDqmRG0SHrwzt53GGvKWUfdXprZrDcbpENUjWG+Yc9cnpcHYth8SB18PQ0bz6hi+vEcVCEhnNYqPSMnqH1Hww9OB3UFvUHJ4dHo4i/Oh86gPCaNZlDjQinQxZ8+2b03F9mV3NHU8R/wQe1KN/zl9L7ZnVczP4kbsxsFNMbClSaEHHdlW1oMOSxv+BdMSL4TLSyDp0lMfY3B+OX3U1HsCLBOegMEQnOKqNzgkp9Ex/r/ZB9wRAEZkn5nYpoLYRmCgylaxRmDO5lP4YnlWhWgmWZVdGluFg+RtFFn5ckVWhZxRtu/axIpHx/pgBgQ4ydMFdjw7Yy+ychV1S29j/iY36WEElQIcSeybsdbrQ9N2go4r7ex2qbhjeHz8KLOsCsurqExVHlbcNaIFzMaqV2beltP479IjEQPYqNcJwSs+G/4ErCJ2wyh0dKrAjse/3+VWteb3iXmpPDTifx/KLgGFrBjNpjVIMeOVS9uBc4+4Oeyw7V6Bgu+eFGJMgdoJY0N8XP8OHE1sC5PJKA4zPRkSHKlnjqu/fvn7lvPvq925d2QcMcdNp3EYHOj4akq7wtlvonjJJ+70oNTJUyvQpquah+PEPuR9fFvlnGSdXtTYTplUnttaVV/y8/hEIP+bxzTL03G0rMObcn3F6gpxMwuHHXlf3i8CPTTWkE+5YYoI+FRlLMdX8P3TXhUzdDC26K7UbpUWcwSksxqtJWANSNabW/NTpTswn05vyYCD8vtluZ6RHgZpEGl3/k98YWmMPny/+oTYBPqz1qW7cNPx15DiUGpLluoSMK3e9VhpPQcu6KCHE+fkz8NFpz6DHkoumbFJZyQzxzUlcoILFMH5ca1SqJx2ZutU3DWiWa2h5EV6veOxP4q4PDdjX8Qomn8d1AQju4Rebog04DfmHhBqsZ7GTfnQTum4fmCTuKLCRntNp/15DNPXnXA7hWQwUFk3VkbndNmuHHyw+LDbEWmSZhaKxQ1TAo/6vvvbIfyxO8c9L84nLcmIW4c1xRnNKs/vnfkHwfq42lmcChrJiQZc2KsBhnZMR5K55iiJk+r9zvxDWF1W+5f+54W9G+AirxrBLG/04dIj7kOi/m1SRQoGhaaiYSV52fjz63fQ8uAcWJ15Anst17jYYMHclPH4LWUMbDrPskzaV1x9ViPBwqjKRI7b7DfcZVtIHyaNmHTi2mpkzuR88FegLPKUcOZFsE74e1DTJfU698ObhTifllkv+mdM0kGCmoRsrI0AS/0tmoqi+e+hwsuzrDXTycjSYzQ+Xo2OKtPgVEvofxms4x/xO1yKwvEAxnZ4i+Y7iPXmk4beGK9TrjPjks5qlJbatm0x8r5+CCirUcaCxcylM3UYBMuI26CzpAmFw9J1M4UYhWeOaSSGRCc1/aFZsButWL0vD7M3n8KuY0Wwa4jFeN+PdKwHjj7lpmCR4nvE1FxsKLKNmehatBYGl+KoGuq1UMQZElMiMWx3H4z4vDb7IDYeUqiKjACc0yEdNw9uGnWHYvnuPCzYflrQkvu1TsEFPSPnhEcUpDjvjHmbT/y4p0I90HCG3KdlCu4/PzSl0uwiO576cY+bBslxMFLXPCMRFP8a1D6txlM9g8WWEeanp+9FbpkybLemVoFvQpQclKrGJwTXZu0Hy6vQ0i1GPHVBG0H/DcbooM3ZchpLd+SIUkS9WqbgsjMbIMNq0tyMsD3fj0t35oDR994tU9CtqQWf/pEl3gGqkRacbjGICHR+iRPzt55CTpHj/9m7DvAoi639bkvvIZ1QpQooiFiwgCKComLvBfXXa0VsqFiuvRcs196w9woWmoCidERFOgFSIL333f2fdzbfZnezm+wmuyHlnP/3uSGZb7753pk5c86chtG9IzF1ZMfkEW/+moNfNhfZZU+6sN8yMb3JWue5QKV2dUapja8zXwAzRQcgGzIzbT+7IBP/ZJYisTYTt+29Bwar++zESBqEjJNfxdJtJaq8jWNtYXdrguWY7j3FlkG4OWIG0bL3b0J9xmrb+WIKQcT5TyvrYFckukaWvz9dWbVJ+sgERE57VSVX8oXqdq5G2XvXN8o1Lg8HHTwFEWc84EuX0rYjIGCuR/kXs1C7cbFT7VSGBdGgQjfvsBNuUGE/ARfA2oKH1aJiq+s2LbH1YjTB2KOvSgLFtemYx8JaXoDq3z+wyd/lhU5Zjh2HQM9EugOHjDnHSc7lnqr+9V3U/btElXQKGnmKlMxpy9y18KwoqwEAlzc1jAvRsu0pd4RLX242UyrLcFR8cS/qszf6ZUQ1xgjMHfsW1u2zoMTFkuTNCw4vX4pzC9+EocF66u4ZdcCf+wTobhwIomDy6A+7sXWfrcYbFdZLj0zGhCGByUDIeMn3ft+r4t4ciXUa6QaYHN11b90DMX8rd5YqAZhWfX8Q46XpCuyrOyYtvM8vzMTmvbZ1REF8wpDYDpdUyB8Y+drH3A0Fyu2axHCA64/riUN6+/fiyZsxUal86qc9Kq5Zm6OrGmInA+CM6s2QkFNSi+/W52PVrlKnjOUGnQ5mlzWdHheCa8elIT2uY8TWc3hUwMnPNBqUHIbbJ/XyeBnBpHn0hNCyL6fGBKvSMSwH5C8qqqxXpZNYA5cUZS7BnTkzEW6x/duVTP0PU2cnieNav6ccb/+aY7/QcG1PzwB6CHhD9Xs2oGzOdWDyILXmkgci6rJX1UVyVyNmTC//5HZQSSfZ4vlm+Jwgp373epS9e61TzLEjVsGHno3wU+7savB16e+xVpeh4vvHULvhB/t3UvkKm3RLkySFnQEIc3E2yliSzzXMQG9Q5SJpYKndsgz1u9Z7VFDdfqfBBFPf0UreZdmmqiWv22PfVXu9ESFjL0LYCY2W3c6AV2cZoyir/p4pqxXln85UCWs0Cp96H1jPzb2jU+MAti38FHFL3Je6qYgfjOSLn4IhqFEY2v7rXMQvf87tF+wIHogXE+9EvZPrlOeP5Y00BVVDg9cX3X3zP70X0dt/9vCQTimqQUOPC+hN257CGtz99Q57/CoVFd6cUzj0Ny3fVopXlmTCnfH56AExuPrYVH+/ssv298f2UuXOqSXKcvehdOsd3adRMWLynNkLMj26DdOF8fD+0co90ZdyIlRUV2WU2q1LTHg0fUI6mO21uxMvaGhd1bLuMj786XMO8PlCoC04UglhLL1jxmXtUmp/V43hRcv23Gq8sChTWWmbo0P7RKmETB2BqPQTUy2ZWJBBhwem9msxUd2qnWV4ftEeh70Sodyw/RG+mltWq5ThwvI6u8t1nKkWM0ufQmie+0va8FNnIXj0mXZIWebssR92YbuHLNFnjU7E1IO9t3LXrP4KFd89ZHd7DBp+IiLOethnJa4jzHlzYyh9+XzUN+SiYLhO9I1fK08vX4nZ10vfuhL8X3cUcswVCJtwna/dSvv9hIClLA9lb10Fc+Fu+x7QGU2InPZGQ5LF/TSwtrzWXIey925A7Y6VTT1peKC0+fJcBxgMsJrrm/avN6g8Ma6VCNryOfKsDQFRVv28Emr/XYyKz++Ctc6Wkcx0wJGIOP8pewH05l7HpEJD1z2FMRW/QYfGFP9lhih8EHc1NoY21rzU+rm44GWMrljulGCp1BCN9+OvxqaQEaoZazz2TQjF4OQwdciv213WJJ6LlsNhaeFOwyt7+2rU7VzldsiMu429faHbDMV+hhR/Z1XgxcWZYJZV9T0hBpwzOhFBBr2ydh6QaIvL9US0kDAbZq3ZqjKeumtP17T/frcTGfk2y44rMSvx7PMG+PvTulx/FO4XbSrGp6tym62PyeyuVxzV1KV7VUaZSpCjuaa6A4humpcdmdxiwq3aeisYl/nj37Z09iRal6Yf39NtGaUuNxlefhAV+f8tzrLHiWoxjf5QUDwNgSV+aMmjMsWaryyroskQxwyMUTWZA5Lgx0tMXJsxLGHeX4X4ak1eE6uq1pZxsUwalhQZBKPB2R68t6RWWY25Jr3hWb4O05HHEbd3l+fYEyqRX143Lg3De7Ycj0x34JcWZanLHRL7+r9jUpWbvC9EPsAY8dzSOnUpxLX0yepce0knLcnaVcemInrvalR8dR9Y8sZOej2Chk+yuZTqnC+V/swsx+tLs5vEnvNZ8ncq10leZramVbX8o1tRt2OFenVXyQ5M+cOc9TfMxTmqrFf18vds0BpMUJfnB53ky3Q6ta3Z8AMq5z0Jq5u6t6xuQEu4Piqh1f1rD1qK96oSaaynbYhJtSlPBt9CAto8iC7UATNB1+/drLL5G+LToTOFoeLbh1Cf+Zf9K1mXPPysh2GI9847oSPCo8rYzJ4KKuLNkk6nyjkaeg5TpW5q13zt/AyThvU/DMyAzDJcFuaY8YJoeY28qPk6tV50I01cEBBl1Z9LwmJB8QtnwuJQoyrqmo9gTBnU4lto4Zj5xQ7kF5djbPkiHFaxFLH1BdgYejC+jzkHxYZYleDIlYzWOhxVthBj2N5ciH9CR6r2JYYYpMaEqGQTtF4xDo1ufsyguGBjIZY1xHNR8D/30EREhxmb9F7y3GkwF+5xP3ZTCOLuWtouyioH8MNfBfhgRWNSBwo7RMNo0KsyFtPGJrtNBsI4tHd+y1GKqtVqVe2P6B+NS49IUu0pRP66tRh/7CxVWWI9XboFm/R481L/1sRtcVF0sgZcwx+vysXP/xQ61XKcNCwOpVVmVVqEmUbHD44BLdXuyoEQf87DF2vzVFboxKggVUqGygwVHCVQAkiNDcZdJ/VWiXM80S+bi5Xiy3GRekSacOfk3l4Lsp0M/lYPlzzhfoeLGl7MMPu2u7rIrX6Jw4NcB6/8kq1KYSkXcdv/K6Lr6f2n9u2QSYw41BmfbEV+Q/kXd1hQMWOs7eH9otQap9LE5E10fSUP4veaDHqM6ROFaUcl+yU+2JXH6eim3LDmyScvOSIZJwz1PnQiu7gWd365vXHfRJjw1NkHNFHAPa2FOrMFry/NUeWb+DO9IDgOXghqRE8exs6GBxuUpcNSlovKBS+BuR70Mckq8z0TALHmsyuxF1pnP1uTh/W7y5QnjOa6zLYsNUR3Z2+JylzJK+fba8CqPAw3fA5dJ1WMKKyXf3Yn6revgNVMnskNZsOedd2jpr0GXUjLFxce8bNaYc7dhqpfXkPdjtXQmYLBWrY20ql5o0W8LVS/ay3KP5sFS0WBmhfOhfGAw1VNXNbZFfINAWVE+eq/SlGF1WJLJKbT293C1dro0QeRV7wBPeNSOzHxAqr4yROdvs3pc/QGZfkMGXuJUsptSUh1ym24asELqFUxqIkIPvgU0K2dWcJZ+oqKfvWyd1G3ZVmz6BiSBiD6uk86MYIdc+iirPprXpj999uHVLC27VQwInzSLQg+7Nxm30DLAuN3WLKDsZn+ie4D0mKC8eDUvm3K5shsibY0903JkDII0Ve/3271tihQPzN/j1JgbKJto+LOn+j+dZqL+xfdCh+ZpyWQcWivAygsUYHaW1rjlVcI6xLePaU3egXA/dhfS3B/9sNENFQwWTpEE5QpiJ4/JgnjBsW0eWjZxTVK8WQSHu1CgZlirz42rYmlnH+nZYi1OjU3ZCq1145PA5MICTVFwLUGLZUbKjn+dsPNLavDw99noKCC5YOcL99am1CpPeeTF2a8OPOGiB2tqEzaVF1HrxDn72VGXtesvN7069jGE4/T2owfHKvm0dc6scsasgNr5WHo4nzNuJazA1MZ/2RVLhgL7fbc0OtAy/mlRyR7rfy2hAkvAV5fygzQja7+E4bG4YIxiV6ff6yvWPnTsw7ZgU9D2JQ7O112YFpUK755wCn+0BG/sCkzETKmeZmkJbyb/N1iRtmHLBnSIMTrdDZXyGETfe6KDyhX47f/D+ai7CYX6MGHTEX4yXeA5fyEvENAZXB+80qYy/I8lmWj+3v41P+qi4fOTkx8VPb6NGWVd0eUycNPntnqzzQXZqJ8znUeDTlMxiRxq62G1+ODoqz6CVPX7L90H4i44Nlm3X8pgL+6NFu5nmoCvqfhnHlIAk5gYiEX4yrjktiPK503Jgknj4hvU81Ia30tSl46B5aC3U36DzvpVoQcfoGf0POuG5YdWZ1R5rYx3dVcYxDp0qbFbHn3huZbUflifUK6kgo1IsA4shcW8SKhwn7ZQqs1rRuDksL8pvAwpvWFhZn4J9uWEIXEGOYZJ6RjqIMSSnfLx37YbXcl5ljo+rs/y7J0hvXy/h/77C7TdNucdXIfv691ZqddvMk5gZmGDa3uj5zer0NaVbUxUnm744vtHmv1+jLPvFB8/Kz+vjzSpC1jvDWXXdc/8oLm+fMHtKrcl9vswMemqXq8zRGt5fd8tROMT3VH/RNDce+UPq0aU3PvJW944sfd9thrJlG7bGwKxnt5UdY0O3AwIs5/FqYDDm/T/LT3w0zUWPbW/6lKA+4odNxVCD3uP34fFpNJlr57DawN7zUk9EXkZa+2qpxd5U/Pofo395fk+qhERF01B/xfIe8QqPjiHtT8OddjY5UU66Rbu5SLdfXKT1H5fdP8L64lHb1D0LWVFdXLP0Dlj8+4fTzizIcQ1AY3+9aNqes/JcqqH+bYWlXSkP13q+qNcS+Rl70MY8/h6t+0JmTkV6kMhqwXyJIZS7YUg7fXToXNdcDQFJvlhzfmVbVm5QbJeKFJw+Ld3o4zMQprku4qrEF1Q/ujBkTjxAPdt/f1c5kxsWrh/1C/byusNZXKbSJ45BQEjzm33W+db/xoa4tJTnz9Piq5tH6kx4agf2KIUnh/3VqCzOIaFV/GeF/HxCpx4SZcdHiScq32JcmPr+PqyO3pzreV8WhltSoWjXhtzG5UVIknM7nSeu1vqqy1qOy1dN3W9g7naMpB8YgMMYKZWlk7NKvhAodC61mHJOCk4fF+F5D9/W37uz/ynIfnZthjHXkpo7myDkwK9Qt+d365Q8WPuyNa/144f6CKSe/ItGVfJT5fnYfMIlvMbVJ0MI4eGI0BiWHYlluJHXnVKj51X0lts6XCaHk9vF+08gzoEx+CnnHBCA+yfTtjUBnTy4zo9CAY4LCX6MXAueLf6XbvqZwLQz/evKz1oQuu2YE5jpNH9EBYkF4luOO/SVQUMwtrkFFQpTJu0/3XUzhFr7hgPHJG2xR0T2sjo6Aaz/y8x86v6Q1z/XFpyi3YG2Lsnsp0q2UHThqAkMPPVzFrxuSB0Md1jORZzX0Lz2vWQYXZ/WWBachxiDz/KW/g8K2N1arKeFQueKHB5ViH4EPPQviUmT4nqyp75z/2EjtNBmEwIfr6zzp1TKVvwLa9dbPhXMYgxM1a1qUUVSJGQ0vNqs9Rs+4bmPN3q2RixqQBCD3+Or8kjlL9r/gENeu/g5nGHLrbNzA9lrqJOP8ZmPq1sR6tuR71mRtgLtij3PbpXtxsLLG5DvV7/lIWX9U+eaDKfNxVSJTVts4ks/9+fDtq/11o7yn89PsRPPIU9W/GZ738SxYqaiywwqoEPhpHHZVUtmMNwKuPScXgFJuAT4WAa5/ZeU1GfbMWUt6CO7b3eyF3cx2s9dyMFuXezJI1+4Oe+mm3Kl3gDyJGpx4Uj7EHxCA61KBiWbWEMsSSmBJ/CpRfrMnDDw5JeihUX3xEsqrP2d2IgvFLi7PAJCeaN4CjYBqIcheuGHN+Plvj7Gro6K6qjYf77LSRNlfLQCYL6iprgM71n63Kxbd/Nia6Ia7kWRT4mYTN17JBjtj8vr1EJcah26Y74kXQY2f2A5WMjk6OPII82pHn0hWWf2dt3yd/2oMcN54vjt9HjHlpxj6GpISBOCzZbLuM4f/xb4f2jQJdcRmf+m+Ord6o4vnNAMVLI8aatoXoyTJ7YWN2YFuuAJsXC915c0trlWs+E1CZWxgPx8F8AdeNT2vLkJp9lu7sj8zNcKrVy3JXtGJ7QzVrvkHFtw80ZgxVH6yHPiwG4Wc+pBKudGSq3bgQ5Z/dZROe3VDIUZcibOL0wHwCa1zSHXjzUlv/Oj3Cz3wQwSMm+/Q+xtvW/vWT22f0EfGIuvo9VTdTyDsEyj++DVwX7kgfm4qY6V+rsitdkVSiU+4FnR7McuzfBF1WWyJVc71Siit/eNoOofIAuPZjxTdaQ4yRrfjyHhXDr+LOOf7QKISf8QCCBoxt0qVq/8XdqN38K2CxtdeHRqv911VqR4uy2pqV5PBM7b+LUPH5rMbsvwPGIuK8J5VCx0yID83NQKGb+CytC1pajxkYDcYWNZcspo3D7BKPb9lXBSqsjsk01JkIqEyXVJQciUIjrX5N2uugLG2Mp/SG2M/3GwqU0qopaFRYTz24ByYPi+82JVAoHL/7+16PbpysR3vD8T3RIyLwGRupkPIC4fM1eR4tS4xPvXFCT7u1ypu57u5taLFjch0mI3ONOTh+SKy6pPE1Sy8tkYxhZBZyd2WhNMxpxb3y6BS/WHA7yjwyI+6TP+0GraG+UVP8fXmeOpYvPM5T36rW9bzd2Jprq8/ZFuIlBGugDkhqPnt7W97B9fXT34X4cOVeu3WXFwAsVUUPjJaI7rPMgs8EQq5EATRy2msd0qpnztmMquXv2ZQ8i/u1pguLQdRlryiLS6CI7sBlc66FpbxQvUK5A6vswN657das/RqVPzyjMgC7I2OvgxB58Yug9UrIOwTqtv2OsjnXN+T6cH7GZv2+M6DlB70bZSdvZTGjctHLNvd1c71t7ScPROQFz0Af42PJQ3O9cjGuXvFxUx4UmYCQoy5p8vv6jDWo/fcXDzzrVZX1uLOTKKttmUFm/33+dDCAXSNmAaO5nrfivJFev9s906UwwSQmZx+S2KFjtNoCTyCenfdXAT50yArMd9AazVhSV4sMxb25G/Lx8UotU6FtRIxvvGlCT58sOJTdN2TSypBlV444h7Susl5odyBaLVjj0JPgPfFAW1Ke9iLGaj/0fQZKG0oaub53yogeOG+Md0JSe425o7/n3eV7MX+jTdB0JVr8HprqfZZgJrdi6SAm3XLMBOuu734JoSrG2RuFoqNj6Do+lk5iPLAj0a2XGYN/21qMnQXVXiV5c/fdjAGNCjFgncs50xoe565/hq7c/dUOr2N06frPuNbl20pUqIBGvOBgOSJaYwNNVFg/XrkPPCs0Ylm2Wyb2ajHRlKVkL0pfv8whu63zaEOOvBBhk24J9Cd437+5DlW/voPqJW8q10dPRLdAJj0yubHKeP8yb1rSHXgOKn+e3dBYB5UU6bR7mn/YakXVopdRtextj8o2O1AhVtNeBUusCHmBgLkWpW9cjvqspnWMjT2H2RT/0Obj0L14izQhAuY6lH9xL2r/bvQKMA0Zj8jzGy2u3gBlKS9A6WuXeKxl7E0fjm2CDz8P4Sfd7utjHa59t1dWLcXZqFr2Luq3/Q5LVQkMif0RfOiZKpOdu9T1Fbl7ULDgTVh3rkBobRGM1oYDwmBE6djpyEg/WblpMQlMcaXthsUd0TL33HkDxJraii3BuCjWi6Ug1TsuBKN6RzQbP6q1Z3xZ7/gQjOzVfHtPQ6LCunpXKSjQO84t+yyrNqvMs317hKj44uFp4W4tRLTM0rVu/r+F2F1Qg/BgPQYnh6tMxnTba2/ieFbsLMXCjUXYU1SjlAUKuqceHI+IYKOKwdu8twp/ZZVjZ35Vs0I1LRhMytNexHjtB7/PaOJSr71/VO9IdYkh5D0C93+XobKSe6KESBOGp0Uod1UqXCxzk1dWi+/+LMDfWeUq3CE9LhgsifXHjhKnusX0gOgVz/0Rp+phMraT8Y6M1RzVK7JFRcL7r+h4LWld3p5bBcZck1848qyC8jpVk5TK3YJ/Cz0q9sSPccR9eoRiQGKowj8u3Oa+5y8e54ocL6amf7zVY6I6ugPTK0gbT2yYbTwMo6Al3cbjDCoul4p10+JrgZkrng0vLcq0h40wvwBLV7FWtyOPo2eTI5nzM1D68vl2TynX0Rn7jEbU5a8FZtCeeqWb4YZ5qFn9Jcx5O6EPj4Wx/2Ewpg1DzdpvUL97XaPbcoM1k2U3dJHxYG1NXXgcTH1GqUv0diGLWdWurd28xPY6Zgc+82EEjTixibcG/8zsrcyLUf3Hx3b3ZSpQtnjhaHVxULPmC1irbMkV9ZEJqo4lKxIINY9A1fznUfXru/b1sTVkCHYED0ZVbH8MH3cSRvaJ9tlTRjD3jAA9Cso/m4n6nWvsjahPhJ14c0OJnObRoztv7frvUTH38WYvbXyZA2OvgxF15Vu+PNIh23Z7ZbX0zStQt2ud8yGq1yPsxBkIOeLCJpO27ZmLEFu8scmhuzl0ON5KuhnVVpNXt+S0UjxyRr8uaUnokCvdj4NivU/GReXZ6y06u+wx9oyWW3eJPZhY681l2U3cIZlg5aHT+/lxlN51RSvae7/vbTKeyBAD6i1QVuSWMlVrb6KbaHtamWlZpbLKiwJ3RDfICw7zztXbO7S6fqs3l+Vg8Wb3mUQdv54xwKwXOjA5FPll9cgpYdKk5lWRk0bE48xRCX6pLdoVZ4Jc5Olm4vJZs5XZg7W8B+2BAZW+u77cbq9x7PpO1ri+/vie7aaE+vLNZdX1qnZ5aZX7S2OGLdx/Wl+nLlXZlNcvhaWsMW7bsYFymzzlLl+G0ea21cveRuXCl+x1YG0dMpZWZ8sj4UBBB5+M8Mm3KiVvf5J531aUvsPswA3uwKzhOe21JtmBmYWZim3djhWNCrdej4hzn0TQ4HF291Qq5RXfPgxYbHOprIKXvARdSOT+/Bzy5jgAACAASURBVMwO/W66hJd/Psu+RsoNUXg05TGU6W2WVF7gXHVsKo46YP+ulQ4NYisGZ60sVknO7KEEugZ94sim+oRj91R0Kz65FXW7NzTZ160Yhv2R4NGnI/zUFjwb2vKCdnq2WyurzOalbjDcEAP4OcmORcnzM7YgbPM8t+1zTD0xO+keVOobYyko8DOjrFbr0fFBZuy98qhUv9Waa6f1Iq9pQICZMh+Z59klltaTI/s7HwJU+qis7it17651tptasYEEnEoes78yTtEb0ut1CDPplTXMlWitmDm5t7IstxfRUs7kZWt2NS1nxL13x+Teyool5D0CrmV/HJ+kcMP4bV+Jngx0yZaSTy0jR+sq4/JdXe15DTB5P1y+kGfN+X2vcuV2JWYuvjXAMagtI9Z8C1q0WcbKU8ZkXmbxUksjlajk6/s9JviJOIf1Q2khbB9SbsksRVOU1ewLjX0PRehRl7SDm6+X383swMvfB2u1227vdQgefQbCT2F8pF51wouByrmPo5b1WRv4CrOXhp16d5NMqpyXqh+fRfWqzxoGoEPQQZMRfuos6EyBi4H28ms7XLO67X+g7P3pdkt1vjERrybcin0m5/hJejvcd0qfblvZIFATV79rHco/uc0eu801GnbqLASPmNQkOzbj5GtWfYbq5R/CWl3a7JDoccBLGkc3+PKKSmx+52703dc0ZrVCH4Ht4x/HuGOPCNSntlu/3VpZLXv7KtTtXO0XsOt0JjyY+jSKDXEq0c+UEfEY0zdKCdJvLMt2clXsyvFZfgGzk3Ryw4dbUVTpPutiaz6BitXD7WhdpdJ815c73F6mOI6fLuvMmsw1HRqkV+Uh6IatEUtk/GdcqspW2t5UWl2v6iuyVrFGHOP1x/XEQV6WrGjvMXf09/2+owSvLXHmWbyEuO64nli1s0zFtDqWc/L0PTT83Hh8TxzSu/uWeWrNXDNx2AcuMa50u755Yq82ZWNuzVj4DBXnZ+bvUa7GGtG6yxjUY9shBrW14+Zz5HEsl+RJWR2cHIa7pziHLlgqi1H+/o2oz/y7yauN6SMQedkr7ZYRvz57I8reuEK5yrojxnCGTb5VlZPrcBldrdaG7MCN7sDhZzyI4INOUso367LSTVkjfXicrYZqrIeENBYLyj++BbWbGvoDEDL2YoRNvEkSBDksDmttFUpeOhuWomz7b9/qcSPWh41psoR4dr96ySBxBW4Lk/HwLOOEqWPQe4DE8jmRFz4PY59R9ifqtq9A+ad32JRUh4tgegzoIuJhyc+wt6XhLOz0+xA8fJLTG8njHvr8T0zLfhJ9ahsTw9XqgvBB/NWo6je+CY8LwOcGvMturaw2l9LbV+SrDeH496S3cEC/dPSKC1EeOhox1o8xSSo+KyYYB/WKQBDrHQh1agRmfbVD1Tr0FzF7LcsstBex/u+sL7fbyzy4vpfK8+kjEzA0NcwpGRUFP5YQYi1TWlQZO8e27RWP5jpOuiqyRBTdgllrlUleWM9RqPUIUPlnBljyLJb9ODg9wl6ehcnjGC/MuPxfNhd7VFwZq/jk2f0RFdI1yyK0Ht2Wn6RFkDG91XVmdZ4c3Mo4+5bf5F0LWli552l5p0WVLrT92jEG1btRNm2VX14H8mlPSeEYS0tl1TXDNS15dVt+hTl3B+p3rwctVYoMJoRNvNFtiFBrx9jcc8yuy1Alrfara9ugg05CxJkPBeLVfunTvHdrQ3bghmRXekODJdTq9E2mvqPBkn/6mOaTFbKGZPn708HYYhKzAjN5E3OMdCTaW1qLb9fnq/rjjFPvGRuMCUNiMaZfVEAVQ0tZnnKrZs1gbb3+FH8u5oWcCKubE5oeSC9eMLBLZWBvj3VAfrhyZ5nKMbCnsEbVnubFF0vlafWn6aJfvfIzVM57orEGa1CYrQxNWBT0kYkwZ//rdBFFy2nwwVPARG668PgGHrRNufXzosyYyrrZzpKWJsfV11ZjaNV6pNRlgRbVjOAByAzqA+bumNEFcnd0a2W19u+f1a2GP6gibhCSrnodQWHeFSD3xzulj/2LwA9/FeKDFXv9NoijB8aoWrvtRSz78s36PI8x1lcfm4ajB0g8S3vNR2d8D+t+0hXbHVERuHNybwSb5GKuM85tVxgzy5bRDZiXK+6Il8qMu73qmFSnWrmObZWlavZUUBGwKQBGRP/nIxiS+gccImYGpXWGiZXcUcQ5j3U4Rc11nNW/vYfKn55VNYHdXWiyDmTkhc95XQPTXJiJ0pfOAS8UFOkNiLr8TRh7jQj4fHj7gvu+2YntebSoNX4x19plR6aAuR0CRYzrrVn9hb37ldHH4cPoabB4uEruERGEp8+xxcELeY8AL2nf+rVp7pEm3nHMcr3sLVQteKnFzvXxvRB5wbMw9Ojjk6dAd5HjOqyyWlpaiuXLl6O2thZBQUGYNKnR9M3f5+fbEiCMHTsW8fGNMSctrgiXBoxZrVn1hT1wX/G+yHiET70PpgFH2VvTmkB33tSVszG2fDH0aIzbqzTFInTqfYgffoyvr5f2nRgBron/Lc7EqgznmEnerNEN1V285KacSiXcF1Q0dR/m7T5rtzIzcCAPD1oiWf5n8Sb3iXT47nGDYtTB6ugh0ImnSoYeQATe/i0HizcVO8WzxoQZcfWxqSpzsJAgsD8R+DurAq8tzUJhhefs/MxqzdhVujUzw7Er1WesRdlHt8BaVaL+ZEwZhIiLXmiSMMjf30mrbvnHt8NS7pLwyWhCyKFn28rodHAmXb3yU1R+/5hbaPQR8Yi66l2fa1HW/vUzKr65H7xIIBmSBiLyoufAXCP7m1iTnaWT3BFlgntP6eP/JHMWM9SlgErEZZNNdwYPwBs9bkKZofkLZ4bvsL41PWGEWkaAuTIempvhFHrk+NRZhyRi6sge9l9ZK4tQ8vJFsJTkuO2cVtPQ8VchZPSZgNH7ihDdTY7rsMrqp59+isMOOwwxMTG4//77MXToUFx55ZVYvXo1fvrpJ9xxxx349ttvsW7dOvVzWFhYy6vMXQurFTV/fo+alZ+BN3ZBg45G2AnToYuIc2q9dlcZnl+UCbPZgjHly3BUxQL0qM9DUcoRGHDObQiNab3C3LqBy1MdAQGGGcz7uwBLtxQrV7PD+0Xj3EMTmy3DUVVrwUcr92FVRqlSSh3L4PB+89C+UbhmXFpASnlQwX5k7i7l4qkRY1LpyrunsBoJkUHq5pcWVSbUERIEWkKAe2DpliIs3FSsytiwDM15Y5JAFzMhQaAjIMBkch+v2gee4+RxLJ3EfBKOyQ/J7Vje5taJvRAbbsIXa3Kxdnc5EiNNmDg0FkM2vaGSBmkUcswVCJtwXcA+j5bc0v+dByZgaWTWITAmD1RlXYKGndAkWUvABtOGjsveuwF1W39z34PBhOhrP4YhwTkrc8uvs6Jq/guoWvaOvakhrif00SkwF2UjaPAxCD3+WuUm3N408/PtKkTGHQUZdXj+vIGI8ANv3LRkHnSrP0JIVT7qIpMRV/iXPYtsrjEZj6c8gjqdTfnhBQw9CDIKqlXYBmsRO7rGn3hgHC5uxxrp7TEndNWl1fGPHaWqxNfxg2NxpB8yHzO7+M2fbvNYzoshSI+c0eh1YSnNQ8nzU+0XK67fbkgZjOhrPvQJku4ox3VYZdVx5t577z1kZGTg9ttvx5NPPolp06YhLS1NNbn77rtxww03ICkpcCUqXLOmhpr0uOvkPu2a+dSnlSyNOxUC63aX493lOWB8FYkeObztvGxsil8F/tzSWry6NNspUQrj4S49MlkytXaqFSODFQQEgbYiwPjbn/4uVMKso9LK853CfZFDnXRe6E0cEIKTtzyC+oyGGorGIESc/QiChhzX1qE0eZ6WVBV7uGeD7W96oy2Z0ITrO7wl1fVjKr64GzV/uq+ioAuOQNR/3ochvpfvGFqtKnNzzfrv3Zb60Mem2Tzk+o72vW8fn+CFHZMOzvurQNVR95Q1ncrqM+cMAD1P2kK7Pn0EEf98CZ1L6SL2WasLxhsJN2FTyHCVkO2I/tGqtjUTf2rEmuosk6XJHFzfvGA8YWhsl7ik3plfrTzYmMdCI8pVrAnd1vJ6f+4px9M/7/E4x0zweMkRyaoaBI0RdOUvffEcWCrde7KZBhyJyItf9Ho5dFc5rlMoq48++qhy9b3qqqswY8YMzJw5E8nJNnePe+65R/0+PT3d68n2pSGZ0LPz92Dt7kZXz2vHpzUpS+JLn9JWEHBFgFbN/36b4SQ0JUYF4Z4pfRDbxoON78opqQXjaBjDpVFCpAmzTu6DHhEmmRBBQBAQBLolAsxy/PzCTJQ41WN1H2F5/Uhg8MLpSgBVOmR0MqIuf8NzBttWIlr+wU2o3bzU/jTjOiMueMaplF4ru273x2o3LkL5x7e6fa8haQCipr0KXVhMq8ZlrSxB6euXwVywy+3zxp7DEXnpS6BSHEj6Yk0evv0z36ua5LwgvueUPq3O7L3pl7lIWHSPx4SGryTcho2hBynr7W0n9lLJ0NwRPbpmfrHdycLKjO9H9Gv/rP7+nBtaVJ+dn4n1e1gGpql3GOPTj2llFvPVGaWYvTDTY54P7Tv41j49QnDThHTEBdWhbM71KlGbO+KFSvCo07yCoDvLcR1eWV2zZg3oEnzjjTcqa+ott9yilNXExEQ1uQ8++CAuu+wyr5VVxsCWlTWty+hppfy1tw5zVhWpeqmkwQlGXHF4HHhDJiQI+BMBZhD8YHUJdpc0Fnrv2yMUZx0UCZY2za8EmFg1NVKHhGa83s1WIKPYam9Pzvr938Vg1jgSvXsHxetx/iGxbb7h9ef3S1+CgCAgCOwPBJj1etHmEvyxpw4V7stgq2EdlBaCC6w/IfSP1xuGqYNx+CRUjZuBjGKgoAoINQJpUTrEt6L8p85cC+Pvb6F+TWOSnLqUETBMuafVCt3+wNP1nfWLX4Lp7++dcoNYQmNgHj8dRofcII7PFVYBe0qtqK6HwrJPjA5GN7na9N/cDWvGCrefyRIgOOc5WGKbWm4NZTkw5W2BrrYS5qhU1CUfCKves8WzKj8bwQVbYaqvQEV4GoLSh+HfQh0WbC5Tmbsdiec0z2xPZan79QjBuSOjkBzhuxxZMOdm9ChqyPbr8tVV+jA81vdFHNo7AhOGRLcYG7t6VwU+WFeu3IJJ8eEm/N+RcUgJrG6v3pVbAWSVWVFnBhLCgb4xzWPBIVKu4XMMr02J1CHJxcu73gLklFnw6m+FKHNTD57vHZgYguvG+pY4kvO4KsuMbzYUua0zr00DZSvHOY8ONWLcoGgcUr8BUUuegL6iISu2EsT0qBs0AcaJt7r1lvC3HGc0GhEd7dt3dwTeoY2hQyuru3fvVsroAw88gJQUW0pzWlKvu+46u2WVf7/iiiuQmupdFlUqqjk57gOdXSeGG/iFVWaUVDfsZADXjjagR5jvDKYjTbqMpeMiQP763gYzsssa15zraE0G4IzBBgyKb7oOGcvw2UYLthV5fr5/rA7nHmhwe/B3XGRkZIKAICAIBBaBvEorXltjBgVFTxRk0OGaotnoX7zS3mRhysX4xnSi/d9UVs4aakC/FgRw13eEbF2IiJVv2CVec3gCSibeC0t4QmA/vB16D85YjpDNP8JQmoPatJGoHHUhLCHuheedRRZ8+q8FNQ45sfrE6HHugXqlqDhS9M8PwJS7sdkvqEsehupBJ6ImbZTKHmzKXo+opc9BV9+oZNalDEPpMbfAamp6y1C1Yw1S/pgNo6XxJmNL6IF4I/4mVOsb2/NEHp2qxwn99Pgr14I1OVYUV1vRO1qHjBIrqlzyKl4wzIAD4nyTJ01f3IzoqsYaqo4fzhjVonNeh97kfem29Xut+HZLo8cV3WWvG21AbKhv4/JlCa3fa8G3Wxov5fnskB56TB2sh7vk8fUWK77814JNBY0bk+M8bZABwxN14L5dl2PFhlwLKpvmrnQaWmwocMOh3rth842Ldlrw2x7n8Y5N16sLiY15FkQH63BICsMHgK83mUGl2ZEignRIDKrCobs/xEGVq1Bo7IEV0ROQesh4DOrR9AYmEHJccHAwevduv9KIvqwHb9p2WGU1OztbxadefvnlGD58uP1b3nrrLSQkJOCUU07Bn3/+ic8//1zFskZGRnrzvV63qTVb8frSbPy+vSH7n16nYvvo8y4kCAQSAbrqvv/HPpW0yUZNXdKiQo2qLEi6Qz1RMvQ5y/di0aZCt+4vRoMOkw6Mw9mjEwOabTiQ2EjfgoAgIAgECoHiqno89H0G9pY0Y14FEFufj2tzH0dSve3iu1QfjVcSb0dmUKMwyLhE1s1mneIWiYkeN8xD5bcPwVpni7PTRyUg4pzHYex1cIuPd6UG9DBiEsBCZeJ2VpiOOiAaVxyd6pR8sPq3Oaj86TmvINCFRMCYMhj1uTtgqShs4iQafMhUhE+506mMTsHu7aieczVCapu2/y3iOHwee6kqZzQsNRwnjYjH0JRwtwmamftkzu85KkZas77RVffMUQkYPygWPJ+bo9yyWiz8twgJSx7BqLJlbpuWRR+A9OnvQ+9DVll29PHKXMzdkK8kDdKQlDDcPLFXq12Vm/sO1qZ/7IddIB6OxK9nndKzDnG+mCFWn67OxXd/snSUM0bBRj1ovcwrr23RNVd7F+NzJwyJw/FDY1WiteaIHhefr87DL5uLQPmKxHj2Cw+jLuDedZ2x7vM2FGDx5iKXJEwix3m1ST006rDKKhXV9esbfbyZFfi///0vQkNDce+992LfPltq8A8++KAt3+/xWS37b33DFevwnuG4+YReAcnQGpAPkE47PQIsL8OEDf6iA9PClYIrJAgIAoKAIOAege/+zMcnq3JbhGdk5QpMy3/B3m5b8GA8n3S303OTh8XjwsNbTv5o3rcVpW/9H6xVjLMDdKYQRFw0G6a+h7Y4jq7WYM7ve/HzP7xwbUrM33D/aX0RF+6cZ6HklQtgzt7U7lAUGePxRPLDuHDcQBw9IKbFKkLUd+Ysz8GCf52T7TAbL9eJpwz8xOODFfvQp+pfXJf7GIxW92WYasbfjJTxF/mMAxWxR+ftckq+2D8xFPec3KdFJdrXlz3zs3MOGF+f91d7Jj+64LAkEHt3ROvm7AV7sH5Puf3PQUY9Zp3UG8SmJSoor8PT8/dgd4Gzi3hLz7X09+4qx3VYZbWlCQvk30urzXj4+wx7+nFm95p1Uh8VMC0kCLQXAqwLeOun21BrdvEpaeUAyGDvP9XXEgGtfJk8JggIAoJAJ0SAQiotKUu2FCOnuFbVnxyYFKqSstAaxEyjGflV2F1QhRPyPsRxpfOga7BJrQw/CttChmJn0AHYZ0rFsLRw3OHmgtBaV436HSthzt+lrHI1Kz6BuWC3DS29EWEn3oSQw85VLqtdhWgxZTIrlkxJjg7CsNQIlfuDClxmUTW251ZhR14VVmaUOSX9cfx+Wh8fO6O/et6RzPkZqFr8qkpiw6RL+h59EDxiMvTx6TDnbEZ95t+oz/oH1krNW8k/qNbpTDBe+w3ik3yr7/rzxkJ8uirXbnlTFQD6RmFgUphK0pQWG4whyeH4Y0cJ5m8swq78CoyuWI5Tiz9GlLnxG+oMIbBaraiK6o2w0acj/ojTYTR5X6vTEQVmxGYyUdYl1uiwflEqQVN6bDCG9/RPIOuNH21V5XP8SVwXHGO/hFA1XiaxogV30aYiZBbVgDI8PRwyi2tQ4pDlm2OgXE9L6xH9o9T6ZHudTod1u8rwb06F3drMhJRXH5uGwcnel8lkmUJaWGm59pQh2lccuqscJ8qqy0qhy8Ez8/dgnUP23+vGp6n030KCQHsiQMHonq932NPLt/Xd4wbFquLfQoKAICAICAJtQ4BKxfotWQj7cjqSqnc6dcZEN2/HX4/eo8c1qV9pra1E+QczULdzVdMB6HQIHX81Qsdd1bbBdbCnN2ZX4LkFmU7Z6Jk8kMrZb9uKm01a46Ss6nW46YR0HJQe4TEbbnOfXrdjJSrnPg5znvN8tRauiuAeSL7pU5jCfc9mzEsPWjMdM/Q7jsNk0KOu4aL66LL5OKvoPeigXVzrEHLE+Qib7D7Lcmu/J6+sTmUIrnUNugRwcHokrj8uTbnBtoX8bVntFR+Cu07qjQjXYGY3g6RM9drSLGUtdU1+RYVX86R0fTQlJhgPTe3bYsIqd7iIHNeW1dL4rCirLjiu3FmKV5Zk2zfrwekRuOH4nq1apP6ZIumluyJA15z3ft+r4lRcKTLEgIkHxjVxG9qyrxKsA+auPW/4e8eLd0B3XU/y3YKAIOBfBGqqq5E3ZwZCM1c0UZ5KDTGoHToF6XHOPJfWv9qdq90qW6b+hyPi3CfA2MquQoz/fWReBugp5A9ixlXWIZ8yIl5Z0nylzK2bUP/htU4WSq2PzSHDQHdu19jIo8t/RpTZlr/EkcymcESdeheCR0xqVf1bWpJfXJQFxqO6oxBLFSaWfotxZT/CaG2wRuoNCDvhRoQccSGgb5vi6O6dv20rUTVK3dHJI+Jx/piW3do9zQnXAq23WQ71T7W2jEalddmdjELFnmVjXIleD7dP8lyex904qKT+nV2BBRsLsSGzHPSksJH7clW940Iw/YSeSIxsncVa5Dhfd6j79qKscolauUyt6lbl9s+32y1ZZIqPn9nfqZiyf2CXXgQB7xCoqrPgmZ93Y9PeSrVOydAZN3HVsak4rG/Temh0O3l6/m7lzqK1DzbpcfWxqeqAFxIEBAFBQBDwDwKWoiyUvj4NlvJ8v3QYcuRFCJt0s1/66iidvP/HXvz4t/sYVEdFhfJWZIgRYw+IRly4EV+szUN1rcWmQvDgU3KaM00dmYDTDu6hcolocpw693Q60LXWkfh7htTMXpAJ3ZbFuKjgVQRZa5QLtxU6ZAT3x8sJM1V2Xz7KPqJDDThqQDSGlvyB5N8eg8FMpbJpquiwk25HyGHnqHIkvtL/Fmdh+fYSNQ71n9UKq872r/ML3sDhFUvsXepMwYi44DmY+h/m62u8bs84zVUZ7ss70v36qbMP8Lovx4Z0M773653uFVUdVIIqWs2ZNMmVqusseG7BHvyTXWGXaxhzOu2oFBzbypqpfAeVVeLPREqeiOvxmnFprfpm7SGR49oEn3q42yurjKP4am0eNuVUgrGqmtuFUa/DZWNTMG6Q7+4dbZ8W6UEQaESAN3N0o2JB6FCTXsVY8LbeU+5A3hRuzKlQGS3DgvToEx+KnnHBrXKbknkQBAQBQUAQcI+AOXc7Sl+5CNZ6WwbftpJpwFhEXtyYtKmt/XWE55/4cbdSCtwRldCx/aMxJCVcnWuMK9Sy4mYV1aj44Ipas0qoVFZdj/kbC7GnsBFrnoF9E0Ixtn8UtudVq0tautUmRQfh2IGxOHpAtKov/k9Wubrw3brPJueRUuoykV67E6GWSuQZk7A15EDU600qNnlQUhjoppwSEwTKgqT8nf9Ct2+zqrOKsjzUr/oYqLdZRHVBoQg5/HyEHHulSo7lC9355Q7U79uGySVfom/NNgRbqpBrSgFdyQdW/2OPh9aFxyHi9PtgYl1apb0HhmZ8sg15Hiy9hIJyMRU4d0qlpxFRyXxtaTaYdEgjZhzmBTpVf877ganusyhr7XnZwH5olaUrMi2evXt4loO8Raeooh63NJMbJC0mCI+f1ToF3XEMvspxNJ79I3KcHcJurawysP+/3+7EjrzKJm4fTIxw8wnpyoolJAgIAoKAICAICAKCgCMCyrL6xjRYytxbVs06AyzQq3ANTZSwmuvsdVRd0QwZezHCTpzRpUB+//d9+PEf91ntWXaESf96RDpn9/UEAC1sDI1ZtrXETcKapm6cVGr4jLdEpZixiSwN1xLVblyA8s9mAZzPBgo+eArCT70b8KF0zKu/ZOLIX69Hau1ujxfK+thURF01B/pw95lrWxqrL39/YWEmVuxs6nLr2MfA5DDcPCEd4SGGZi/BOSO78qvx0NwMp3kY3ScKN03o6cuwAtaWVs9ZX+7w6Ip9ZP9oXDu+bZbVgA2+G3XcrZVVlgVheRB3lBoTjHum9AFjA4UEAUFAEBAEBAFBQBBwRIA1USu+fRC1f85rAkyZIQovJs5CjilNWeluOzEdkcZ6VHx9P2r/+qlJe31EPCKnvQpDQr8uA7Iq/7EwE+sdElY6fhyzzV59TKrPRgFa2Ci/0WLrmiinJfCoiDKBkDslllbVy8emeF2upW7zMlR88wAs5Q3KuE6PoMHjEHbSrdBHe5chOGvuywhd8brHYRt7HYTwU2bBkNR2615L2PDvtFwz8VNpdfMxxvTaOn5InIodZuyoO2K+DbqBa3GhdN2dMCQWp49K8CohkjfjbWsbZun9cEUufvy76YUK6+DeMam3VAJpK8h+eL5bK6sPzd2FTTmNabod8WQMxBNnHQCmqxYSBAQBQUAQEAQEAUHAFQFrdRnKP5yBut1/AhaLctHUhURiXp/p+KFioGpOp83zxiSBCWrYvuyDm1C/Z0Nj+9AoRJz9aEBjEffHzFGZfG7+HtQ2JLHRnFcZD9o/IQS3TeqFsKDWGwSWbinGu8v3gvGQnogeswadToXCnDy8B8b0jVTZYF9dkgVa1eiHqtPrMCAxFLee2EuF2vhC5uIclL15OSwljYYPY9qBiLzkJYAuwVYrdEyEZHCQJa0WwGJWFnllmS/1UNfXYETszEXtnnCLZZve/i1HldEhPnq9Dr3iglWSrJIqZyWWsjK9EIemhqsyRJp9m3HKn67eZ79M4DycMSoBp49M8AXedmnLi4vZC/dgY3YlLPwIHRBk0OOKo1NAy6rQ/kegWyurLyzKxIod7t0deFP0yBn9EO9SfHr/T5mMQBAQBAQBQUAQEAQ6CgKqbmrGWpgL90AfGgVDymBURfXC4z/sxs78KjVMuqTeOrEXBqeEwVpX1dA+09Y+dQgMPfp0lM/xyzhomXt47i4w9pTEWpfnx0k5XAAAIABJREFUjE5UPzOzKnHwJe7R06CYMGmVm0yxGuZnHZKI4WnhKlGmY6gnx5VRUG2LcY0KUnGzVLxaQ+Z925SFlfVcNVKWVYsF1poKGHr0QtDIU2CI7wPz3s2oz94IPqNq61o8J/fRhcci5qbvoAv2vrZna8bv7hnWKd1dWIPqOjNSooMxNDVMKauLNxWpCgWOSYkYLtcrNgT5FbXKYh0VYnRyq6U8fe6hiSoZEq2rHZGomP+bU4mckhqEmgzoFR/cbG6QjvgNXXlM3VpZXZ1Rpm5T3LmRsPDuzEm9VYIaIUFAEBAEBAFBQBAQBHxBgAI/4/WYpZ3UMzYYd0/p02FcIH35Fl/a0rWSJVlYCpBEJfH/jk5VyYv8TR1GjrOYUfbeDajb/of6RPeFUHz7elO/MbaEW45WWd+6CEhrKvrPLshEbmmNsqbayP0XM2HWDcf1xCG9IwMyFum0eyDQrZVVTvHHK/eptOrM1KURg+z/My4VQ1PCu8cqkK8UBAQBQUAQEAQEAb8iQGvNx6ty8cNftng4ulOeMTIBU0f28Ot7Olpna3eV4X+/ZNnjQpmwcvqEdJ9dbL39ro4ix1kqClH2zn+U1dQr0umVRZ2W0/qsjQDdgxtIH5OiXMON6SO86qq9GzFb7bKtxXjvj30qBtgd0ZvgthN7YVBy+1uG2xsPeV9gEej2yirh/WNHKRZvLkJuaS0O6hmJs0Z3nODvwE6/9C4ICAKCgCAgCAgCgUKACusdX+xQ7oVKYdXpcP9pfdG3h28lTnwZX35ZnapT+ndWBZKjTZh4YDwO6R2h3h1oouLiWK+ebp8MqWJ5kkBSR5HjSl6+AOacTR4/lbVS9bE9ETRiEoKHTwYz/ZJq1n+PmrXfwFKSo5I0hU643ucyOIHE11PfN360FYUVjRmRHdvRzfvNywbvj2HJO7sYAqKsdrEJlc8RBAQBQUAQEAQEgY6DwJZ9lXhm/h6UN9T4ZHbgW09MB0u3+JvW7i7DO7/lqPhCjYIMOpxwYBzOH5Pk79c59cesr28sy8Zv20rU71mj9OIjknH8kNiAvrcjdV7+wXTUbl7mdki6sGhEXfYaDEn9mdWpIw271WNh+cdtuba4bFeKCTPixQtsScaEBIG2ICDKalvQk2cFAUFAEBAEBAFBQBBoBgHmxZjz+17M31ioWtG+ee6YJFX2w5/ETK0Pfb8LOSXVTWrH8z03TUjH6D6Bix10zf7LUKpbTkz3SyIlf+IUyL5q/5mP8k/vdHLp1d5n6nsoIi5+HjpjYK3Mgfw+175/3VqC15ZmOcSuNrYY1TtSZQoWEgTaioAoq21FUJ4XBAQBQUAQEAQEAUGgGQQqasx44sfd2J7XmB2YFkdWHGDZDyZfaivtzK/Gw3Mz3NYQZd/jBsXgyqNtbqf+plIqynN3IbvY5u7M5JSzTu6D3vGBc3f29zf4q7/KH59B9R8fOWX67egxqG359jd/zVFZgh2JGZZvPL5nt5z/tmApz7pHQJRVWRmCgCAgCAgCgoAgIAgEGAFmB2Y5F5ZLcSTWGr1mXCpG9mqb1ZPumFRW6Y7rjg7tG4npx/vf0sW43JcWN2b/ZXUSKsWByP4b4CnyW/c1G35AzbpvYSnOQdCgoxF63DXQBXXdREO/bC5S7t9FlfUY3ScKZx+S0GHL1PhtkqWjdkNAlNV2g1peJAgIAoKAICAICALdFQEqqY/OY+3VyiZuulGhRtwxuRd6xbXeEplXVqeU1fxy9wlvWNuUbplUjv1Ja5j9d3EWahqywrKu6Y0BzP7rz7FLX4KAINDxERBltePPkYxQEBAEBAFBQBAQBDo5AntLavHAdxkorW5MfuT4SZOHxePCw1ufBIn21BcXZWLFDlt9U3d0cK9IXDc+zW9lZKrrLLjji+12Bdlk0OHh0/shNcDZfzv5UpDhCwKCgA8IiLLqA1jSVBAQBAQBQUAQEAQEgdYgQDdgZk/15KZ7UHqEqkvZWtpTVIMnftilXDFJdMftERGEWrMFxQ2/4+8HJ4fhymNSkRwV1KpXVdZasG53GbKKa7A9twr/ZFeofpj999IjkzF+cPfJ/tsqAOUhQUAQ8AkBUVZ9gksaCwKCgCAgCAgCgoAg4DsC+0pr8eD3GU6Ko2MvbbGsMm70yZ92q9qqJNY3vXViLwzvGY6C8jo89dNuUJnVKC7chLtO6o2k6CCVndhbYsbhZ37eY08U5fgcE0XdMrF7Zf/1FjdpJwgIAq1HQJTV1mMnTwoCgoAgIAgIAoKAIOAVArSoMnPqr1uL3bansnfThJ4+x5RarMCXa3Px9bp81S8tqmeMSsDUkQn291Bh/WDFPqzKKAVL6ZB6RJhUIqRhaeFejZ8W1RcWZuKvrDK3pXGuG98TR/SP8qovaSQICAKCgLcIiLLqLVLSThAQBAQBQUAQEAQEgTYgwCRLLy7Kwqa9lagzW5RVk8omiT+fNjIBZ4zqAb3Oe3vnjrwqVRanvMaWZbhfQihun9QLEcHOiZQYX/rKkiys3VVmfyffc8PxaWBNVFpn9XodQox6GA3O76eivWVvJZ5bsAdVdRa3CJw+KgFnjmpUkNsAkzwqCAgCgoAdAVFWZTEIAoKAICAICAKCgCDQTgjU1luwPa8aBeW1Sjn8am0+ckpsLrpUHs8enYCTR8R7pbBW1Vrw6A+7QIWVxPqmMyf3Rv+EULdfw4y93/2Zj7kbCuyxs0FGPaJDDSitMiMsWI+BSWE499BEZXndXVij4lO37K3CzoIqlFc7l91xfMmRB0Tj2nFp7YSivEYQEAS6CwKirHaXmZbvFAQEAUFAEBAEBIEOhwATL9EyynhQUrBRj+uPS2ux7iotoe8u34tFm4oaFF3gsrEpOK6FBEe05H67Ph/frM/zmOyJimpokB6ZhTVwX7W1KYxnj07EaQf36HD4yoAEAUGgcyMgymrnnj8ZvSAgCAgCgoAgIAh0YgQYQ7o6oxQvLc5CfYNPcHSoEdcf1xNDUsI8ftlfWeUqhpSxpCTGnk4/Pl0pmS0R37lwUxHe/32v/Z0tPcO/0z243txUfY2PMOHuk/sgIdLkTTfSRhAQBAQBrxEQZdVrqKShICAICAKCgCAgCAgCgUHgl83FeOe3HLvySOvmHZN7Izm6aYkZxr7O+moH8srq1GDCggyqvqkvyuLmvZV4dN6uZpVVZhUONenRMy4YE4bEKeX55V+ysHVflYq55d+ZWZiKdd8eIYEBRnoVBASBbo2AKKvdevrl4wUBQUAQEAQEAUGgIyBQa7bis9W5+OGvAvtwBiSF4ZYT0hER0pgsiTGvzCr827YS1S7IoMMVR6di7AHRPn0G41yprHpKmMS418nD49EnPgSJUUEqyzCJiZoyCqpRVFGnlOS02GAV3yokCAgCgkAgEBBlNRCoSp+CgCAgCAgCgoAgIAi0AoHZCzKxeldjiZkRPcNx4/HpCDHZ3HuZzfeFRZn2eNNRvSNxw3E9YXLJ4NvSqxkj+9gPu7GnsLpJU6Neh5sn9gLfLSQICAKCwP5EoMMrqx999BEGDRqEUaNG2XH67rvvkJWVpf596qmnIjU1dX9iKO8WBAQBQUAQEAQEAUHALwhQiZy9MFOViiHR1XbCkFhcfEQy9pXW4uG5GSissCVjSooKwl0n90Z8eOssmyyh88ovWcgvt7kTk5jg6cxDEjB5WDx8qKDjl2+XTgQBQUAQcEWgwyqr+/btw2OPPYaysjJMmTIFU6dOVWNftmwZ1q5di+nTp2P+/PlYsmQJ7rjjDkRERMjsCgKCgCAgCAgCgoAg0OkRKK6sx73f7ERhRaMSGWoywGy1gm7AJJacmXFCTwxPa5v8w3fN/asAm3IqlLvvsQNjMbxnuKr7KiQICAKCwP5GoMMqqwUFBcjOzsb69esRGRlpV1YfeOABXHnllXZr6r333otrr70WycnJ+xtLeb8gIAgIAoKAICAICAJ+QWB7XhWeW7AHRQ1WVNdOxw+OxSVHJPvs/uuXwUkngoAgIAi0EwIdVlnVvv+9995zUlZnzJihLKlJSUmqyX333aeU1/T09HaCTF4jCAgCgoAgIAgIAoJAYBGgO/DDc3chu5gxpU3tnP85Ng1HDfAtqVJgRyy9CwKCgCDgfwQ6nbJ6yy23YObMmUhMTFRo3H///bj88su9Vlarq6tRXFzsfySlR0FAEBAEBAFBQBAQBPyEQHapGS8tL0VNfdO6pnzF6PQQnHeQ5zqsfhqGdCMICAKdHAGj0YgePXp02q/odMoqLanXXHON3e2XyupVV12FlJQUryahoqICeXl5XrWVRoKAICAICAKCgCAgCOwPBLJLLXh9TY0966/rGIYlGXHe8KY1WPfHWOWdgoAg0HERMJlMSEtL67gDbGFknU5Zff/996HT6XDhhReqZEsLFizA7bffjvBwSa/eaVehDFwQEAQEAUFAEBAEnBAoqKjDw9/vQm5ZrVtkpo1NwfFDYgU1QUAQEAS6NAIdVln9559/8Pbbb9vBj4qKwvXXX4+QkBDMnj0bTMBEeuqpp7r0BMnHCQKCgCAgCAgCgkD3ROCHvwvx6ap9TtZVlpMZmhqOmZN6QS+1ZbrnwpCvFgS6EQIdVlntRnMgnyoICAKCgCAgCAgCgkATBOotVqzZVYYFG4uQkV+FmDAjRvWOxEnD4xEdahT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REWe18cyYjFgQEAUFAEBAEBAFBQBAQBAQBQaDLIyDKapefYvlAQUAQEAQEAUFAEBAEBAFBQBAQBDofAqKsdr45kxELAoKAICAICAKCgCAgCAgCgoAg0OUREGW1y0+xfKAgIAgIAoKAICAICAKCgCAgCAgCnQ8BUVY735zJiAUBQUAQEAQEAUFAEBA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Q6pbL6+eefY8OGDQrt8847D0OHDu18yMuIBQFBQBAQBAQBQUAQEAQEAUFAEBAEPCLQ6ZTVX375BevWrcOMGTPw559/4qOPPsIdd9yBmJgYmWZBQBAQBAQBQUAQEAQEAUFAEBAEBIEugkCnU1YfffRRnHvuuejXr5+aAv774osvRs+ePbvIlMhnCAKCgCAgCAgCgoAgIAgIAoKAICAIdDpl9c4778QNN9yA1NRUNXtPP/00DjvsMBx11FEym4KAICAICAKCgCAgCAgCgoAgIAgIAl0EgU6nrNLl98Ybb7Qrq0899RQOP/xwr5XVyspK5Ofnd5Hpk88QBAQBQUAQEAQEAUFAEBAEBAFBwD0CJpMJKSkpnRaeTqesPv744zjjjDMwYMAABfojjzyCSy+9FGlpaV5NwpYtWxAWFga9Xu9Ve18b1dXVoaamBhEREb4+6lX7QPdfW1sL/heo8Qe6f2JPjAI1fvZfX1+P8PBwr+arNY3Ky8sRHBwMMpdAEPsPCQmB0WgMRPfoCv2HhobCYDAEDJ9A9s/1WV1dHbA9EGgeFOj+A82DAt1/oHkcF3178CDhcZ7ZS3vw0M7Mg4THNX80BZoHBbp/4XEtix6+8gjKe4mJiS133EFbdDpldcmSJfj1118xa9YsMNnSggULMHPmTERGRnoFMZXVPn36ICgoyKv2vjYqKSnBvn37MHDgQF8f9ap9cXExcnNzA9Z/UVER8vLyAtZ/QUEB+F+g8KHVnN+gXWZ4BaoPjYh9WVkZ+vfv78NTvjXlGk1KSkJ0dLRvD3rZmv3zhs3bPeNlt/Zm7J9u+oG6MGD/jFHnpVMgiP2np6eDwlwgiP337t1bXUgEgrg+c3JyArbHhMc1P2udncfx67hGKdgEKnGh8Ljm11Bn53EUpLOzswPGg4THNb9+RI5r+WQVHtcyRh2pRadTVgnenDlz7K6806ZNQ2xsrNeYirIqTM7rxeKmoSirLaMnymrLgqgoq54xkgu55tdPoC/kRFkVHtcyAs23EGW1eXyExwmPa+seC7TRoa3j8/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00ZsyYgcjIyIAA/+ijj+K6665DVFRUQPp//PHHccMNNyAsLCwg/T/zzDM455xz0LNnz4D0/9Zbb+Gggw7CIYcc4rf+OaeHHXYYjjrqKL/16djRZ599huDgYJx66qkB6f/nn39GSUkJzj777ID0v27dOvz777+44IILAtI/U6z/+OOPuPHGGwPS/65du/DJJ5/g9ttvD1j/77zzDu67776A9L979268+OKLeOKJJwLSP8sAPPjgg7jjjjuQkpLi93eQb956662qf9aP9TfxkGLfV111FQ488EB/d9+kv//9738YN24chg4dGpB3BYLHaQO1Wq344osvUFtbG7D9/N133yE7OxtXX3213/D5+++/sWbNGlx66aV+69Oxo40bN+LXX39VaygQFGgel5WVhTfffBP33ntvIIYP9v/CCy/gscceC0j/OTk5SraaNWsWYmNj/f6OQPO46upq3H333bjkkkswYsQIv4+/rq5OnS9Tp07FmDFj/N4/O7z//vtx/PHHB0wOevvtt5GcnIzJkycHZPztyeMWLlyI1atXY+bMmQH5lmXLlmHBggVqTgJBHPtXX32Fe+65ByEhIYF4Rbv32W2U1aKiIjz//PMoLS11AvnOO+9Ejx491O/mzp2rDuErr7wSOp0Oy5cvBxftTTfd5JXy+tBDD4HvcST2NWTIEPWrDRs24KefflL98eePPvoIFC4OPfRQnHfeeS1O/lNPPQUyfUci86RyR9qzZw/ef/99JTi+++67SgHR6Nxzz22RCb700kvYsWOHU//nn38+Ro8ebf8dv/Guu+4C/5cKlEYJCQlKWdDr9R6/g5uHAoMjUcE79thj1a+IBZV59k+65ZZb1P9yLvizO0Gbc7Zo0SKnPqdMmYLx48er32VmZqoDnko8x8j54djPOussHHHEEfbnCgsL8fDDDyuF8PDDD7f/fsmSJfj222+d+qci7ajY/ec//1GYH3DAAardf//7X6Vsn3LKKerf3GQ8qPluHtQ89DT67bff8OWXXzr1TyH5iiuusP+ODPPyyy/HoEGD1O/YV69evezKK9cS51ujPn36qAsL0qpVq/Dxxx879d+3b19cf/319t/xu8844wz7On3llVcQERGBiy66SLXhmqJCqxHnmOPhut6+fTso3DsScaZiql2YvPHGGzj44IPt64jfy3lxVF6/+eYbLF26VHVD3KgskPbt29dEieN+dbzw+fDDDzFgwAC1jzj2rVu3qmc5R46XHvPmzcNff/3V5ADS1pn2DfHx8bj22msRExOjfsXx8lsmTZqkBEYKviRiNnbsWPUzv1Hbb2eeeSaOPPJIOyQ8MCorK+3/jouLU+PX+qciX1ZWpubzgw8+wNq1a1Xbk08+GccddxxY25cYsw2JF13Tp0+3P//cc8+pva8Rx3rzzTfbhULOHfcd1wQvPsiDSLy8Of3009UccvxUcDRKTU217z9HTPl3k8kE8s3o6GjVfP369SC23Ld8D/c5ifvI8YJFw5n7hHyR/ZCovP3zzz/2d/OHBx54AOHh4ep3nDPySirc/Pm9995Tv+eauvDCC+08Z9u2bXjttddw8cUXY/jw4U79Of6D88l9RzrxxBMxceJEp7bkD/w+9vf6668rvkTMvb2scMSY64PrRCNXHsff85yhgunIyz0OHnDCuF+/fmotaVRfX6/2C+efQgrn9JFHHlFrh+uNa7El+uOPP8ALOBKFz9tuu83+CPsjL2X/nB/is2nTJsWjeYY5nhWO7+FZwTklcf6vueYap2GQB3Hfa4rAq6++qsbvqLxy3RJbkuseI//md1Po50UqL5wdafbs2Tj66KMxatQo9WvyNO5JTXklj+Y7tX3Etco9oBGVIe4ztiP/4fpwJG94HNvzDOA5S1y5BzTi+Pn74uJi9SvyeEfiBQFJO1O4Zn744Qe1JxyJCgMVfxJ5WP/+/dXP7J88RJNPeFYnJSXZH6WcQz7D857EOeXcOo7D8SzhGUPseElL4vzywo3vIXF+tfOQ/yYP4mUEv9mR1/Oc5nmtkScewQuxZ5991j7+adOmYdiwYfbnyDO5pz3xODZ0XD9cC1QMHYlrhBeHJPJFx8tt8nauGa5h8irtvOXlGdeowWCwd8Xzlu15bjsaDcibNm/ebJ9H7YzjL3hmUT6lMWDv3r1qrZF45lMW0PonjjwjyEdc1zn5InkxiWfVCSecYB8TL3Qpd/D8CgoKsvN2rg/KL5rcxj3EM5fzSj7oKM9xjZDPk6hQU6bUiOuWci15JNcGcaKsnZiY6HTeko9TkSK5rnHHuXA8R4455hicdtpp9j+78jiz2YyXX35Z8TdNZnGaWDf/+PPPPzFnzhz1l4EDBzpdvLF/rjWev5TFKM+Rf/K84gUd5aeWiPNPnkBKT09X2GjE/rlXyCspC3BONHLHu9y9a+fOnaoPkivG/B3x4DiJjat87G7tt/Q9HeHv3UZZdQV7xYoV+P777+3MnjdnXJQ8cCkEUaDJyMhQhxc3oCZYejtpZPZcTDyENaGOhzyF5wkTJmD+/PlKSeOG5sFHQYWLyFuiIEXGQobCxUriYccFetJJJ+HJJ59UDKs5oa25d5Fpk7lReUxLS1NNubmJg6sFkQodmSSVDwot3hC/mwcTlSZN2eZhQ2ZORYiMnYodhV0qpLy5dhVAXN9DJkAmSeFNO4ipCBArvocbnIc5D1QeRrxlJFFBp+WMv6cQpCm6rv1TECLmPFy1MVOw4+FLnPLy8tQcUAjiGtIU2pUrVyoBh0ycjIlCAW+Y3Y2fByaf1cbGw4kMnjdwZDycV34nhVRNoWX/v//+u1JgmiM+R4GFiq52UBNXCmlc+5w7XoiQOF5HhVbrt6CgQO0ZCqvsx5EsFotSJPj9mjBKIYZrlMo89wEPAR68bMN3knhwUFjn3HGuiCH7J5N3JQoCvFDi30nsh8I455yHCfcdhYxffvkFn3/+uRLO+V7uxfLyciVsch96oq+//lqtQa41HuokYk/BjP1TEKSQwfXONUrewAOdAgx/z/dz/LwgodLuStz3nC+ufe3Gk9aMyy67TPXPg5wKFBVi9sP+OW/EnH22ZBklv+Icc33xwoHEg4sHPvGksEEeR+Gb/VERcT18ORd8p6Mwon0HL8s4LvIsTZnkniKfoeDGtcr9S+Ia4HeSP/E9//d//6cOaK5xXi6QT7kSx0Whjf2HhoaqP9NqzkOcih/3D3kClUdaW7lfeUnBeeHa49ogH+Lv3BGFWmLA/vku4sT2mpJEpYBrlkrw4sWL1ZxyzVAR5wWEO0wc30MewPFzvrhX+B4KONqliSOP43N8Fy8DOG9UsukB0hyRB3FNaxYw4ut44cdLIM4feQH5DMdNxYQCmTfEb+W6IJ/R1j7XjsYTKUhTWOZ7yZf5Pdx/3Ft8jsK2K1HQ43iIBdca1yOFNGJM4p6nVY/7n3uOPIjCOPetxtN4ScF5owLAc5nv4d8obPPs5nioqFBBopDIPakpouTrHBvnhMoDhWTuNfJTriES2/B84DyRb/DijPteswKyf+3imeud55c2Nm94nIYJeQbniJ5bjpcAPFe4vsi7uAbJI7j3jUajepS8kvyee4mXO+yDCgL3IqmmpkbxOPIHdx4yxJeXi5Q9KLzSqsPzXVOmyBP5HM9N7iOeC5xrTSnjvuKaI/6UB7jGBw8ebL/oIeZU7rmnucc+/fRTtbc0DzXyfe5b8iRiyzXLeeR3cz3zO7mOyCOoIHBPcM9riiwvJEkcI3kt1yDXk9Z/SzyOF5Aa7+MeJbb8Fs0ThJiQ93Kv8O9cgxy/5gHHCziuBfIDygq8gOLfuC4cL1fJh8iXuL3uAAAgAElEQVQDuf7Yv8aDuU8oi2iXCzwPub40HsoLca5HyiV8nuc/55pzRF5GZY1zwr9xT2sXfdq64vlPjDjPJH4Hz13tDOO3Uwmlkk/ZlnyG88g2xIC8hz9TruH3UFnk3PPCgsT9xz1HvkDZgHuVY9XkS16e8Pv4e84v1wL3Ip/nBQnHwzXBfcN9xIsLKuQ8q1y9GLnWuK4pO9PiT8x4lmgylyuP4/rh3HC9uJNZXPkReRyx1y70OGauM+3ygBcj2hnEtUb+xYtXfhfXiSa3eOKnfJ5j53dSTiOP4b7jfyRiwP45t9wrPNMoP3rrbcnxsD35J89cvot8i/I+iXyBPM71Iovj4h7jc4HyGvLmjGltm26rrHIiKbRRaCLxZoubk4uYwjQFDSpmZFhcbL4qq2SevD3lhiZx05FBchNqt5HapPEGlMxPW8zeTCYPLDJ4KrkkTTDhxiOjaKuySsbHA1zb/DyQubl5QDjemPL3ZNg8ZFoStBy/izfk3PhkkNqBzH54GPH2mwyIeJEpUwmisMG2zRFvTslcNEWGzJ+HIYVRHgoUqPg7MtCRI0faFULH33PTe1JWeVtGwVljVhwX55kMmwIdBQYyBAoCFPbdCQ08lKjgkmm4Epk6x8s5dLQ68dAiM+XYyYgoyJCh+6qsaocw+9fWIAUTHmgUwrX+qayRibpj/LywoJBPQc3xNpnfwj3D/UNGqh3CPCS1ywIKoFxTZDrsR7Mwc9/xsNEuQXgoci+4uluxf64B7hdt31IpJR48/B1vgbnf+J18B/cD30vs+F5XJq7Ng2Zdd7TIUoDhIcx17/q9PIy4Flxd4nmwcu1y/zsS38/x8zu5XkhUSmnFomDj6q5DBVy71PBWWeW+4f7hZYR2cUThxlGw08bEvjkW131LRZ1/0zxOHL+B65YKAkMBtP4558Rfm3OtPb+Vghbxp5BO4YQY8qKQ68KdCxQVWQqWPFC1/nkYc09ryqvWP3kcv5WCHfcO9wzXJS0FnpRVCmFcM8SD+4G8nWPXrDRUcLjuXdcex875oeLZ3IUcLyu0yyXON8fDW3XyG5LG4zTllfud+HMNeKuscm40l3H2x7nWLjqpsPBbKHjxEo17Rrs88OZc4d7kGtIurbiHuFY1QY78ggoR9yf75/7g2iQP5V7QnnN8F5UerkH+R2WVY+Te0BR/8lTyS865xoN4gUgBWFMIKXxRYNQ8GSiUE0MqeHyG5w/nkko5L994pmj8kYoG55pzy7ZcK+TV/BZNWXUcLy2IPF8dL4eoCHM/UkGjsko+r/FHb3gc+6fCQvc/7h8qao7KqqPwT2WVY+D+4FojL+YlmmbZ5/gp8FLQ1/Amv+Me0xQ/17lmO+4JXpDTQsazl7yRe4prVlP+uMbJB3mu8xmebyQqCNz7HAMVWu5Tnnv0/CA5XpRzf3O82oUZzyqOlTzOVTHhvia/4TtpPND4HZUjXrpoZy0x51gps/GMp5WT60nrT5PTXPv3xOP4eyqAmsst8SDO5AUkjovv1hQI8iDKEa7986wif9M846iU8/zgGndUVnmhz8sv7XuovPFnx8sCnhuuCgtx4/nMs4Zrlfza0WtHm2euK+KlWWTZVrv8YRvySvJF1/FznXM9kY9w7XCP0aJIPsk1oc0/L2e5B7nvKAtzbXL/cj+Q+L1cW67GEc6ptpZ5IUteyMt47kPuKfImV28M8hXuV83zgPuZZyzHpb1L43HkV1Te+P28SPVGWaUcRzlMc/GlhwKNM1pYA8fMfae9T8OY/JyXOpRvmiPNS0LzYuFFAmUUjZdxHXCsXCetUVYp63O/aecnL9l4fmhhUMSb3naO3nkcL8fAy3J3hhJvzob93aZbKqu8xeam42LSNi8PCDIOzaKlTQw3va/KKgUEMgcyU435UECi0K5tQLbhIUEXPB4E3GTe3qxQMKAgyMNUY3bcEPxPU9R4603XD7ptcXNygbpawppbfGxP5qkJ4lzo7NNVwKRAQeGMG1i7RfRmUZP5M7ZBc8siFmS0PCAp9PLbeAvImynNhaw5txFiwvmkEK259xJjMmNHoYBj4zsclVVtvPx9c8oqx8zbPe22V3PvdXTrZV+8QXRUVsmYaT0ks+OhRRdkdxZv3rbxtpPWIhIFIq4j15s8MldHZZWCHRUqEn+mAEEXINfbVx74FEY0Vy9i9v/tnQmwXVWVhtfLSwIkzAkhIIjQWoDMChSDgigi3Q6lMhTYDuAE4shQKoITqCBOOA+UpYAiM4qKgpS2SjO00oAMdpAhyEyYSQKZu76DK+x3cu979+Zwkqf5ThWl7+aeffb59tprr3+vvfflnbG9UpjQpp3EKu1AO7PsKZe2l21NMEbwmk6ZLBDOnffNQY3vMzCUYhW7ot65dJlAHD71vS/YN7ObOchQPjbBIFku6eYZDEYETfTd7OM4deyhm1jFxgk8kzdtSJtQl3JJFeUT8DHhQttTPrPeDCIEPSnm6vzJkjMJlFmrDPLol7m8L3ky4BDEY9OIfII/ssjYBO9NgFcXb/gS6lvuTSWAYTAnUCgvBkvahuCz3ENGgMJkBBMC9frDj7Yp96YyQUTgjV8rxTxlENzCErGC3XAv2WbakD6Sy5iyXgTcvC++J5cv0ib8hy+ifGyWwAnW+DUG6LKeDNDDiVWexeQIZeA7EV05OcUAT4YIhuWFMMCH0G/KpXvd/Bz+EDsgqEdcpR2XPg5fiT1j+/hy+mAvYhVbwPZ4BxgROOYSsxTHyZlAF3vBPplYQ6DVl7x3egcCP/ongpJJrfRv2BEiHxaZkUK00Cb0aQLPbhOW+BTaHDGZgSrPxofig2izciUC9l+KVWyCid8MbJlwJDubvhJ/RdshPrDtXKab5cOWlS2lrXUSq3BCCDF28p45gcQEHvZKoE0/yInTXn0cvhO7wneSVSIWKMelnEhkooYMGO/L+8GKdmRyLjMnvAMxQ46X/M1kO++f7UJfwl5zEob+wvN5H/omoizHdsQAE6I5sU553M87pljhM2wa/0i/IeuNeE8+lM934Uewjk1mH4Yzkwc57mQbEIdhq8QU8CBGyoCbvk12Ffvigg9inPak/pSfYwo+Dhus73fu5uPyc3xTJiHo4/QpxlWehb/MZcCMafQJxqecWKdOPJO6I3KYwKce+GgmXTJzmzERn+MXsB3Yslw1Y03+ZlzAp5fl8wzsGFHDqhhiO9oT5tSRJcLl9jH6BHbLvzGBlX6Hvxn76fv1CVf8LQI4J/fo6/QTJgsQ3uUEMO+H7SLkYE+fygtfn9u3+Izv8c6II94Vu0bs8508d4D3oZ45cZtl1UUVwoyYkDYpfVy5jJ269SpWaQNsKUUn8RQTIPQJVmnAhPEst10xbuNHmfRigqNe37oPpY7wIIal/fFNPCNFIp/TbmQ3GTtzaTX9hsm8XHHSbXwhrmWVA7aBj2AsIz7IuIU+xQqHcpk8ZdUnHruVP1o/XyHFKg1NgIjzLGfvCdDqm/+XRqwy0OPICLCy/Jxxyw5G4MAAhiNhGQDG1WtmlU5DcI/DTufDQMT71JceMniwrInBrVM2rJNhMijhMMo9qAwcBCKZIcj7EAtkIerB/HAGTwdlYC0zpbwT4iD3uNHBcVIEWnzOew23Z4zAjzpSbgavBN505rroWRqxSrCC3dDhc3kqAxjtUB8k62KVAJPZS96DWUPaoi76YYIYzuwD/BC4ZGHrB5nUxWrJGkeMo8QxlsEZdsZARICUmXGcO3WtLx/uJlYRfwTK5aBUPpvBEBaZlUKkIA7r36+LVQYChFPuJycQYlDIiYx8Bk6e4DSXA1F/Ai3eqxzkeS4sEQA54FDGSGIVbsymZvmUQ79F3OZyKsohmMxlODnIU3cGOoIsZmZhUc+sElwyUGdfoU2wJ+yxXG1B4Ef5OZCXmTxsiACOgYjlwuVFwEMdMpMGVwZe/i4HLj7nucyilxlYBkEY04adDvmgjxJglnuNeU8G3nomE7+Jr2DyCB+E3SPuCbRgyX/1lRL4HWyvnPyh/gTpmVFDHOS+O4J4fFLZv3sRq9SZQAkfx+RRBu4E1fjn+h5WuGYmrC7gO/m5zNpgn8yiw4tJt9LH4ROYtMBGCf57FauIF2wSoYFPJEhjnGFChb5J4ML7wRw+ZH1YtYPd0McYZ+o+vHwH+OJ36YOIDQJs/A8ijUkG/qM/E8QivvG3+GxWCNC/cl9qnQsBFHUhK0T5mQ3G5hAJOcma93USq2UmDF/P+6dYzQwUE1cEooyl9A/6EuNxZsyyfARCJ7FKn8cP8F85+UoZiHX6LuM1k2O8Q68+ju0LCEnuww7qYhWfToCPMIEp9kLAjDAje0cgWvqgTmKV8S4DVgQWfSn7KmMVE0tkl3OJLfEOATJtxthWruyoi1UCRfwOopYJXYQ7fTMnwAn24UK/x8/h+5iAQLBQPmNMefhaBvRM/tB/aW/sNycZKA/fnhNH/I3d8H78L3Ea5dMf+vFxxGXUBzvEntK3IvaxIWIoxrlcSUbf5PvYVZ6tkTYEM/wF/hL/QAIEvw1H6lRmVokTEPNMStL2fJ9+xHe7xVDUB3+DHWR9aE/6IqI0V5sRj/A3z6d/Y/P4gVy1Vs9MZv1Zzky5uX0L/sRRPI9xm7plv6S98oCmXIqOHXEhSOnHpXDmb9qGJceMl/g3noN95EQ9fzORXRd/+C7aHUZcMEbY0V6ljyt9TD9iFd9L38+zIfBL9HX6A32QvkrbZmxNH8F/MhlPTDbSMmDqz0Qz3ycuoXz+F5bYMdzw4fWJCRhjP4j74bbvUT4+hBV8xA1MuCDmie2wM/opNpvbD+HERCx2QAyd2wZHqyjtVq8VTqziKHAO5RIfjDYPUqoHI/2KVQIUDKJcSsaAg4EyYHY6mYtZLwKwXsRkLrtl0MmAkkEUR0WQUl9inM4EYy3FbTeDoCycLINmecAAwT8sypm53B/Hvw13sFL5LEQ6HYmyyyCTMrotT6ATE4B0O+2Vzkvgh8jI2WcGJXhzDwN/efUrVimfgRjnywCZF0E1gVqKm/y8LlbLZ+OsCD6wvxy8KZ9gCAdfZj54J2Zf66JtOLGae4FLsUr5BJ04svKAFQZDBEu9/E5iNfd55J7uuv2Q2SUwp/wM8shuYi/15TR1sVovi6CaILRcbk6QTHlwyxUIBGD0rTIjkEvOCFTre8CHE6v4ADIquf+FOsGBbGU5g8zAiy0SdHabXELc8uwyC0dfSb/DBAoXYonnljbFwEj5DFZ1bskJX8IMbClWc7YVe88JK8QEg2Z9kgdfQbBXP4wCH0h2o1PmOYM8fEDWP/c711c8EAQhelia2eniOQRX9eWpBKrck/0Ve6WvMIB3Op0d8YvYxHfkNZJYpa5M4qTIISghS4DwQKDArwwiCIJSWPTi42g7AtxkS2DNslkEY+njCJgICOHERYDMe5dbUzqxQ3DQrjnBxMQIQR2ClSCFLAn9hvIZVwjGWaGSh5IQzBLsdruwyTLDxXJAJswItHgXbBrbzENICCKxU96DtqLs+iQKfReOsGY1AJMSBFvYIbbMPeWhdtStLlYRRzwrl53SjowhTFbAjr5L+2En9FsCTnjjMwh26321k1jFPxBEMk6WYwZjJ1kr+hErUMi0wJa/CUh78XHUA9/Ehe0zzsKNMRBBB1/GEyYhiAXw3/xNPRkz6isj6mKVusMy9+MjVmm3XBaJMMC2M5vK54gl/Bnfqx94VRer7MVEeORpxATt5bJdYgaekedbEDiTKSReYfVAOVnAZBmBMyIrJ6cpn6WMOYlbHtoGM/wyYiL37Odec1j14+MQQfivuu8jJkA0ZUwFR8ZefCl2jU8sV74xMYDPzckA+CPaGGu5sBEmCPErvCf2S7/M+ARBz78zeck7ExOVIoIYAv9H9hqbThtBGDP2MIbCBBunTZng4Hu5tB5boDzsnowwfSPbhvrRlmRPKR+bRuDmNi/qRBxLG2KD+EfamgmpjMGYfGRs5H7aHh9Tj4N4Dn2HiSp8eO7jZHUEcSD1ok2H80eUQdvwzviI0seVPqwfsVr3fbAmLmfFHD6Z8aHT2E4bwIN693LIUj4Hn01/ZwxAJBMf5fhT1iXP32AMqGdFuzrsf2SxSaYQs+P3WE2Z2wO5D9+M/dHOZSwzXJmj8d9WOLGKk+Gly5P46Eg4qfoSYBqsX7FKAM1gz0CQwo7gDQNlFikvxA8GlUei4yg7GXDdaAgecBzlXk8cD50fI8+ZQoyWrAbZG2aC6Ci9ZD+ZWaND4RRSuBNcMtDWDR0HyLKu8r1GMnIGJe4jKMgsM46eZQydDlBiMMJB4IS7Lb+gM8KbdsxAMzf88+71ILNfsZr7uBiwcuklASODGIKvPkNWF6s4QII8AiDaihkxBs28j8Gbd6RNc99fHj6Bg69n++tiFfsiQGQgJ4hikCsP58BRMhgSyOfSqczq8dxyOQ3t10msYncEE/UZO76Pk2VwZ7a6DFQRHwix+s+ZDCdWsT0CJQbK7D/YNuUTJJfCFF4EHZlBRrgyMOZhBvV2H06sYpOUU662ICAm2MjlbLm8n/dkYMvymZWnvehf9BPshAG8zGxjK7QjQWf2UQYQgtUsn0kZ6s/gTZ/K8gkS8BNMKhC4IohgW2Zuyf6R5SHQzvvwdQQyZUYAZgRgiMI6H2yGoKOsd/Zngm2ezWRKZniwZWy4PHCNCRbEGsFvJ3GXWzBK0cszEJ25xDvLx+/wTrksKicKcsIFmyAQLPeGjyRW6StwJsikXxBEY0O5LJfgK9uH4JN3pO3qS667+TmCJvpfLvGkPtSPvt/Nx1FWr5lVRAL+JQU67UlggwjFXstTavHl+APskVl2fGE5bnR6B2ycvpATEAhK7sUeCbBzlQRimACZvo9w5n9pF7Kw9cOcmJAheMa+CJhpA9qVMZh7+K88ebeTWEXgkZlC8CJkKQPfhc+jf1A3/ibTh90zkcLzaGf6Yv2wtrpYxXfg25gErgeK2Cz/lqteWKmEGMwVLP36uHpmlUlQ6sl/rAQhhkhhSPshassVIvCpi9XcD0/mjv6OAGLMzwwN/ZZ6spwYfkxeIviwJZbBl9s0KL8uVgmG6QeITC7qRb0zjqIN8WX4RtoDcU/5iBpWRWT52Ak+jjGB+Cd9PGIJO6WvI0ryZ2LSlhjbyeiy6oG6UQbty1jYq4+jfMY66lz3TbwXfTyDfPwo7c04j28vg3++C+/yEL56X6pnVhnXiGVS3NIe9FXKR9Ah2vLiu9hcfasHzBH/iCUmfGhHbBuGcEZ85qoU2BP/wTv36Gf52B9xGHXIbWRMPuH7YYP9kGGkvYnTEL08j36VJ9cSQyHYsEsmsfATGc9wH+MmPi9X1BBP4htpO0QxAo6td5Q/3GoVJiRZJsu4gs+p+7h8p6UVq8Q68KZ/MwZQPmNTvgt1xHcwJsMMn8e712O+buMBfoKVI7mVkHv5/5lUop+jPbDhPPiMuvRaPm1OnWCKGMUnYXtlUoxYj/7Dv/0z/4zNCidWcdI41dyrgNOnc+H4yrQ5RkQj54XT7HbwTmmoCEkccQ4SZCQIXHBM5Z5RHEgeY05n6HQyZqcOQAaL9f+57A5nhPEzEJUnfOWmccrAyXf7SYH6MwgQCRYzK4VQwPHlwUf5fTJADNqIk35+WxEniFgpRUd5+EOWn3vh+JvZ8+Fm3xjcqWfOhuHUCOgZ9MrZPhwHz88LJ88EATOE5ec4Cj5PG2HwJbuSQTnlMxnA/QwIefFecM+Lcgg0mJHNn9uALYNCeRGIUbdysgL7Y0Ass0/YEgNGWT62jJAhsObCYdUnPRjgcPjlniHsFPGW+0S5l+8hSAlCuKg/M8EEmJTPAN9pQof7GADL2X9m6/NgonTMZH0ZvMqfcaH+OND8uROCifpPCsABsYRAzKwewok2oF/lgMtscP1nhsi+MBAw6DApkBef594Zyuff6d+ZeUAYMcBi+zmBgBAlS5Cz55RFvyIQ47m5jJm+WWar4UP5BHKZsaH/EGAjlnLGnvrTTgQOeeXsO+XjrLkI2MqZXdofe+F9Sntn0KN9c7IDf0a7lz9RkwdXEKzT5whwOwkzxDCBSflTQAyABFnpNxE61LMsH1+FiKd++Tm+ri4esDv8SLn8GDGKiCsPbmJAz58mogzsE7vM3/5MbthEt1lkRCPty4XPxNfh/+Gay435t/J7/M17Mmk20onnMCYo40L44yM7+bjSB5AZLO1jiIMo/sD3sIIhGWA79Gt8MRzKn8nhNvog/oV/wxfVRWGn55AtzJ8/yZ+PYYING6n/xFqKF8qBY7dTJsl+5s9qpI+qH4hHGfRR+nX2AXws7cLYyXsjQrnwceU++9wywb8lE8ZY3qVcscMEBYEt4wUXXCif/khWOS8+p91yzOa5PJ8Lf4av68fHlWM/Yw3irFxZRN/EN6bvJeMIA4J0spm5soAxAFsvf4KPZd30G2wif6Yi7Trfh/K5LzP5+FL6OcE5Pih9BL6ZPlz+LF2WVcYs9GvKyOC37lvo8/hyRCWTGem3eW98aOkjyDgyrmCnefYCZyKUk9PYHv0q243JX/xRrz4On1x/bnloDzwZg/ClXOnD4Y+ASz451mU9+G4pcpM3ZeHncuyDKxMDeV+2WWYK05/zPTLFJR/KzK1A+ElsFf7EUOVKt3KlBuMA8U+n34xG3KSdZX2ZJECslf25PqHJO9F+XNSXfkM8jV8s41cmorBlLnx3ZrHxXbQh42j5ed0HYfcpiuGeMVYnH0cMjV2W10i//wxbfAzjaRmPsYWHCb4y5uJ9MzaBNT6h068UlM/HhnIfddl21JX+Wa5iKG0eWyHGzL7SbQyg3vDNPspEIvbAJCl9vL6tC78L8141RrfnLu/PVzixWgfOgMPsVn2ZzbPVMBgKAqb+u2zPVvnMyuHcmDXsZZlav8+lA5MBwqn2OtvTzzMI6pgdZMLg2VpLn0veuu2t7Kd+nb7LgMMgTL3LfURNy837cXYIAWymjZkwymcQHmnJYZP3wV4IcnrJ5i/Nc8jUkFUpf39tacrpdg+ZG9j38vvHS/Nc+iztwIz9SOJnaconSGfmnYGrjfIRB4gNZv972cfZ7zsw8YOAY6KvjfLL+pA5YTaaYK+NZ7Xh4+o8yeCyRK+egeuXe7fv0w6MkTnB07RcAkaEEuK6jTojypgMQkDXlxg3rXve37aPy9/T7PW3I/t9LwJqsn3YThs+AuHJRDATWm2U37aPI7vJOFAetNUv45G+z2oH4pQ24giezUqKMlM4Un36/XfiFPi0ERsuax9HDM2EXn1bVL9Mun0ff8Fy5k7nQTwbz0Dg45/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nCMGzduOdXCx0pAAhKQgAQk0JSAYrUpQe+XgAQk0AeBa++cGTfdMyvGjBmIzadOiG02XLWPu5/56i233BK33357vPKVr1z84QUXXBD33HNP9feuu+4a2267bfz4xz+ON77xjbHKKqtUn992221x4403xmtf+9qlem6vNy2c+XDMu+nSWDBjeoxZc2qM23T3GJy8Ua+3D/nepZdeGtOmTYt3vOMdsfLKKw/5t1NOOSXWWGON2H///Rd/fvHFF8d9990Xb33rW6t3/cMf/hCLFi2K17/+9fGc5zxnqerQ602zZ8+Ov//97zFz5sxYddVVY8MNN4yJEyf2evvi711//fVVvctrYGAgXvGKV8Smm24ad999d/z0pz+t/rn8/C9/+Uv88Y9/XOI+7OQFL3hBXHfddXHFFVdU7Z8s5s+fHz/72c/ipS99aUyZMqXvui7VDU/eGvHg+RFz7oyYsGnE5H0ixk9dqqIWLFgQv/zlL+POO++s7n/Zy14WW2yxxeKyeLe5c+fGfvvtV33G/7/wwgvj/vvvr/5effXVq39L23riiSfivPPOi+c///nxkpe8ZEidHn300apPcdGu2BR9cc6cObHlllvG+eefH9hAeU2ePDlg/OIXvzg222yz6p9+/vOfB5/vvPPOS/XO3iQBCUhgRSGgWF1RWtr3lIAEliuBOfMWxulX3hf/Ne3RIfXYa4u144Ad143xgwN91e+qq66KP//5z/He9763uu+73/1uFRDn3z/4wQ8qkfrpT386PvWpT1UBOdef/vSn+O1vfxsf+chH+npeP19e+PBd8cQZh8eCB25dfNuY1daJifufGOM22q6foqrvfutb36pE1lZbbRXve9/7Ft/Pe5x55pmVwPrMZz5TfQ6Do446Kg466KBKsHzsYx+Lz372s/HUU0/F17/+9TjmmGP6fn6vNzz++OPx+9//PhA7eSFYd9ttt1hzzTV7LWbI96ZPnx4f//jH44QTTogNNtig+jcEE236tre9Lbbbbrsgk3z44YdXDPI5TGTwnc997nOLRSmi7pvf/GYlpBFOr3rVq6ryEG8worxNNtlkqerZ102PXxVx074Rc+565rYJm0VscV7EhBf2VRTt/bWvfa1677e//e3VvWTVeZd11123andsZqWVVoovfOELMWHChEpMnnjiiZXQfNGLXlTZBZM573znO6v7b7755jjttNMqLvAbO3Zs9TkTIF/84heriZEdd9yx+puJAf591qxZ8eY3v7n6Hs+k/D322CN233336rPvf//7lTim3z344INVe/L/11tvvb7e1y9LQAISWNEIKFZXtBb3fSUggeVC4JIbH44zrro/5i9cNOT54wYH4qBd1ovdN+1PzJRilewh2Z6PfvSji0VpPuSII45YpmKVjOoTpx0WC+67eQnOY1ZdO1Y7+JQYXGfjvtoAsYoAvPXWWyvhRrYScXD00UfH5ptvXmWTjz/++KrMm266qRIGiIy77rorvve971Uiru3lwAig3/zmN1W96hdCiMwmwrXfq5NY/fKXvxwbbbRR7LPPPouL+/Wvf109/0tf+lL1WSexioj6zne+U933ox/9qOLHtUzFKhnVa3eLmPv0CoAh18StIra+OGJ87wLuyiuvrGwf8deJ70UXXRT33ntv9RhEJSK2LlbJUn/jG9+oyuD6yle+EnvuuWecfvrp8e53v7vKsHJhS2SjX/3qVw+pNisaRhKrCNTPf/7zccghh8Q111xTieZ6Of3aht+XgAQksCIQUKyuCK3sO0pAAq0RuOyWx+LUy++LJ+cuaO0ZFDw4ZiA2WWeVOGS39WPqGuOjFKssWfzb3/4WRx555BKi7NkSq4tmPxYzzzs25t1yRcSiha2+68D4CbHyzgfGKnscGjFmsMqsrrPOOtUyTzJ/ZMTIEJ977rnV/0eQpFhFOCAO995776qOZLhYUkuGFdFBhq2fC4HHclzExrK4WNK80047xaRJk6rHdRKrhx12WBx88MGxww47LK7S1VdfXWUIEVprrbVWR7EKJ7K/b3jDG6oMM5lXBF5jsbpoXsTtR0fcdXLEonb7QfXC49aJeN7xEesfEmeffXa1RJxJjPrF0lwyodgI733GGWdUdjJ+/PghmVXsg2XBMLnjjjsqhrA555xzKpb77rtvVTSTQW9605ti66237luscgP8EcasEqC+ZH69JCABCUhgeAKKVS1EAhKQQAMCh54+LWbOWQYB+j/quOfma8VBu643RKz+8Ic/rILxD3zgA0u8ybMlVufecEnMPPeYiIXL5l0HVpoYax55UQysvNpiscr+QZaxfuITnwjemf2bDzzwwBCxSkYV0Z6ilEEOMfK73/2uEmUf+tCHYrXVVuu5xVkSynLrZXlRv9xT3Emsstz0gx/84BCxSrbuq1/96rBiFftgqew222wTp556apVhRPg2FqvzZkRctXHEgiWzyq1xGzc5YpcZlR2wLJp2rV8zZsyo7AXhyaQDYhSRz4QHkxiDg4OVGH344YfjXe96V5U1/clPfhKPPfZYHHroodVeVLL0mXGF33ve854qm19evWRW+T7PQSyzdJv91F4SkIAEJDAyAcXqyIz8hgQkIIGuBE646I74672zora6txViYwcH4oAdpsTeW04aIlYvu+yy+NWvflVlD+uH+bB/kywOGTsu9lQiwAjO+7nmT//feOLMo2LR7KF7bvspo5/vslR49UNOD7KsmVnlEJxPfvKT1d5CDlY69thjg4xiZlZvuOGGaiksogIhUl6PPPJIta/z/e9/f7Vfs9eLpcSXX355tRd2WVwclsQS31122aV6XCexetxxx1UH/7z85S9fXCXeG0GOWOeqLwNGzLK3kww1F++DyGN/J/uZG+1Znf9YxLW7Rsy6KSKGLnNvh9lAxOo7R2z333HJJZdU7c9+1PpSbzLv2HseLsbeXoQmYr/cs5p1ZC8vwpTv5fXQQw9VfYVsN8t4aRcOoiqvXsUqgpnymWRhH7OXBCQgAQmMTECxOjIjvyEBCUigK4FHZs+P22c8ucRe1PoN9z8+Ny645sGYO3/oEtqVx42J/bafEmtNePoQl+GuVcaNiU2nTojxY8cMEatkyE4++eQqY3TAAQdURSBeOGmUzNNzn/vceN3rXld9TlbyLW95S3UybF/Xwvkx/+4bY+ETD0YsGl6QPPU/Z8X8269eovgxkzaMCXtyQNLIh0kNTn5eDK77b9V3S7HKe3EKLie+sjyTPYspVtmbipDIQ204/IYsJacic0ougoZMWx421cv7L1y4sFoCzJJSThQe7mK/LNmz+sXz6ktHu5WDyGZ5aB7q00mskvFj/yRZ86lTp1biiv2niHTamqsUq+uvv35lB2SbWcbKxfuQnUX4U7dGYhWBilB9clpvS8TvOC5i1vVLIlh9p4gNjhjZPgYGI1bdNmLljYNJCPbpkq3MPbwsi+dwI7KYZEg5PZmLA45YFsyhY53EKnufyaSWS4o5qIxMK5lbbIjMK2KXw7t4Nkt6+d+R9qzyfMVqLz3O70hAAhIYSkCxqkVIQAISWAYEOFjpwmsfjEv/+kjM/sey4YkrDcZ/bDUp/n2rtWPMwMgCrqwmS1vJJB544IHVxwhWMmcEzlyvec1rKuFGEM3nZNG4OMm0n8zi0qBZ9OTjMfOco2P+ndfHonlPxsDY8dWhShP3PykG11q/7yLPOuusarnmXnvtVR2axCFBHJSTP8WCKGXZLGKVTCHfzYv9h5zailBDhLR50BICkLrQBmQuc5kpWbR+98pm/RFQHP6DsCz3OJJRZr8mF89heW8eBMRn7I389re/XQnYtddeuxLplFFeiDr2b7K/l0w1+zW5EMqI2I037u8grJ4blkOW/u8/I2bdGLHwqYjBCRGr7RjxwrMjxj7Tdr2WRyDDadh5kBKnYDNJwT5U3p/DjLKP8D0mOsiWk5kul/Tyfe5D6OZFP/vFL35RLf/lxGH+5nAqLiYhODAJwUod6HNcLKtG9LKnePvtt19cFp/DmSxt232wV3Z+TwISkMBoJ6BYHe0tZP0kIIF/KQJ3PzonHpo5L9CmkyaOi/XWXKmHPOM/H4JFc2bFghm3VcuGB1ZaNcZM3ijGTFy7tRfhZ2zIJvJbrMvzQpCwfxjhihBE0CytUF2e79H6s9nnOvvmiPmPRoyb9PRP1ox9+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ffqiKVOmSEQCEpCABCQgAQlIQAISkIAEJLDcCcyZMyceeOCBGJg2bdqi5V4bKyABCUhAAhKQgAQkIAEJSEACEniGwHX/D/JR8BB+HBa+AAAAAElFTkSuQmCC"/>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Rectangle 11"/>
          <p:cNvSpPr/>
          <p:nvPr/>
        </p:nvSpPr>
        <p:spPr>
          <a:xfrm>
            <a:off x="0" y="879807"/>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latin typeface="Arial" panose="020B0604020202020204" pitchFamily="34" charset="0"/>
                <a:cs typeface="Arial" panose="020B0604020202020204" pitchFamily="34" charset="0"/>
              </a:rPr>
              <a:t>1/7/2020</a:t>
            </a:r>
          </a:p>
        </p:txBody>
      </p:sp>
      <p:pic>
        <p:nvPicPr>
          <p:cNvPr id="4" name="Picture 3"/>
          <p:cNvPicPr>
            <a:picLocks noChangeAspect="1"/>
          </p:cNvPicPr>
          <p:nvPr/>
        </p:nvPicPr>
        <p:blipFill>
          <a:blip r:embed="rId3"/>
          <a:stretch>
            <a:fillRect/>
          </a:stretch>
        </p:blipFill>
        <p:spPr>
          <a:xfrm>
            <a:off x="974735" y="1657047"/>
            <a:ext cx="9553260" cy="4517528"/>
          </a:xfrm>
          <a:prstGeom prst="rect">
            <a:avLst/>
          </a:prstGeom>
        </p:spPr>
      </p:pic>
    </p:spTree>
    <p:extLst>
      <p:ext uri="{BB962C8B-B14F-4D97-AF65-F5344CB8AC3E}">
        <p14:creationId xmlns:p14="http://schemas.microsoft.com/office/powerpoint/2010/main" val="246458269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627E-8C16-FE47-BEF2-46A71F906FE4}"/>
              </a:ext>
            </a:extLst>
          </p:cNvPr>
          <p:cNvSpPr>
            <a:spLocks noGrp="1"/>
          </p:cNvSpPr>
          <p:nvPr>
            <p:ph type="ctrTitle"/>
          </p:nvPr>
        </p:nvSpPr>
        <p:spPr/>
        <p:txBody>
          <a:bodyPr/>
          <a:lstStyle/>
          <a:p>
            <a:r>
              <a:rPr lang="en-US" dirty="0"/>
              <a:t>Statistics</a:t>
            </a:r>
          </a:p>
        </p:txBody>
      </p:sp>
      <p:sp>
        <p:nvSpPr>
          <p:cNvPr id="3" name="Subtitle 2">
            <a:extLst>
              <a:ext uri="{FF2B5EF4-FFF2-40B4-BE49-F238E27FC236}">
                <a16:creationId xmlns:a16="http://schemas.microsoft.com/office/drawing/2014/main" id="{7AFBD5A8-559C-6647-B0DC-B4E1C1ED98AC}"/>
              </a:ext>
            </a:extLst>
          </p:cNvPr>
          <p:cNvSpPr>
            <a:spLocks noGrp="1"/>
          </p:cNvSpPr>
          <p:nvPr>
            <p:ph type="subTitle" idx="1"/>
          </p:nvPr>
        </p:nvSpPr>
        <p:spPr/>
        <p:txBody>
          <a:bodyPr/>
          <a:lstStyle/>
          <a:p>
            <a:r>
              <a:rPr lang="en-US" b="1" dirty="0"/>
              <a:t>Cristian </a:t>
            </a:r>
            <a:r>
              <a:rPr lang="en-US" b="1" dirty="0" err="1"/>
              <a:t>Requenez</a:t>
            </a:r>
            <a:endParaRPr lang="en-US" b="1" dirty="0"/>
          </a:p>
          <a:p>
            <a:r>
              <a:rPr lang="en-US" sz="2000" b="1" dirty="0"/>
              <a:t>Clinical Data Analyst</a:t>
            </a:r>
            <a:endParaRPr lang="en-US" sz="2000" dirty="0"/>
          </a:p>
          <a:p>
            <a:r>
              <a:rPr lang="en-US" sz="2000" b="1" dirty="0"/>
              <a:t>Clinical Analytics</a:t>
            </a:r>
            <a:endParaRPr lang="en-US" sz="2000" dirty="0"/>
          </a:p>
          <a:p>
            <a:r>
              <a:rPr lang="en-US" sz="2000" b="1" dirty="0"/>
              <a:t>Covenant Health</a:t>
            </a:r>
            <a:endParaRPr lang="en-US" sz="2000" dirty="0"/>
          </a:p>
          <a:p>
            <a:endParaRPr lang="en-US" dirty="0"/>
          </a:p>
        </p:txBody>
      </p:sp>
    </p:spTree>
    <p:extLst>
      <p:ext uri="{BB962C8B-B14F-4D97-AF65-F5344CB8AC3E}">
        <p14:creationId xmlns:p14="http://schemas.microsoft.com/office/powerpoint/2010/main" val="273183509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298C94-AE30-764B-ABC2-67B4676B0289}"/>
              </a:ext>
            </a:extLst>
          </p:cNvPr>
          <p:cNvSpPr>
            <a:spLocks noGrp="1"/>
          </p:cNvSpPr>
          <p:nvPr>
            <p:ph type="title"/>
          </p:nvPr>
        </p:nvSpPr>
        <p:spPr>
          <a:xfrm>
            <a:off x="609600" y="274638"/>
            <a:ext cx="10972800" cy="1143000"/>
          </a:xfrm>
        </p:spPr>
        <p:txBody>
          <a:bodyPr>
            <a:normAutofit/>
          </a:bodyPr>
          <a:lstStyle/>
          <a:p>
            <a:r>
              <a:rPr lang="en-US" sz="4100"/>
              <a:t>Providence System </a:t>
            </a:r>
            <a:r>
              <a:rPr lang="en-US" sz="4100" u="sng"/>
              <a:t>Hospitalized</a:t>
            </a:r>
            <a:r>
              <a:rPr lang="en-US" sz="4100"/>
              <a:t> COVID-19 Cases</a:t>
            </a:r>
          </a:p>
        </p:txBody>
      </p:sp>
      <p:pic>
        <p:nvPicPr>
          <p:cNvPr id="2" name="Picture 1" descr="Chart, bar chart, treemap chart&#10;&#10;Description automatically generated">
            <a:extLst>
              <a:ext uri="{FF2B5EF4-FFF2-40B4-BE49-F238E27FC236}">
                <a16:creationId xmlns:a16="http://schemas.microsoft.com/office/drawing/2014/main" id="{BE488FF0-BD83-40C0-857F-DCBBA98235B1}"/>
              </a:ext>
            </a:extLst>
          </p:cNvPr>
          <p:cNvPicPr>
            <a:picLocks noChangeAspect="1"/>
          </p:cNvPicPr>
          <p:nvPr/>
        </p:nvPicPr>
        <p:blipFill>
          <a:blip r:embed="rId2"/>
          <a:stretch>
            <a:fillRect/>
          </a:stretch>
        </p:blipFill>
        <p:spPr>
          <a:xfrm>
            <a:off x="2650526" y="1347969"/>
            <a:ext cx="6890947" cy="4525963"/>
          </a:xfrm>
          <a:prstGeom prst="rect">
            <a:avLst/>
          </a:prstGeom>
          <a:noFill/>
        </p:spPr>
      </p:pic>
    </p:spTree>
    <p:extLst>
      <p:ext uri="{BB962C8B-B14F-4D97-AF65-F5344CB8AC3E}">
        <p14:creationId xmlns:p14="http://schemas.microsoft.com/office/powerpoint/2010/main" val="39771942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C8363AF0-D2B8-4491-B7BB-D2FFDD93F93A}"/>
              </a:ext>
            </a:extLst>
          </p:cNvPr>
          <p:cNvSpPr>
            <a:spLocks noGrp="1" noChangeArrowheads="1"/>
          </p:cNvSpPr>
          <p:nvPr>
            <p:ph type="title"/>
          </p:nvPr>
        </p:nvSpPr>
        <p:spPr bwMode="auto">
          <a:xfrm>
            <a:off x="2895600" y="207963"/>
            <a:ext cx="6400800" cy="1274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600" dirty="0">
                <a:latin typeface="Baskerville Old Face" panose="02020602080505020303" pitchFamily="18" charset="0"/>
              </a:rPr>
              <a:t>CME Credit was </a:t>
            </a:r>
            <a:r>
              <a:rPr lang="en-US" altLang="en-US" sz="3600" i="1" u="sng" dirty="0">
                <a:latin typeface="Baskerville Old Face" panose="02020602080505020303" pitchFamily="18" charset="0"/>
              </a:rPr>
              <a:t>only</a:t>
            </a:r>
            <a:r>
              <a:rPr lang="en-US" altLang="en-US" sz="3600" dirty="0">
                <a:latin typeface="Baskerville Old Face" panose="02020602080505020303" pitchFamily="18" charset="0"/>
              </a:rPr>
              <a:t> approved for the </a:t>
            </a:r>
            <a:r>
              <a:rPr lang="en-US" altLang="en-US" sz="3600" i="1" u="sng" dirty="0">
                <a:latin typeface="Baskerville Old Face" panose="02020602080505020303" pitchFamily="18" charset="0"/>
              </a:rPr>
              <a:t>Live</a:t>
            </a:r>
            <a:r>
              <a:rPr lang="en-US" altLang="en-US" sz="3600" dirty="0">
                <a:latin typeface="Baskerville Old Face" panose="02020602080505020303" pitchFamily="18" charset="0"/>
              </a:rPr>
              <a:t> Teams meeting</a:t>
            </a:r>
          </a:p>
        </p:txBody>
      </p:sp>
      <p:sp>
        <p:nvSpPr>
          <p:cNvPr id="16387" name="Content Placeholder 2">
            <a:extLst>
              <a:ext uri="{FF2B5EF4-FFF2-40B4-BE49-F238E27FC236}">
                <a16:creationId xmlns:a16="http://schemas.microsoft.com/office/drawing/2014/main" id="{9E8C90B7-F3F3-4A5A-AD1E-7A094B2141B4}"/>
              </a:ext>
            </a:extLst>
          </p:cNvPr>
          <p:cNvSpPr>
            <a:spLocks noGrp="1" noChangeArrowheads="1"/>
          </p:cNvSpPr>
          <p:nvPr>
            <p:ph idx="1"/>
          </p:nvPr>
        </p:nvSpPr>
        <p:spPr bwMode="auto">
          <a:xfrm>
            <a:off x="1898651" y="1593851"/>
            <a:ext cx="8423275" cy="440531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0" eaLnBrk="1" hangingPunct="1">
              <a:spcBef>
                <a:spcPct val="0"/>
              </a:spcBef>
              <a:buNone/>
              <a:defRPr/>
            </a:pPr>
            <a:r>
              <a:rPr lang="en-US" altLang="en-US" sz="2400" dirty="0">
                <a:solidFill>
                  <a:schemeClr val="tx1"/>
                </a:solidFill>
                <a:latin typeface="Baskerville Old Face" panose="02020602080505020303" pitchFamily="18" charset="0"/>
              </a:rPr>
              <a:t>To receive credit for this continuing education activity, the participant must:</a:t>
            </a:r>
          </a:p>
          <a:p>
            <a:pPr indent="0" eaLnBrk="1" hangingPunct="1">
              <a:spcBef>
                <a:spcPct val="0"/>
              </a:spcBef>
              <a:buNone/>
              <a:defRPr/>
            </a:pPr>
            <a:endParaRPr lang="en-US" altLang="en-US" sz="1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altLang="en-US" sz="2000" dirty="0">
                <a:solidFill>
                  <a:schemeClr val="tx1"/>
                </a:solidFill>
                <a:latin typeface="Baskerville Old Face" panose="02020602080505020303" pitchFamily="18" charset="0"/>
              </a:rPr>
              <a:t>Make sure you are logged into your Teams account, if you are signed in with a group provide attendee’s First and Last name(s) in the comments section.</a:t>
            </a:r>
          </a:p>
          <a:p>
            <a:pPr marL="1077595" lvl="1" indent="-457200" eaLnBrk="1" hangingPunct="1">
              <a:spcBef>
                <a:spcPct val="0"/>
              </a:spcBef>
              <a:buFont typeface="Wingdings" panose="05000000000000000000" pitchFamily="2" charset="2"/>
              <a:buChar char="v"/>
              <a:defRPr/>
            </a:pPr>
            <a:endParaRPr lang="en-US" alt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If you are calling into the Teams meeting you </a:t>
            </a:r>
            <a:r>
              <a:rPr lang="en-US" sz="2000" u="sng" dirty="0">
                <a:solidFill>
                  <a:schemeClr val="tx1"/>
                </a:solidFill>
                <a:latin typeface="Baskerville Old Face"/>
              </a:rPr>
              <a:t>MUST</a:t>
            </a:r>
            <a:r>
              <a:rPr lang="en-US" sz="2000" dirty="0">
                <a:solidFill>
                  <a:schemeClr val="tx1"/>
                </a:solidFill>
                <a:latin typeface="Baskerville Old Face"/>
              </a:rPr>
              <a:t> text your First &amp; Last Name to </a:t>
            </a:r>
            <a:r>
              <a:rPr lang="en-US" sz="2000" b="1" dirty="0">
                <a:solidFill>
                  <a:schemeClr val="tx1"/>
                </a:solidFill>
                <a:latin typeface="Baskerville Old Face"/>
              </a:rPr>
              <a:t>(806) 252-4735</a:t>
            </a:r>
            <a:r>
              <a:rPr lang="en-US" sz="2000" dirty="0">
                <a:solidFill>
                  <a:schemeClr val="tx1"/>
                </a:solidFill>
                <a:latin typeface="Baskerville Old Face"/>
              </a:rPr>
              <a:t>. This will ensure you are added to the sign in sheet to receive CME Credit.</a:t>
            </a:r>
          </a:p>
          <a:p>
            <a:pPr marL="1077595" lvl="1" indent="-457200" eaLnBrk="1" hangingPunct="1">
              <a:spcBef>
                <a:spcPct val="0"/>
              </a:spcBef>
              <a:buFont typeface="Wingdings" panose="05000000000000000000" pitchFamily="2" charset="2"/>
              <a:buChar char="v"/>
              <a:defRPr/>
            </a:pPr>
            <a:endParaRPr 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You will receive an email by Wednesday following the call from the CME department with further instructions on claiming your certificate.</a:t>
            </a:r>
          </a:p>
          <a:p>
            <a:pPr marL="620395" lvl="1" indent="0" eaLnBrk="1" hangingPunct="1">
              <a:spcBef>
                <a:spcPct val="0"/>
              </a:spcBef>
              <a:buNone/>
              <a:defRPr/>
            </a:pPr>
            <a:endParaRPr lang="en-US" altLang="en-US" sz="2400" dirty="0">
              <a:solidFill>
                <a:schemeClr val="tx1"/>
              </a:solidFill>
              <a:latin typeface="Baskerville Old Face" panose="02020602080505020303" pitchFamily="18" charset="0"/>
            </a:endParaRPr>
          </a:p>
        </p:txBody>
      </p:sp>
    </p:spTree>
    <p:extLst>
      <p:ext uri="{BB962C8B-B14F-4D97-AF65-F5344CB8AC3E}">
        <p14:creationId xmlns:p14="http://schemas.microsoft.com/office/powerpoint/2010/main" val="8525353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F57ED-EA83-5E41-9C91-6F6DC641E679}"/>
              </a:ext>
            </a:extLst>
          </p:cNvPr>
          <p:cNvSpPr>
            <a:spLocks noGrp="1"/>
          </p:cNvSpPr>
          <p:nvPr>
            <p:ph type="title"/>
          </p:nvPr>
        </p:nvSpPr>
        <p:spPr>
          <a:xfrm>
            <a:off x="609600" y="274638"/>
            <a:ext cx="10972800" cy="1143000"/>
          </a:xfrm>
        </p:spPr>
        <p:txBody>
          <a:bodyPr>
            <a:normAutofit/>
          </a:bodyPr>
          <a:lstStyle/>
          <a:p>
            <a:r>
              <a:rPr lang="en-US" dirty="0"/>
              <a:t>Providence Inpatient COVID-19 Volume</a:t>
            </a:r>
          </a:p>
        </p:txBody>
      </p:sp>
      <p:pic>
        <p:nvPicPr>
          <p:cNvPr id="3" name="Picture 2" descr="Chart, line chart&#10;&#10;Description automatically generated">
            <a:extLst>
              <a:ext uri="{FF2B5EF4-FFF2-40B4-BE49-F238E27FC236}">
                <a16:creationId xmlns:a16="http://schemas.microsoft.com/office/drawing/2014/main" id="{38DEB381-DD66-45C8-9539-793085BD58C3}"/>
              </a:ext>
            </a:extLst>
          </p:cNvPr>
          <p:cNvPicPr>
            <a:picLocks noChangeAspect="1"/>
          </p:cNvPicPr>
          <p:nvPr/>
        </p:nvPicPr>
        <p:blipFill>
          <a:blip r:embed="rId2"/>
          <a:stretch>
            <a:fillRect/>
          </a:stretch>
        </p:blipFill>
        <p:spPr>
          <a:xfrm>
            <a:off x="609600" y="1513492"/>
            <a:ext cx="10972800" cy="4334255"/>
          </a:xfrm>
          <a:prstGeom prst="rect">
            <a:avLst/>
          </a:prstGeom>
          <a:noFill/>
        </p:spPr>
      </p:pic>
    </p:spTree>
    <p:extLst>
      <p:ext uri="{BB962C8B-B14F-4D97-AF65-F5344CB8AC3E}">
        <p14:creationId xmlns:p14="http://schemas.microsoft.com/office/powerpoint/2010/main" val="114480556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title"/>
          </p:nvPr>
        </p:nvSpPr>
        <p:spPr>
          <a:xfrm>
            <a:off x="609600" y="274638"/>
            <a:ext cx="10972800" cy="1143000"/>
          </a:xfrm>
        </p:spPr>
        <p:txBody>
          <a:bodyPr>
            <a:normAutofit/>
          </a:bodyPr>
          <a:lstStyle/>
          <a:p>
            <a:r>
              <a:rPr lang="en-US" dirty="0"/>
              <a:t>Texas Inpatient COVID-19 Volume</a:t>
            </a:r>
          </a:p>
        </p:txBody>
      </p:sp>
      <p:pic>
        <p:nvPicPr>
          <p:cNvPr id="3" name="Picture 2" descr="Chart, line chart&#10;&#10;Description automatically generated">
            <a:extLst>
              <a:ext uri="{FF2B5EF4-FFF2-40B4-BE49-F238E27FC236}">
                <a16:creationId xmlns:a16="http://schemas.microsoft.com/office/drawing/2014/main" id="{C1637F80-4D55-45DC-9F26-A909BC1D18C0}"/>
              </a:ext>
            </a:extLst>
          </p:cNvPr>
          <p:cNvPicPr>
            <a:picLocks noChangeAspect="1"/>
          </p:cNvPicPr>
          <p:nvPr/>
        </p:nvPicPr>
        <p:blipFill>
          <a:blip r:embed="rId2"/>
          <a:stretch>
            <a:fillRect/>
          </a:stretch>
        </p:blipFill>
        <p:spPr>
          <a:xfrm>
            <a:off x="609600" y="1527207"/>
            <a:ext cx="10972800" cy="4306824"/>
          </a:xfrm>
          <a:prstGeom prst="rect">
            <a:avLst/>
          </a:prstGeom>
          <a:noFill/>
        </p:spPr>
      </p:pic>
    </p:spTree>
    <p:extLst>
      <p:ext uri="{BB962C8B-B14F-4D97-AF65-F5344CB8AC3E}">
        <p14:creationId xmlns:p14="http://schemas.microsoft.com/office/powerpoint/2010/main" val="212854816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title"/>
          </p:nvPr>
        </p:nvSpPr>
        <p:spPr>
          <a:xfrm>
            <a:off x="609600" y="274638"/>
            <a:ext cx="10972800" cy="1143000"/>
          </a:xfrm>
        </p:spPr>
        <p:txBody>
          <a:bodyPr>
            <a:normAutofit/>
          </a:bodyPr>
          <a:lstStyle/>
          <a:p>
            <a:pPr>
              <a:lnSpc>
                <a:spcPct val="90000"/>
              </a:lnSpc>
            </a:pPr>
            <a:r>
              <a:rPr lang="en-US" sz="3700"/>
              <a:t>New COVID-19 POSITIVES by Day Trend</a:t>
            </a:r>
            <a:br>
              <a:rPr lang="en-US" sz="3700"/>
            </a:br>
            <a:endParaRPr lang="en-US" sz="3700"/>
          </a:p>
        </p:txBody>
      </p:sp>
      <p:pic>
        <p:nvPicPr>
          <p:cNvPr id="3" name="Picture 2">
            <a:extLst>
              <a:ext uri="{FF2B5EF4-FFF2-40B4-BE49-F238E27FC236}">
                <a16:creationId xmlns:a16="http://schemas.microsoft.com/office/drawing/2014/main" id="{632CAC5D-301E-4AD9-93B4-B1B46E940168}"/>
              </a:ext>
            </a:extLst>
          </p:cNvPr>
          <p:cNvPicPr>
            <a:picLocks noChangeAspect="1"/>
          </p:cNvPicPr>
          <p:nvPr/>
        </p:nvPicPr>
        <p:blipFill>
          <a:blip r:embed="rId2"/>
          <a:stretch>
            <a:fillRect/>
          </a:stretch>
        </p:blipFill>
        <p:spPr>
          <a:xfrm>
            <a:off x="1566549" y="839977"/>
            <a:ext cx="9058902" cy="5178045"/>
          </a:xfrm>
          <a:prstGeom prst="rect">
            <a:avLst/>
          </a:prstGeom>
        </p:spPr>
      </p:pic>
    </p:spTree>
    <p:extLst>
      <p:ext uri="{BB962C8B-B14F-4D97-AF65-F5344CB8AC3E}">
        <p14:creationId xmlns:p14="http://schemas.microsoft.com/office/powerpoint/2010/main" val="375449528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title"/>
          </p:nvPr>
        </p:nvSpPr>
        <p:spPr>
          <a:xfrm>
            <a:off x="609600" y="274638"/>
            <a:ext cx="10972800" cy="1143000"/>
          </a:xfrm>
        </p:spPr>
        <p:txBody>
          <a:bodyPr>
            <a:normAutofit/>
          </a:bodyPr>
          <a:lstStyle/>
          <a:p>
            <a:pPr>
              <a:lnSpc>
                <a:spcPct val="90000"/>
              </a:lnSpc>
            </a:pPr>
            <a:r>
              <a:rPr lang="en-US" sz="3700"/>
              <a:t> COVID-19 POSITIVES Age Distribution</a:t>
            </a:r>
            <a:br>
              <a:rPr lang="en-US" sz="3700"/>
            </a:br>
            <a:endParaRPr lang="en-US" sz="3700"/>
          </a:p>
        </p:txBody>
      </p:sp>
      <p:pic>
        <p:nvPicPr>
          <p:cNvPr id="4" name="Picture 3">
            <a:extLst>
              <a:ext uri="{FF2B5EF4-FFF2-40B4-BE49-F238E27FC236}">
                <a16:creationId xmlns:a16="http://schemas.microsoft.com/office/drawing/2014/main" id="{6928B927-59F0-4029-A90F-838900433793}"/>
              </a:ext>
            </a:extLst>
          </p:cNvPr>
          <p:cNvPicPr>
            <a:picLocks noChangeAspect="1"/>
          </p:cNvPicPr>
          <p:nvPr/>
        </p:nvPicPr>
        <p:blipFill>
          <a:blip r:embed="rId2"/>
          <a:stretch>
            <a:fillRect/>
          </a:stretch>
        </p:blipFill>
        <p:spPr>
          <a:xfrm>
            <a:off x="251597" y="756864"/>
            <a:ext cx="11688806" cy="5344271"/>
          </a:xfrm>
          <a:prstGeom prst="rect">
            <a:avLst/>
          </a:prstGeom>
        </p:spPr>
      </p:pic>
    </p:spTree>
    <p:extLst>
      <p:ext uri="{BB962C8B-B14F-4D97-AF65-F5344CB8AC3E}">
        <p14:creationId xmlns:p14="http://schemas.microsoft.com/office/powerpoint/2010/main" val="35020174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title"/>
          </p:nvPr>
        </p:nvSpPr>
        <p:spPr>
          <a:xfrm>
            <a:off x="609600" y="274638"/>
            <a:ext cx="10972800" cy="1143000"/>
          </a:xfrm>
        </p:spPr>
        <p:txBody>
          <a:bodyPr>
            <a:normAutofit/>
          </a:bodyPr>
          <a:lstStyle/>
          <a:p>
            <a:r>
              <a:rPr lang="en-US"/>
              <a:t>TX/NM Region Weekly Procedures (YOY)</a:t>
            </a:r>
          </a:p>
        </p:txBody>
      </p:sp>
      <p:pic>
        <p:nvPicPr>
          <p:cNvPr id="4" name="Picture 3" descr="Chart&#10;&#10;Description automatically generated">
            <a:extLst>
              <a:ext uri="{FF2B5EF4-FFF2-40B4-BE49-F238E27FC236}">
                <a16:creationId xmlns:a16="http://schemas.microsoft.com/office/drawing/2014/main" id="{83BC6851-D4C0-4A9C-90B1-88A96E52783A}"/>
              </a:ext>
            </a:extLst>
          </p:cNvPr>
          <p:cNvPicPr>
            <a:picLocks noChangeAspect="1"/>
          </p:cNvPicPr>
          <p:nvPr/>
        </p:nvPicPr>
        <p:blipFill>
          <a:blip r:embed="rId2"/>
          <a:stretch>
            <a:fillRect/>
          </a:stretch>
        </p:blipFill>
        <p:spPr>
          <a:xfrm>
            <a:off x="1933685" y="1339261"/>
            <a:ext cx="8324630" cy="4525963"/>
          </a:xfrm>
          <a:prstGeom prst="rect">
            <a:avLst/>
          </a:prstGeom>
          <a:noFill/>
        </p:spPr>
      </p:pic>
    </p:spTree>
    <p:extLst>
      <p:ext uri="{BB962C8B-B14F-4D97-AF65-F5344CB8AC3E}">
        <p14:creationId xmlns:p14="http://schemas.microsoft.com/office/powerpoint/2010/main" val="250293873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1B6121-20E6-C04B-A08B-D1A416BF84C7}"/>
              </a:ext>
            </a:extLst>
          </p:cNvPr>
          <p:cNvSpPr>
            <a:spLocks noGrp="1"/>
          </p:cNvSpPr>
          <p:nvPr>
            <p:ph type="ctrTitle"/>
          </p:nvPr>
        </p:nvSpPr>
        <p:spPr/>
        <p:txBody>
          <a:bodyPr/>
          <a:lstStyle/>
          <a:p>
            <a:r>
              <a:rPr lang="en-US" dirty="0"/>
              <a:t>Covenant Outpatient Infusion Center Update</a:t>
            </a:r>
          </a:p>
        </p:txBody>
      </p:sp>
      <p:sp>
        <p:nvSpPr>
          <p:cNvPr id="5" name="Subtitle 4">
            <a:extLst>
              <a:ext uri="{FF2B5EF4-FFF2-40B4-BE49-F238E27FC236}">
                <a16:creationId xmlns:a16="http://schemas.microsoft.com/office/drawing/2014/main" id="{3A8871EA-9D69-E54F-8C3B-C2C5D088D71B}"/>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86903713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9474"/>
            <a:ext cx="9784080" cy="1508760"/>
          </a:xfrm>
        </p:spPr>
        <p:txBody>
          <a:bodyPr/>
          <a:lstStyle/>
          <a:p>
            <a:r>
              <a:rPr lang="en-US" dirty="0">
                <a:solidFill>
                  <a:schemeClr val="bg1"/>
                </a:solidFill>
              </a:rPr>
              <a:t>COVID Infusion Center</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p:nvSpPr>
        <p:spPr>
          <a:xfrm>
            <a:off x="8547234" y="2079057"/>
            <a:ext cx="184731" cy="369332"/>
          </a:xfrm>
          <a:prstGeom prst="rect">
            <a:avLst/>
          </a:prstGeom>
          <a:noFill/>
        </p:spPr>
        <p:txBody>
          <a:bodyPr wrap="none" rtlCol="0">
            <a:spAutoFit/>
          </a:bodyPr>
          <a:lstStyle/>
          <a:p>
            <a:endParaRPr lang="en-US" dirty="0"/>
          </a:p>
        </p:txBody>
      </p:sp>
      <p:sp>
        <p:nvSpPr>
          <p:cNvPr id="3" name="AutoShape 1" descr="data:image/png;base64,iVBORw0KGgoAAAANSUhEUgAAA6wAAAHVCAYAAAD1iXZkAAAgAElEQVR4XuydB5hV1bn+3xmGoffemxTpCAiCFQuIKPYYjTdq7j8m0ShqjEZjr0k0MYlGo0bNTb1XiV0RGxZAQZAuSO+992HK/3n3mj3ss2efM6efdea83/PwADN7r73Wb61z9vrW1/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fvn17nHHGGTjxxBNRt25dLF++HA888ADKysrwve99D2eeeWbg+DZu3IgHH3wQO3fuxKWXXorzzz+/4jq+HBcsWIA333zTaY/Sq1cvjBkzBscddxwKCgoC24ymf7yR7c+fPx/vvfceli1b5oyjfv366Nu3L8aPH48OHTogPz8fL7/8Mt59913cfvvt6NGjR6VnzpkzB4899hhuuukmDB48GI8++ijWr1+PX/7yl2jVqpVz/U9/+lNs37694t7CwkJ07doVo0aNwtChQ1GrVq2smX91VAREQAREIPcISGHNvTnXiEVABEQgawlQgXvnnXccZYyKKBW7KVOmYMaMGY4yefHFF2PRokWOIkrltWbNmnj66acDx/u///u/zr27d+92lMTvfOc7znWHDx/G888/j5kzZ+KYY47Bqaee6rT12WefYd68ebjmmmswcuTIwDaj6d/Bgwcr2qcSyvZbtmyJ2bNn44MPPnD6fP3116NPnz5YunQp7rnnHpx11lm46qqrKj3zmWeecfp01113oU2bNo6ivmnTJuf/rVu3dq6//PLLHWX7sssuc/7PNjnuzZs3Y8SIEfjRj36UtetBHRcBERABEaj+BKSwVv851ghFQAREoFoQWLVqFR555BFHMbv55pvRsGHDinHR6rp27VpHaXUVVloPaYG84oorHIXPK1RKb731Vkdhe+ONN0IU1rlz5+J3v/sdBg0ahB/+8IeoU6dOxa2ffvqp83+27Zdo+0dF+Mknn3Ta+MEPfhDSPsfxxBNPoEmTJnj44YcdS+4vfvELxwr8+9//PsQaumvXLkdBbdSoEW677Tbnd+EU1iFDhjjMvPLss8+C4yGfs88+u1qsEQ1CBERABESg+hGQwlr95lQjEgEREIFqSeCf//yn4wr885//HAMHDgw7RldhHTdunGMlpfLnKnTuTZMmTcIrr7ziKIO0RnotrL/+9a8dt+M//vGPIUpxVVCj7d/999+PNWvW4A9/+INjufULFUlaQO+44w7HRfjDDz/EX/7yF8fqSgXbFboq05J80UUXgWOlxKKw0sLK6xs0aOA8i39LREAEREAERMA2AlJYbZsR9UcEREAERCCQAJVLuu/+6U9/ikjIVVj/67/+y4nn/PLLLx2llO7DFLrkMtYzLy/PUWRp5fQqrLyvZ8+euPPOO2OaiWj7x/apiFLxDpLFixc7iuR3v/tdRxFdt26do5iyTzfccANq1Kjh3EYFmcosFd969erFrLDyhl/96ldYvXq1E/Patm3bmMari0VABERABEQgHQSksKaDsp4hAiIgAiKQMAHGcDZv3txJMhRJvAprt27dcO+99zqxrRdccIFz28qVKx2FkDGddBVmjKersNJqSeU2yIW2qgFE07+tW7fixhtvdFxwr7zyysAmV6xY4Siop5xyCr7//e87Cjb/v3//fqdvzZo1c+6j8soYWFpeXYnFwsp7GKs7ffp0p93OnTtXNUT9XgREQAREQATSTkAKa9qR64EiIAIiIALxEKCCx2RLsSisjGl96KGHsG3bNif+tXbt2njhhRccV2G2Q8ukV2GldZMuu/EorNH0jxZfxs6yX7S0BomrsJ5++ulOfCmFrtBM6PSzn/0M/fr1c2JzH3/8cSc7MLMWJ6Kw0gJNC2unTp3imRbdIwIiIAIiIAIpJSCFNaV41bgIiIAIiECyCFA5KykpcVxgI4nXwkrF8KuvvnISGTGBEpU7WjhZBocutxSvwlpUVORk4x0wYIDjLhyLRNs/Pi+SQvzNN984FtWrr77a6Sdl3759uO6663DyySc7LszMDsw4W1pGmWE4XoWVrtFMVkWFlcmsJCIgAiIgAiJgGwEprLbNiPojAiIgAiIQSIBJkOi+evfddztlWsKJX2HdsmWLowAyRpNur4z79FoUvQor22TNU7ruMisva6NGK9H2j0om2//tb38bmHTpqaeecuJuaRFu165dxeOZDIrWV7o4/+Y3v3HGwhqrXonFJdjl0rhxYyf5lDcbcrRj1nUiIAIiIAIikGoCUlhTTVjti4AIiIAIJIUALYp042Vc6oQJE0KUSVolWY+UtVT9CmtpaaljlWW5GiYsat++vaOU0j2Y4ldYqdC++OKLTkZeWmVZWsaVL774AiwnQ8utX6LtH917//3vf1fEz3rbpzWYJW+YBZlj9ArrtLLcDuNuP/roI8fSeuKJJ8atsDJ51bRp05y6sqNGjUrKHKkRERABERABEUg2ASmsySaq9kRABERABFJCgMmHXnrpJcfK2rVrVwwbNsyxQFIRZT3RU0891Yn59Cus7AyvoVWSyitdbc8888yKPvoV1j179oBWTrbTv39/DB482En2xGdQKWaypiAFL9r+edun6/HIkSOdWFpaVTk2WoLpttyiRYsQjrSI0oLKTMm8/umnn67EOZyFlcmZLrzwQud6WmlnzZrllNZhYicqrBIREAEREAERsJWAFFZbZ0b9EgEREAERqETg0KFDoJWTVlBm9KXQ4koF8oQTTnCspkycRBdgxqK6MaDFxcWOsrdz507HSltYWFjRNjPxMoPw+eefX/GzvXv34uOPP3aU1A0bNqBmzZro3r27U2aGJWm8VlFvJ6PpH69n+7SSfvbZZ077FMaQDh061LGgNm3atNLY3fhdJoziNRyfXxiTysROdHlmgioKswkz6ZQrVHaPPfZYR1FmTC/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CIiACIiACIiACIiACIiACNhKQAqrrTOjfomACIiACIiACIiACIiACIhAjhOQwprjC0DDFwEREAEREAEREAEREAEREAFbCUhhtXVm1C8REAEREAEREAEREAEREAERyHECUlhzfAFo+CIgAiIgAiIgAiIgAiIgAiJgKwEprLbOjPolAiIgAiIgAiIgAiIgAiIgAjlOQAprji8ADV8EREAEREAEREAEREAEREAEbCUghdXWmVG/REAEREAEREAEREAEREAERCDHCUhhzfEFoOGLgAiIgAiIgAiIgAiIgAiIgK0EpLDaOjPqlwiIgAiIgAiIgAiIgAiIgAjkOAEprDm+ADR8ERABERABERABERABERABEbCVgBRWW2dG/RIBERABERABERABERABERCBHCcghTXHF4CGLwIiIAIiIAIiIAIiIAIiIAK2EpDCauvMqF8iIAIiIAIiIAIiIAIiIAIikOMEpLDm+ALQ8EVABERABERABERABERABETAVgJSWG2dGfVLBERABERABERABERABERABHKcgBTWHF8AGr4IiIAIiIAIiIAIiIAIiIAI2EpACqutM6N+iYAIiIAIiIAIiIAIiIAIiECOE5DCmuMLQMMXAREQAREQAREQAREQAREQAVsJSGG1dWbULxEQAREQAREQAREQAREQARHIcQJSWHN8AWj4IiACIiACIiACIiACIiACImArASmsts6M+iUCIiACIiACIiACIiACIiACOU5ACmuOLwANXwREQAREQAREQAREQAREQARsJSCF1daZUb9EQAREQAREQAREQAREQAREIMcJSGHN8QWg4YuACIiACIiACIiACIiACIiArQSksNo6M+qXCIiACIiACIiACIiACIiACOQ4ASmsOb4ANHwREAEREAEREAEREAEREAERsJWAFFZbZ0b9EgEREAEREAEREAEREAEREIEcJyCFNccXgIYvAiIgAiIgAiIgAiIgAiIgArYSkMJq68yoXyIgAiIgAiIgAiIgAiIgAiKQ4wSksOb4AtDwRUAEREAEREAEREAEREAERMBWAtYqrGvXrsULL7yARo0aYfv27ejbty8uuOACHDp0CH/+859Rs2ZNbN68GSNHjsTo0aOd/0tEQAREQAREQAREQAREQAREQASqDwFrFda//vWvaNq0Kc4991ywk/fddx9uvvlmvPHGG+jXrx+GDx+Offv24d5773V+3rZt2+ozKxqJCIiACIiACIiACIiACIiACIiAowuuW7cOeWvWrCnr0KGDNUg++ugjzJ4921FYlyxZgoULF+L666/Hww8/jB/+8Ifo0qWL09cHH3wQl1xyCXr27GlN39URERABERABERABERABERABERCBxAlYq7AWFxdj8uTJeOWVV1BYWIjHHnsM9evXxy233IIJEybAVa7587Fjx6J3795R0aBL8aZNm6K6VheJgAiIgAiIgAiIgAiIgAiIQDYTqF27Nlq3bp21Q7BWYf3www/x5Zdf4o477sDbb7+NTz75BD/72c/w61//Gtddd12FhfX+++/HpZdeil69ekU1CUVFRU5MrEQEREAEREAEREAEREAEREAEqjsBGv+aNWuWtcO0VmG9++67cdVVV6Fr164O3AceeACXXXYZXn/9dYwbN65CQb3tttscBbZjx45ZOwnquAiIgAiIgAiIgAiIgAiIgAiIQGUC1iqsdAVmFuAhQ4Y4FtGvvvrKUUzXrFmD1157zXEDnj59Olq1aoWLLrrIcRuWiIAIiIAIiIAIiIAIiIAIiIAIVB8C1iqsjGHdtm0bSkpKHNosb8MY1tLSUufnR44ccX7erl276jMbGokIiIAIiIAIiIAIiIAIiIAIiEAFAWsVVs2RCIi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tVOjjom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jVNTtAnYvwAo2QMUtgXqDwDy64Tvqa7PLj6cyQNLgIPfmjmt3RWo1yfyStT14uMlUHoI2DcXKFoP1GgI1D0WqNUuPCNdLz7+1aH3RnLfGzbuJdQnERABEagmBKSw2jaR3IQu/h5wcDlQdgTIrws0OR3o+QJQ0Lhyb3V9dvEpKwHW/x5Y8whQvMfMZ0EDoP0tQIefAXk1Q+dY14uP/1NfcgBYcjWwYxJQesCsmdqdgV4vAQ2Or/wdoevFx78q9N5I7nvDtn2E+iMCIiAC1YyAFFabJpQn3nNPAw4srtyrZucALb5T+edrHtb1pJItfA6vBzhnJXtD57JGPaDjHUCtDqE/1/WGh/gcXRfbXgX4xy91ugKd7q38c11vmIjP0bWh94ZhEet7o+V3gZ5/iWyZtWlPob6IgAiIQDUhIIXVponkJmLlnTb1SH0RAREQAREQAREggZotgYEfA3V7i4cIiIAIiEAaCVirsL722mvYuHFjBYqvv/4av/zlL9GoUSM8++yzqF+/PjZs2IDBgwdj7NixKCwsTCO2FD1q0aXA1pdT1LiaFQEREAEREAERiJsA3e8HfAw0Ghl3E7pRBERABEQgdgLWKqzeoXz66ad45513cNddd+Fvf/ubo6QOHToU7Pzdd9+Nm266Ce3aRUg4EjuXzNyx4nZg7a8y82w9VQREQAREQAREIDwB5pEYMMUkQpSIgAiIgAikjYD1Cuvhw4fxwAMP4KSTTsLo0aNx++2349prr0WXLl0cSA8++CAuueQS9OzZM23QUvYgJsKYPQQoK678iEYnA31eBWo2Pfo7Xj/vTODIVl2fDXw4SxueAZZPAEoPh85ZXiHQ9VGg/U2hP9f1hof4GA7FuwB6Yux8v/JnvqAJ0G8S0NCTeEnXH+UkPoaF3htH10Qy3hsp2xCoYREQAREQAZeA9Qrr8uXLHRdgKq10+73lllswYcIEdOhgktM8/vjjOPvss9G7d3QxJYcOHQpxNbZpKRQWr0S7DWcAKAvpVlFBF2xq/jxKCo2S7pU6+95By12/QH7p0SQ+uv4oIdv45JUeQNMd96DhgYkh87i3znnY3uwhlOXXC/m5rjc4xOfosqhRtBqttl+LWkfKyyIBKM2rhy1NHsbB+udW+o7Q9eKj90bi78niGq2wocU/A9/DNu0j1BcREAERCCJQu3ZttGnTJmvhWK+wPv3002jfvj3OPddsxG699Vb85Cc/qbCwUpGlhbVXr15RTUJRURF27NgR1bXpvagU9Tfehvp7/m4eW9AEpc3Go6hwAPbWHoOS/ICSNuUdrH1kIeoe/hwFpZtRVNBD1/smzjY+7F79Qx+izpFZQFkZDhYeh/21z0AZ8sIuOV0vPt7FUaN0D+ofmoRaxYtRnN8CB2qdiEM1+4VdP7pefPyLw7bvRRv703DbQ8jf87GD7lCdEdjVMfSgMb17BD1NBERABOInQKNf06YeL834m8rInVYrrEuWLMGTTz6JX/ziF2jbtq0D6LHHHsO4ceMqFNSf//znuP7669GxY8eMAEzaQw+vMyVtDi4zTTa/AOj9MpBXI2mPUEMiIAIiIAIiIAJREtj+BrDgfOP1xIRLI3cBNepGebMuEwEREAERSBYBaxXWkpISPP/882AM6w033FAx3rlz52LixIk444wzMHPmTHTq1AnnnXde9mcJZnbgby438at5+cCAT4BGJyZrntWOCIiACIiACIhALAT2LzAHyUe2mbv6vg40Oy+WFnStCIiACIhAEghYq7CWlZVh165djiJar97RuD7358XFJjFRixYtkoDBgibmjAR2TzMdaXwKMOAjAPkWdExdEAEREAEREIEcJEBFlQorFVdK258A3Z/KQRAasgiIgAhkloC1CmtmsaT56bs/BeacYh5Kt6Nj/wW0uCjNndDjREAEREAEREAEjhIoBRZeCGx73fyowfGmDqvcgrVIREAERCCtBKSwphV3wMPKSoBFFx19Idbpbuq81TIxuxIREAEREAEREIEMEdjwFLD0evPwWh2BgR8DtbtmqDN6rAiIgAjkJgEprJme94NLjcvR4fWmJ47L0ZM0tWa6Z3q+CIiACIiACOQ2Ab6jZ7DOexmQXwvo/z7Q6KTcZqLRi4AIiECaCUhhTTPwSo9b/xSw7KflWQhrAMcvBWpXrrea6W7q+SIgAiIgAiKQewTKjMJKxZXS9VdAh5/nHgaNWAREQAQySEAKawbho/QQMGsQcGCx6UXL7wDH/juTPdKzRUAEREAEREAEvAR4qLyenk9MijgKGPCh+IiACIiACKSRgBTWNMKu9Kgt/zKlbCj5dYD+k4BGJ2eyR3q2CIiACIiACIiAl8D2N4EF48s9oQrK67EerV4gWCIgAiIgAqklIIU1tXzDt156AJg/Dtj1sbmm/gCg/4dAzWaZ6pGeKwIiIAIiIAIi4CegeqxaEyIgAiKQUQJSWDOFf/9cYM5pQPFO04MuDwEd78hUb/RcERABERABERCBIAKV6rH+GOj+J7ESAREQARFIEwEprGkCXekxq+4BVt9vflzQBBi6GChsmane6LkiIAIiIAIiIAKBBFiPleXnXjO/VT1WrRMREAERSCsBKaxpxV3+sJL9wBdtgeI95gftfwZ0+00meqJnioAIiIAIiIAIVEVA9VirIqTfi4AIiEDKCEhhTRnaCA2v/Q2wojwtfkFjk3Gw/nGZ6ImeKQIiIAIiIAIiUBUB1WOtipB+LwIiIAIpIyCFNWVowzRcvAuYdwawd5a5oOFwo7Dm1013T/Q8ERABERABERCBqAiwHmsv4OC35mrVY42Kmi4SAREQgWQQkMKaDIqxtLH7M2D+WKBkn7mr5wtA66tjaUHXioAIiIAIiIAIpJtASD3W04ABH6W7B3qeCIiACOQkASms6Z72JVcDm14yT63VARi2HMirme5e6HkiIAIiIAIiIAKxEFA91lho6VoREAERSBoBKaxJQxlFQ4dWATN7A6UHAeQBXX8DdLgliht1iQiIgAiIgAiIQEYJqB5rRvHr4SIgArlLQAprOud++U3AuifMEwtbAwM+Bur2SmcP9CwREAEREAEREIF4CKgeazzUdI8IiIAIJExACmvCCKNsoGgTMPc04MBic0Oz84DeLwP5hVE2oMtEQAREQAREQAQyR8Bfj3UoMGAKUENJEzM3J3qyCIhALhCQwpqOWd49FVjzELBzMlBWYp7YbxLQdHQ6nq5niIAIiIAIiIAIJIOA6rHGT3HTC8Dmv5n7W1wCtP1J5LZsuz7+ketOERCBBAlIYU0QYJW3r/8jsPJOoGTv0UvzCoD+k4DGp1d5uy4QAREQAREQARGwhMDBZcCMHgDKgPxaQP/3gUYnWdI5S7txZDuw9Fpg68TQDjY7F+j5PFCzZejPbbveUqzqlgjkEgEprKmcbVpW550OlB6u/JR6/YH+k4HCVqnsgdoWAREQAREQARFIGgF/PdZHgQ63Ja31atnQmkeAVb8Eykp9w8sHajYH8n2VEsqOAIwXzsT1HX8BdHmwWk6DBiUC2UxACmsqZ89bs83/nBoNgIFTgPrHpbIHalsERCALCOzevRv8Q2nYsCEaN26c1F6XlJRgx44d2L9/PwoLC53269ZV3J0LORf5HDx4EDt37kRRUZGzFpo1a4YaNWokdd1V28aW3QDQe4rSWPVYq5znr/oD++dXeZkVFzAR5tBvrOhK0juxfyFwoHxsdboD9QdEfoRt17PCxt5ZwOE1QEFjoF5foFbH8GPQ9ZH5JH2BpbZBKayp5LvoUmDry8FPYO1VZgluNDKVPVDbIiACFhMoKyvDN998g4ULF6K4uNjpaUFBAY499lj07t0b+fn5Cfee7U6fPh0bN24EFbO8vDzUq1cPJ5xwApo3b55w+9neQC7y4eHFtGnTsG/fPnANUlFt2bIlRo4ciZo1VRe8yjW9/S1gwXnGLZghPiN3ATXqVXlbzl4wrSVwZGt2DL+gkZnP6iRlxcC6xwFaukv2m5Hl1zVlFWlR5n7UK7Zdz76x34u/Z3LB0GuRn7ta7YFefwcaDq88W7o+Mp8sXN9SWFM5aTyB5UlskBS2KS9r0zOVPVDbIiACFhNYv369ozgcOXIkpJdUWocPH46OHSOcHkcxLiqoM2bMwMqVKytdTaX1jDPOcJTXXJVc5EPL6ocffog9e/ZUmnauN647rj9JBAK0PM091bitUvq+BjQbL2ThCCy8CNj2n+Df1u1T+eB+zxfA/nmZub7ZOUDft6rXXG5/E/jmitBcKhwhD1l6vgS0uDh0vLZdT0vpt9ceTdjl7W3tziZTd+1OR3+q64+yCOKTpatbCmsqJ6rh7b8AACAASURBVK70EDDnROPC4Jc2/w10f9qcEklEQARykgAVh82bNweOnRYvKpSJCN2M+YxDhw4FNtOvXz/wT65KLvJZsGAB5s0LVgZq1arlrLlGjRrl6pKIbtyqxxodJ/eqnR8A88ccrZLg/pyhUf3eAhqdHNre3hnAvDFA8c7Qn2fq+thGa9/V884Adn4Y3K8a9YEaDUN/xySh3kSh3t9m4nqUlsc0Gy+kSlLQFMiv7fmxrg9h1OluoPN99q3LGHskhTVGYDFfvuo+YPW95ra8fKB2V6D5+UCne+VCFDNM3SAC1YvAxIkTcfhwQFI2fl3k5eGYY45x3HYZc8rYVjfGkJbB7du3g1/g/phUtkdFjPGJdAPmH7p9Bkn79u1x8sm+zaKFiCONN5Hubtu2DR988AFKS/3JYEyr2cInFgafffYZ1q5dG3gLXdBPP/10tGjRIpYmc/Ba1WONadKX3wSse6L8ljyASg9jKNtPAFp+t/LBPV1St74CrHsMOLDUuF6n4vq1jwL7FxxVpDv8HOjyUPUzJGSTS3ZMC0sXR0WA3h/0AslykcKa6gn0nmy1vhro9luAp4R5Sm6RavRqXwRsJzB58mRQaYokVFzposnYwrZt26JTp05YsmSJo4hS0eLv69Spg65duzpKLOMT6WJMJa8q6dWrF447zu7Eb4wxpdu0d7xMEjRixIiEY3B37drlWKDDHRpkA5+q5tj7e1rzp06dGtbizsMPKqxNmjSJpdncvHbDn4Cl15mxM/HLwI/NgbQklEDxLuCLDkDJPvPz1v8NdH0IyK9j9kKRhPeUHjBXpOL6g8uB+WcDB6kUA+h4h1FYq5t8fQJAN2tJbhJofzPQ7fGsH7sU1lROIYO+p7cqD3LPA3r/X+VYgVQ+X22LgAhYS4BWUFq7gmIJ09FpKiejRo1C06ZN0/G4uJ6R6hhTukrTwhpuDhjPyYOAbBcq5osXL3ZimcNZ2znGBg0aOAqrMkhHMeOqxxoFJJhEPyvvMNfSssoa9A0tSTbJ8jlUWF132canmnKD/iRE0Y3U3qs2PmfyqTBMzSv5hUDTcUBNn0dF8Q6Acay2XM8+001839eVGddsCjS/iCcaob/T9YYH+fSbDDQYbO/6jLJnViusPFF/4IEHnKHQLW7ChAnO5uq5557D11+bhfvTn/7UyahppTBuY96ZpmsFTUySparSiFs5EHVKBEQgmQSoIE2ZMsXJ0hokHTp0cNyAV69enZBC26pVKydx09KlS0GlxSsDBgxAnz59kjmspLeV6hjT5cuXY+bMmWFdghlHfMopp2Rt5lxa4KmoMgu1P7FX0GTRJXjw4MHo3r170uey+jVYBszsBRz41gyty6NAR9VjDZlnxqDOPf2oolF/oEmQw0y8tsiqu4HVZp/puB2zf7Xa2tK75PSDVuql1wObXgxtr9V/mVwqNXwlznj9shuBjc/bcT17cXgtMH9caDIuxt72eglofkFlTrrexCaH45OclZXWVqxVWBlj8+c//xlXX301unXrVgGFLnR0a7ryyiudl/CLL76I22+/PWHXsJRQX3k7sOZXpum6Pc0XYWHrlDxKjWaGAC00dM/keuW/mayEcYd020xGSZLMjEpPTRUBWrc2bdqEL7/80ok/dYWKJQ/juGZYD5OxkxReT+V2y5Ytjusw3X3deq1BfaRrMJVdKlr8U7u2SUTBWpvr1q1zlBdXcaU17eyzz7Y6I2yqYkzJlTxY7sctJ0RWVO7Jh7wp2aDAUSlds2aNcyjBtcFx0HWch7z8Gcfitapy3t3YaPLlOuT9zB7sjpklj8iC7uaSCARUjzXy8tj9ubFguu7AXX8FME7UJtn1icn4TCloaPZp9QfZ1MPk9GXb68DC801bdMWmi2ibH1S2THqftv1tYM90E0PccBjQbFxmr6d7+bbXTNxxYSug8SigAUNawnxP6frIfJKzstLWirUK63/+8x8nLosbKq/cc889+P73v1/hpvXggw/isssuc17AVgldTXiyuPsz0y1+sBxXE8WuWjVPCXbmk08+wYYNG0I2hNzk0nKVy9lXE8RabW93lSSvtYsup0OHDq1IqBRu8FQ6qLB+/PHHjgIaJD179nQsZOGEa5Vr1lVgeC3vsVU4XsaYhrMOtmvXzkkaFatiRaX0o48+qojlZIzwiSee6Ch6fNbbb79dcaDA340ZM8ZJemWjsI7v3LlzK1mJ+T3kTybFgzTGLPPd6hV6M33++ecVnJkt+NRTT3UOTyQRCITUY60BjNytZIpeXEt+AGx6oVxJqgecsMm4BdskZSXA1EZHQ7eO/TvQ8nKbepicviz9MbDhGdNWvT7G48/vCpycJ6kVEUgJAWsV1t/+9rfOy5bJH/bv3+9sHq6//nrcddddjmswX7yUhx9+GOeffz569+6dEkBxN3p4gzm1c4P5O90FdL4/7uZ0o30EGA9GC02QsLYlY8Hq17fs5WwfxpzoEWMxly1bhjlz5lQkQ6JC0aNHD/Tv3z9qKyeVKSbNoeLpl2hiUplciAqga2Wl2zHXKRUU24Tf/7Nnz8a335a7XAZ0kFmTybBv375Ru+3u3bsXn376aYWlmsou54DvEFfxZX1ccnatr7SAUzFm4iubhO9Gzmc413K3r8z6y9AZ13LvHwMPMGh95/p0DzNoieWYVeImwoz767H2eQ1ornqsDrHD64GZPcsVQQAdbgW6/tqmj8/RviwYB9CaSGHJwR7P2dnPeHtFC/fc04C9X5kW6ELb55XI1tJ4n6X7RCBFBKxWWLmRYpwVN3sPPfQQLr/8cjz55JOOwtq5c2cHyf3334+LL744aoWVbk88TU611CpagDZbr0B+qYlRW9/iXzhc+/hUP1btp5EAFZBwGV6pjHCDyE2fRAToMu5muSUNKkY8dKPbbqyu43Q9pxLndSmm4kZLLd2KI1kbqYywH3QBdftBCysVV9uESiMt0pGSBLljcF3xaQ2NJFT4yY5Kqytt2rRx3Ki980BlmZ9vWnjdZ3Tp0sWZL5uEiuqiRYvCxuByTLRCU+HmGqlqbXCdeg9DeODG9WGbom7LHOSX7ETbrZej8Ig5VNnb4ApsbayDabJotvs3aLTHWPRK8xtgQ/O/oaiWnTWfG+75C5rvftjpa0lBe6xu84ktSywp/ahZvAptt1yBGiWbnPa2Nr4XextcmZS21Uj2EHDDRbKnx6E9tVZhffbZZx33rHHj6DNvFNMrrrgC//rXv0JcgO+++25cddVVUWdypCudP/lIKiavcOfLaLzpetN0QSNsOWY+kGefFSMVY8+VNmmR4IY6SLg5pLulrW6E6Zoj14111apVFVYgboIZH8cYO/8GOtbr0zWOaJ8T1H8qUW58INuhNZPlUoLGH+1zaPnj9xjbpTLBgxFa9aMRKmMzZsyomA/eS5fkWBXnaJ4V7zWM86Wrq1uah2PjISXH7SpP9HCghdEVXkPlil45QYoZ712wYEHIIROVVd4TpOjyXcHkfq5yy2sGDhxolXLP+GZaoV1LsJ83xxdLYi3ypkLPwwJXeAjC8AYprQGruawUjTf8Nwr3GOvckdoDsbPjf+QWfGQbmqy5ADWLjCJfXG8YdrX/F0rzo/uOivd7I977ah6cgSZrLqnIiru1yzSU1T6aOyXedm25r2DfZ2iy7rvIY6haXj52HPMligs62tI99SNNBPgdns0ly6xVWHlqzGzAv/vd75zN1csvv4w77rgDX3zxBebNm4fbbrsNb7zxhvP/O++8M+rNWprWBbDkv4FNfzGPazYW6FvubpK2DuhBqSbAzS/XYpBQKaOHQLRKRKr7mqn2uaFmzKVXsWBfGEPHkip+d8NYr8/UuMI9N1z/3euprNLNki6amRRmx2XiJ1dOOukkx8pog5DhpEmTKpQwKp9nnHFGJWZcU1xb3pI0XFeMRfXz5UECswFz3K7Fli/uM888M6I7Nq3RdB92FWe2y9hOW5Q3HliwLI/XYuydQ9aqdb2Rop1bjpVuxl7vEVqXhw0bZtWhRrTjSfl1IfVYOwADp6geKxMZzT8LKC2Pte/+J6Dtj1M+FXE/gPVY6TLLzLKUHs8Aba6Nuznrblx5F7DmQdOten2BIdy3KKGadfOkDkUkYK3Cyl6/++67Fe67F154oXOyTZeud955B9u3b3cGds0111g4xWXAl12AQ6tN37o9AbS/0cJ+qkvxEuDGl9aXcMlv6IJ32mmn5fwGj0oRWSVDuPHmBtxW4UafB2gsRRMkVHJYIsUGt1J+8VPRcWMfbVHE2C8mhdq5c6eDkFbNIUOGhPWg4fVfffVViKcDOTOxENcLPR0ozJZLS6SreNKqzLmoygPCXwfWtqzBtJazlq/XIsrxsp/Mrk/LeTzij/MlR4bn0DNA4iNQqR7rZKDRybmNadF3gK3/ZxgUtgGO/9a+ZEveGXJiPE8F9s4yP21xMdCb/a8mSt3soUfjV9vfAnR7LLfXp0aflQSsVlizkig7zbpsrM/GVOD5tYABHwEN7d1oZy3nDHSc1hlaVemu6M3AydgAKq/uz/h/WoWq2hBnYAhpfeSrr74a4g6byMNpnbzoIhYIT79Q6V6xYoXzYMaeMtEPheuBrrl0T2X8H79Qw8VcMikS4+1tER64cB1TqBjSIyDerLBM5kSvGLry0ruAdTxbt469hBetmV43e7ZDhTVS7CWVSn4m6aLvsqfCRgsqP49UthiL6n42+X9aVunqGo34swbzfmavt+GzzXEx27F7cEZOHDe50SqaiJs3S+TQ0u0q+V6mPJBjkiq3bFI0HKvvNarHGjK3VOBnHguUFZsfM9kkk07aLkuuBja9ZHpZf4DJolvQxPZeV92/I1uA6W2AslJTpYLefk1HV32frhABywhIYU3FhGx4Glj6E9NyrQ7mi69O9YmHSAWybGiTcWLz58936q66m19ac5hhlHFwtFbRK8AtwcGkS4MGVcN6bjFM1ptvvhnWXTGGZpxL6V49fnx6M3BSEWNIApVRr9BKWrduXWzdurWSu3O4cWWi/5EY88uf65VjpDCumO60sQoZ0LLsdUulAszMvdFmb6dSxNIsVDpdYUbbkSNHVlnuh9fzfn4uWZs7XAkcXsfPK11bOdZYJChrMN2oeQiRKeE46RLtuu5SkabVOJ6DgnBj4LiZCT3Ik4QHE8cff3xSn5cplgk/d9mNwPo/mGYan2re+TkppcCym46yqNnMsKhnZ7KlkCna8k/gmyvMj2gVZr/r2lvyK+rlRSWcynh1G1fUAHRhdSEghTUVM7nwAlPcmNJgiClEXcPOZAOpGH51bJObw2nTpoXUXKXFgZtWJgdzLUAsC0FLE4W/P/fcc3M6jpVumF4lxLs2mNWWSWy8wrjgcGVMWGuZG+R0ChUgWu+qylQbTZ8y0f+q+sUDGP6hcA2fddZZMVlZqezSwue68Hqfx/VPBYqJf6oSZi3m58s9CKL1khZff73QSO24GZBZTzRcEqJoLLZBz2C/2D9vdmWuRbrdZkpmzZrlKOmu0GU3lgRL0fSbTPmd5lri/fcwTIex6DlvaVU9VrM0ijaaWNAD5euSrtGsP09PM9uliJbIVqaXtESy341H2d7rqvvndc+uP9DsRwsaVX2frhABywhIYU32hBTvBOacBuyfa1pufRXQ88VkP8Xq9rio6KpGJY9WKLoZRio3Eev1qR68vz90RaX1xxsnRusCLTV0jfMK3eiYsISlRyhUUhhHFsmlMdXjyWT7dO9kjJ1f4aM7JpV9f1IqsqfCEVQuiNY2t/5yomOiGy/nikLlyJ85jxYlrmHG4PoTRvmfTcWMyaPcP7TGuuVQ3GvDjTfRcSR6PxMWcb26WYxp1aSVNVpXUiqqjIUNZ9VkSRVmmKVi422TFlHmISBbKpf8fLlWPCqpXBvMohyrVNUfKqzxxnX6ExzRusoDFyprXD/pTLBGqzbdp13rONcXk0GlQnFkjHC4QyRarHmwEK17dazzmTXXO/VYTwOObDVd7vY40OZHQI264YfAOqX7ZgHFu4wnVoNhka/PBhjb3wQWXXw02VKvvwGtvpcNPTd9/KofsH+B+Xfn+4BOd2dP34N6yv0o1+W+8v1oqyuBXn+tPrG52T076n2MBKSwxgisyst5ssjg/SJT7wq9/g60KnczqfLm7L+AG/WpU6c6G1EqKdyk0n2Sm+CgzJqxXp9qQkH9obLptdhwY8r41KANKsfM8buWGG6+eW2u1mOdMmVKRV1HcuQBBrPRRiqT4ZYfYfIib0woEwMx9jAR4fzQAk7LqRubR1dKum/TOsV1S4sw54/9cK8JeibHQ5dvjoeHGm6dS2//eV9V401kPIneSx60HLqJojgOKiDR1mXlwQIVVm88t7dPZEQu/Bww7pdWdf6Mz/TWpXUPNHiwRWU1Gqts0Nir6g8VcmZpjlf8WYM5FnddMyFYPEp2rH0hK7pye8uz8XORqszTPEByv8/8feX3O9dLqp4dK5uMXb9nGjD/HKN8UvIKgSajgGP/BRQE1DjeNxtYdClwiKEGxeZ6uhKHuz5jA4vxwfPHAjveNTfV7ggcvxzIi1wbOcYnpPby5TcB654wz6gOrt0HFhkDCuNYKVxfLS9LLUO1LgIpIiCFNdlgd75vXlxOvasCYPhqoLBtsp9iZXtcTLTWBJVYYMzY8OHDQyytsV6f6kFH6o/7bCrfHActrOGEG8n33nuvQtlhjCvj+XJNaO3ixtrZv+XlOdyYCCYW8buKJroxp8WXypLfZZQbbx5AhCsPEtRnWg/p8prt4l+v0cZe0+JIt9RwykwQFyqkVIrDWa1pAWX94mgtvP5ncP74HcTPcpDwgIHji1doBWb7QS7QXD9U3iJ9N8T7XPc+HgzQGu266PJzxe8WHgClSmhdpZU1SHgQwTHbkIAqVeOvst3D64C5o4CDSytfymyzPV8KDQmK9foqO2DJBfvmALOHAGUlxoLX7TcAM9Jmk2x7HVh0oUlQRDfmEzZnt/ssXdUXji9PuFQTOGE9UDOzJdWyaTmor3YRkMKa7PlYfT+w6h7TKhMNOPWuckO88XD+EXNj5U9Qws1XOFdCbmppmfTX6UwlyUj953NpnaEVJZJ7s9s/bzkXXn/++ednNEFLKrmFa5uK4apVq8xHIYJVOlLf/OVXOAe0wMXrYk1lY/PmzVHjcJ/jd2mmtwBdMKuLZcm7XqksnnfeeY41PJzQFZXlZ4Jct917aFmNZKEOaptWbsZixiucJ2Y/DoqbplLF7L5uqZt4nuF3+fe3QeWRB1SpEnqAcA2735u0hFNh5PdlqoTf0++//35FKTnvcxL9PKaqz2lt1/vOr/Tiq1FuYc0/+hseZruWWP/1VCacJEV90jqEpDxs8feBzf9jmipsbaoj1I3/cCgpfYq1kf3zy127TdlE9H0LaHZOrK3Yc/2yCcD635v+MJ544Cf29E09EYEYCUhhjRFYlZfPOQnY/bm5rP1NQLffVnlLdbkgkutYrGOkokCFNZ0KQaT+x9ofWmC4sXTj8li/kNadeBWtWPll+npa0Ogq6lrSaFmlhTWe8c+cOdOpo0mhEsUNerwu1hMnTqyI+wtiRGWNig1dO5ltlTHKVHBp0WK8J4XP5nwynjae8WR6boKe7y+PEin2mlZMKrhbtpS7mZUfSJAdXyg8mGLcOuM7+bMNGzY4DBmzGs7y6fYpUZddtkMlmS7ftPxy/Xn7k6glMNUux5HWRjqyAod7PuecyZc4fsbnuwc4PFDk5zEVsbM2fk4C+0TX3q0vJ6e7eTWNwtpoZHLaS1crh9cY19NDpvQXmo4F+kwE8munqwfJeQ5dZzkOutI6e7gJQLffJafttLdSBszoDhwsr4Pe5SGg4x1p74UeKALJIiCFNVkknZ3SfmBqo6MuMX3fzO7TuRjZeDPkxnhr4OVUGhj7GsnSk4znuG1E6j83vdyY+ZPzhHs+N3S0QHGzTkmHu2AyWSTaFuuSshyGK2PHjo06LtL/bG6WWR7HFWZnpUIVj0yePDmsVZDujaeddprj0unGo7rPoBLkrUcZjZU9nv5l6h5a0VgixbU+h1uvVAB5nau8s7+u0kJmXPdu3KrXrZftkx8TUvEAIpzllQcBxx13XMIY2A8+g88N6k+8D6D7NA+i3GRH/naS1f+g/vmTH6UiK3AkLu4cLlu2zLFiU8iWSazi/TzGOw9W3bfyDmDNI8npEut+UmFlHdBskm2vmmRLdKWl9H0daHZeNo2gvK+lwLyzgZ2Tzf8bjjCW4mzIcuynzXwqrIeLMhMjPeADoNFJWTgn6rIIGAJSWJO5Epghb0H5l7RTf2wKUC93YhcjucvRdY3xn37hBtbNUBo0FVQUGXPGZC2xlLiIZ1qZUIWb8SChpS3WuovM5MnNrbtpZmweE89Ud6GywBheN1Muy/7QfTYR8Vq/E3HtXL58uROP51eYqFxRUcqF+Qk3D5s2bXLWv2s9Iw8qYK64WZO98Zv8TJ9wwglRZ8illZBJydyDHG9f6NbKAwObM85G6j/HwgRb5JHsA410ZgWu6nPKzw5dhN3PNw8UR48enfLv56r6lbHfM0PwvDOOJlr0doRhQXTFzMsL7d7WV4KvZxmVPq8AVFyzRsqAOScf9SzjnmfwHFMaJhtlzcPAyjtNz+t0MwcIzOKcbbLu98DyCabXtToCAz8GanfNtlGovyJQQUAKazIXw7IbgPV/NC3W7WO+IHIswJ2lFpjYxiu0wHAjGmQp5caVsY5BhendNniKT4sPXUqDlN5kTCE3oux7UHxjpP5X9Wxuzr0ZWMePH5/0zWxVfUj371n+h9ZlSiy1OCP1k+6nVKZcRZOWdybyilVoraWrsv+QhAcitBQlEt8Ya19svJ41Vam4OnucWrXgrlceRjHjszdZEt31+bmOVTkje7blVXwZE8z4cCaysl2C+u/9rkr2wVS6swJHw5+He/yMu9mhbawxHM04knbN9reBxd8LjU1l/CZredZqX/kxQddTwRu2Kvj6pHU0BQ3tngbMOdFY8ig9ngPa/HcKHpSmJvd+Bcweah5Wo75RWBsMSdPDk/WYUsDJ2PyeabDB8cDAKUB+nWQ9QO2IQNoJSGFNFvLSQ+aUdfdU02LTswG6BFt2ysj4IyYkoVLJf9Naxc0G4/ES3axzE8ONqOsWyM0nY9L4x59wyYudbnZUFLkRdGti0hLGhD1eRZaKa+fOnZ22+Kxk9Z+bLrq4MRuma12ilYdWVSqrVfU/0hJizBcVLTdJSqqTsiRrOcfbDhVK1l11LWjJinGjCyaVKVfJYXwpM/TGumaZYZXxjRQq0z179nQOQbJBUYp3TmK5z1+2hcooPRvI3/tZ5GeCdYjjTfbDzwO/g6gIM/6Rn7Vo3e1jGU+qrvX2n+uI31fuIQj/z8O1eGOc+X3EQy663pIP23PrOqcjK3A0zPwHfFwjo0aNSmuSvGj6mdZrWOty98fA4U1A3V5A8/OAgqbhu8Drt/wTWPc7U1WAMnguUD8JSbuKNgPrfgtsfx3gv6k8U4lseXlwXGki1x9aBZQeNv2nck4Fr058IRtpna9wD+NcTG8DHClPvNTzRaD1VVZ0LepOcD5Zf/XAN+aWdtcDx5QbU6JuRBeKgF0EpLAmaz78SQe6PgJ0uD1ZrSetHSqU3JR6s55yE8TsnIlkt+QGhgoFE6tQ4s0K6w6U/WOcHK2vQSUkvEAS7T+VGNbmdJmw78wmGknJjnZCqMBRYXUT1FAhZyxsqt2bo+1fsq/jnNGC6W6woy2REk0/vFmcY60Xyva5+WeZHdcqRKsqFQvJUQL8HHP+In3munXrhiFDhsR8WFCdOdMqzYMa92CK65Nu8Ew+Favwu2jevHmBtW3TkRU42v7STZmuwa7kvJU1WnDe6w5+a5L8FJlcB+j+NND2R/G0FHpPhXWtPKaUv2WZvY53Ap3vrdx+Mq5nq6w92+99IM+TFTnx0aS/hYUXAozLpbS6HOj1j/T3IZEn7p9r1lXxTtNK//eAJmcl0qLuFYGME5DCmqwpoBsJT7RK9pkWj5sBNCh3K0nWMxJsx58Ix9sc3XWZlTfeGoLMyMkkO67LZrISgrBeJjPE0toQqUZmvP2nFZdJYNyNJts5+eSTkxpH540NpHLNpEHc9FdHYTZdNyELrXPnnHNO1PGNVfGgBevtt9+usPSx9mS09Se5LhkHS3dlCq16tAhRAZAcJeDP7uxnQ2s0Px/JOMypTtx52LVkyRJn7bsHX8wmTVaxlOaqin8qkzrFMx/8zud7hUJvBx7GMVmeJEoCtOJx38ByKhRaQI9NUDliaRmWmAmSmi2Bdj8NrS3K+rFuKJP/nlivry6xkhv+DCwtPzgobAMMX2udt1zEFbb5H8DiK42bdo0GwAmbgBrhy5RFuVp1mQhklIAU1mTh3/QisOQa0xoTJozYZt0pozee0j9sup1RYY1ns0GL1RtvvFFRsoIbNFoovVlCE8VMix2tw26ij2T03x8XSWWSVpE2bdok2t1K93tje6kssS5rMvkkvcNxNMh18Nprr1VYV6mU0200mTJ79uyKGptUmi644IKoLH20BtEDwD1Q6d69u2MlrC5laZLFmC7sTBQWLotvMsrOJKuvtrVDRZXu5rSOukI3Z8b5Rlv2pSr+TOrE5G+2iD9rMg80ON5YXfXjGQ+/vxnesm/fPselnF5C0XKO53mpuacMmH+2J9ZwqHGprVEv/sd9811gy7/jvz+RO/OZjfZjk103m2XPl+YgofSgGcWQeQATaGWLeGviNhsL9H07W3qufopAWAJSWJO1OLwviRYXA72TVJctWf0DMGPGDMdSGSS0hvF0PFYXNm7SuEFz4wK5UWFCnFTEBEbqP8fEeET+icZKzI0WlUhudigcP7Oipqo8A62sfB4txhR/BtYkTnPGmuLa4hy5PLlxTXYdXR5YUKFyLeLRcKTyRWWVSiuFVvQxY8Zk4eY29VNLvnQJdtepuDBQUAAAIABJREFU/4msp8ssuJJgAlyX/Ay4idZ4FZOD0fU8muRU9Pj44osvAt2B2ZZt/HlIRQ8VxvC6n3sq1Kk49PMSp6LK9453nfJ7n94rjG/PKll1L7D6PtPl2p2Nwse/45VvfwhsfC7euxO7j4q2k6TILu+ymAfFuFwqrPyb0u1xoP3NMTeTkRsYg/tFJ6Boo3l89z8BbX+cka7ooSKQTAJSWJNFc1pL4IjZEKP7M0Dba5PVctLa8Sac8TfKlz0trLHWPKWbLhUILiQKFRS6WqbihJ1JWqj0RRLGjjEWlxa0cMJNzqRJk0JqSVLRpfKTKosbn0lOboxvspIRJW1xJNgQx0elkBYiCpNW8QCE2V+TKVQ+qVC5HKN5Dl01Z82a5XSD80uFi8m7JJUJ0O2afMO5348cOdJJJiQJT8B/QMIrud6otIbzqmBCK65RhlaEs26zHRv5MyHX66+/XqE80kvnrLNSFy9Hyyq/a9xYdO9M8HuV75+syhGw6yNg7ulmGHTfdBS+wfF/xLa9Diw8P/77E7mzdjdTHSEby8B4x03LKmNA935pftrsHJNEE77yRImwStW9e6YDX5dbuKvLAUKqWKndrCIghTUZ07VvHjCrvNA304YzfTjTiFsktC4xhi9czVO6V/J0OtZSIdxkUSFw3rU1ajibhWRb1bwY3Wy+kTZ1vJ6bJiqhtPR6LRvcGDKRk5vF1s08TNfVVLvoehVuPouKU3XZ/FOBZHIpN5NsNJbPeD8etOZ8+aXZSHBuI1ly+QXHgwJXAaOCy+vjzW4bb5+z6T4qTaxV6ybOYt+5Xul9QDdqSdUEuN54uMZEX+53Iw/SmITMK/w+ZgwoM5S7h35BrdvOnxZPb/wuS0RFOjSsmmDwFVSO+c6hJTpIeEDGgzKba/lW6nfJHmBaC6C0yPzq2H8BLS+LF5G5b/ktwIanjmbv5c9YG77bE0CrKyorXqm+PrHRZObupT8GNjxjnk13YB4kkKHtsvpeYFW5xT6b68jazln9SzsBKazJQL7uMWD5raal2l3KXXrssUJwU0SLoldZ5Qk0rWKua6W7qeJmPtpap1RSJk+eXJFkhAoiaxCmUniqzg01N3jcFLKvTETCzJpuQh33+dzkMakON9pUUOn+62YfdhOjULFl3Go6ksjwmcyq6VohqWyxf1RayS6bxXtwQZYXXnhhyg4AyJGxsu56jhQr600CRb50V2QcoCQyAWZ7ZlZmurLT+4LKB62EqT7UqU7zQobMSu0erpEdPVj4mSdPV/niIY8/azszWPO7meW+soG/3zIfjwdJuJhUfufz+5sHVbyG7y0vL++aIWMqrKk8NE3JGv16GLDHhFOg7XVA9ycTe0zxDmDuKIClcygss8MwpXp9gq2EdCPd8r/AhqeBg0uAxqcCne5N3vWJjSYzd299BVh0iXl2zRbGclyX/CwWzuNcllcs90RrdDIw4EOTIVoiAllOQAprohNYVgIwBfr2N0xLDYebL4h8OzKy0UrCk35XSeILvUePHo77K2XFihXOibU3Sy5jUKtKvsRNA9vlhtZ5H9at62wUmBkzE+JuaqjIclMT5C7m7xc3jsziGU3Ma7LGtHbtWsfS7d9wtW3b1nEZzL6kIXAscW+99VZc2Xvj5coDijlz5ji307I/bty4StmIeaDx3nvvVfTLtoQ18Y5d92UPAR6iMZOut4ZtuN7zoIdrlIdX2Zi92u96T2t8tFbWoJhUvlP4PmFctfdgNdLs8yCW7yGWD8sqWXYTsP4J0+X6A4DB5rstbjm43MRgHl5rmlAcY+woj2wDprc1NXLzahiX4KZnx95OOu/gfHPeOf+UTvcElzFKZ5/0LBFIEgEprImC9KelZ+wqY1gtEdYGpJLkCpNh0MrkuslScaIVyt388zq+9EePHh0xnpWKKrP2uophMuttJoLOVVyZ+MTr0uhvk65jdF+ONclUIn3jvQsWLAjJIuptr3fv3hg4cGCij0j7/YnWR42nw3S1pKuvO8f+ch9c1zwYcNc+lQFuZJm1VSIC6SLA9cl16roGh3suv4cYIkAFLVVx9KkeMz9ztCgzoR2Fn7nzzjuvSu8VHjCSUTiraSz9jiamPZb20nbttv8ACy8qf1w+MHInUJCA0r1nqonBpLJFGbbCeH9JYiMwexiwt9zy3fEOoMtDsd2f7qv3ziwvr7jfPHnQNKChkuSlexr0vNQQkMKaKNcDC82LwU241Gci0PzCRFtN+H66oVEJdeNL2SDdZ2k9DbLiMSETFVdXAeXGntbHevUqp9endZWJWdwSM9xkUcFNh1tttGDobvfJJ59UWJb992Uq1ol1RMNtXmkVoKUwm4Scudl0N6nM0HnKKaekJOmWlwvXKQ9jXDdwsmPSMHdtM2ab8+9atphdNR1xytk0d+pr6gns3LnT+a4MZyGkFZGHVAwLyFZF1UuRrrv8XLpu0MyJwENSvkfoteM9KGXNWXr+8B3lJlELNyN8t/CdxD909+XnnPfxfh4KuO8tMuTBH+uAZ5Xsm20UjeI9ptv93gaajo1/CGsfA1Z4wpSosEpiJ7DyDmDNI+a+BkOA42bG3kY676BL99KfmCcWtgaGr8uu+rHpZKVnZR0BKayJTtnOycA8uomUmpZG7gotyp1o+3HezxIjTJzivsi5YaCFKZz7K69jMiLGh7rCU38qAf6MvyxhQwWXwg0ClWAb4wJpYfOOx4syU7FOEydOdGLXgoRK9CWXlMfMxDnv6b7Nn7GTayHWxF3x9nnjxo1Ooid3HXpr6PLn/D2Fm+Tx48cr0VK8oHVf3ASoUFFhDReiwKRwPOCpLsLDTH723BJS7meT7wkemDLLMZVTHo7ybyq2kSyrvI+uxYyf5nvIG0NNpu79zKXAmGH3eQx5yaq8AIfXmIPvQ+WKZac7gc4Pxr8s5p0F7Hzf3N/mR0CPp+NvK5fvDNnf0fK9DSiw2EtnwThge3nN1VbfA3r9LZdnT2OvZgSksCY6oStuB9b+yrTS8HhgUHka9ETbjfN+vvyppLGWn3vKzdNobhRYXD2S8HrGW9GN0t1EUBGlZcq1nvJUnBY1t34pT7u54bLJuuqOkfGsVNqDJFOxTpGUaFon6aacTeIdD62cY8eOTVtiHq5RJhOjFYvCOGAqrcwgysOXrN28ZtMCUF8jEvCX/fJfPGjQoEqZg7MdKbMe8z0SJFQ6q8rw7r0v2u9pfgcwpwLfTxRmAefhWVXvPGtYlx4oL6NS7n7a5Eyg3zvxJcsp2Q9Mbw2UsMZ4HtD730CLS60ZalZ15MAiY/ku2mK6bYkHXSBDZ97bACV7zbz3+h+ASqtEBKoJASmsiU7k7CHAXlPjERbEOPDFzRp1rhWP1qVYCrnzPsamui5aPOFmFlaWvKF44xX5f2YVTnWR+HiniCfwzMob5G7GzMEsvZBuNzy6UXN+gpKwcHN2zjnnWKn8B80BN+NMtuQebvBgg2slneJXTqmwsryG66LsdxVOZ9/0LBHgZ4OhGbQo+oWZdMeMGZNy9/l0z4L/HVHV8+n1w+/qoLI+sXxPMzyAYQCuUGnlAVrW1GRdcg2w6UXT/Xp9y8uoNK8KX+Xf07JKCyuF1kCWY2EiJ0nsBPw5StpcC/SwJ0dJyIB2TALmlyeF0rzHPte6w3oCUlgTmSIni1xrgJmCnSxybwFNxyTSonMvJ4VKFpUaf+xPUOPu9YzlYVyP1zWKsTxMiBSLYsZTalrOvIoeFRHGD3HzRbcvCt20RowoL1Cd8KhT0wCVKrov0zWPyjh50mW1T58+GdkocgPLeqzcwDKWlRs1/nGVPir/tIbbaLH2zhAPRphAyk1qlKks0VyrdLl0LSvc/PLfmVSiU7OS1Wq2EqBFkVmt6flCzxR+thnPydjVTGVVTyXLSF4kfC7Hz+RI9M7h9x3/zc9sMr6n+f7jO8q14vIZPLDNiuzrG58Dvv2hmZrCVkbRrBtatzeqeVt5O7Cm3Ourbk9gwBQTzyiJnUBZKbDwfGD7m+beBseb8jaWVIEIGdCyG4D1fzQ/4rrh+uE6kohANSEghTWRifTW6SpsWf6C6Z1Ii04iIyatcE+b3dgfujcFKTHe6/2xQH379kW/fv1iUlbdzlPRoyXQVQT8g+LpNWNis6H8glcpJE+6pcWiwCc0oWFu5obK7Rfd55ishMJ+MfbKLTuUimcn0ibXGGOY+cfr2sf4NFrb/fHOiTwrmnvJkB4Bbnkl7z3sE9dopuc6mnHomupNgJ8bN96S65GxmNW1pi0VT34/BAnj9OkFwfwI/vEn43s6KBcDrbSuh5DVq+zAEmBmL9NF1s2kwtHoxNi6XFYEzD0d2P25ua/xKKD/ZCXeiY1i6NXr/wAsu9H8rHZnMy/82yYpPWhcl/eUh6Q1OQvo/y6AfJt6qb6IQEIEpLAmgu/bHwEb/2xaqNev3IWnWdwtcjIYH0pl0S+MxWGCDr8sXbo08Hqe3HOzTstXvLJ69WpMnTo18HZaW5mQiRsQSWIEaBnnIYU3UcngwYOderm2KVu0qFLBdq3s7sipqLKOLLOdplPC9Yd9IMOsSrySTnB6lgikiAA9R3jYefDgwUpPYJx+uMPXZHWHGZn5feo9xOrfv7+TPdjuQ4JSYFob4Eh5vGTXx4AOt8SG5fC68jqcy8x9ne8DOt0dWxu6OpTA/vnAV/3Nz2hZHfCBfaVimKyLSbuYvItyzO+BdjdoJkWgWhGwVmFlpsF//OMfFbC5+fzxj3/s/P/pp5/GrFkmbvTmm292XkRpl5ID5sXg1uhiCvp+b5lg9ziEJ8MzZ87E8uXlBZ/jaMN7Cy2gVCgZJxWvRIpFSkb78farOt5HN25u8lzLumuJoEubLcKNILNxhivLw76eeeaZae0u3YGZqThIMtGftA5eDxMBSwkwQzcPO72x+nwXMalcOmJK6XrN71M3OWCsuRwyhpW1WFmTldLiIqD3K7F1hfk0uC9xEu+oDmds8MJdXWaSGRVtNhd0fxpo+6PkNJ2sVnZPNfPu1t0duhigO7hEBKoRAWsVVibLYUKV//f//l8Ibrcw+Xe/+10sXrwYzz//PG677TYnHiatcmil+YI4tNo8ttvvgPYTKnWBp8zsJ+MWGUNJyyfjQVkXkr+jVY0bbr7gg5JOxDumZJRtsbEsTLw8suE+rhFaL92ajYy3ZQbmVLpd01WR8b1co66Fl+56jHvm30xexJ/TWsF16reserlmoixPdSsTlA3rVH0UgWgI8LuD3xn0IOF7jx5C6YzN53cWlWY3ASG/nxjL6n8PpzuMISI7b/3Umi2AEzbG5s67+X+Axd83jyhoDIzYAuTJCyqa9RrxmsVXApv/bi5pfhHQJ8aDhIQ7UEUDrBXLmrGUOscAxy9N9RMTaj/SvoN7+SDPMhp1qBOwZCMP+Gk0YWUA7lUS8SRMaCC6Oa0Esk5hvfvuu3H11Vc7Ch/lwQcfxHe+8x107949reCcWAEqrIwdoAyZbzL7+cRbD9L9FT+MfHFSMamqDl28g+LGgBbWRJSdSLFIyWg/3rFV5/tYEoIlidx4ZLpeMzY0VUlD+MVPN3S/+x4tEtzIUUGNtgwFk6cw62k6hRZfKtxBkon+pHPsepYIiEBkAgwZoNIaVAeX72Em36O7sDWy+1MTg1pmEhvi+G+BOjHsbRb/F7C5vPZm8wuAPuXWWmsGmKUd2fQSsORq0/mCRsDIXXYN5OsRwJ7yUlLtbgSOecKu/vl6E27fwX0OQ9mCPAMZFz9v3rxKdZvlSWX1VCe1c9YqrKyhOWOGqUk2e/ZsZxGPHj0at956KyZMmFARK/fII49g/Pjx6XcL3vAnYOl1ZjJqtQWGr60U4L5ixQpH+YhWqARSUXEtbN77gmJ/Uh0rlOr2o+WSS9dROaS7O08RKdxU8XCGJXhSYQng+uQ6jVZ4qsn16d8A0qJPt/10Hxyx73Sl9yvVmepPtBx1nQiIQOoJ8HuK8awseRMktMzwYJfZxa2QA9+U1/0sdz/t8SzQJtTLLGw/Wa3gi45AkUngh+5/AtqaMCpJggT2flXuas3atnS1/gJoOCzBRpN0u1Otoq1xB2a1Ch5SNDsvSY2npplI+w4mS2zfvn3Ig3lwTp2A3hpBwqRqTK4mqd4ErFVYvdjpBvDYY4/hrrvuAhXUG2+8scLCev/99+Piiy+OWmGlJSncyyvaqa5TNBOtdt2KgiPmJbi3znhsbvpYpdsZjxpUA9R/IZUAfkjpgskJ4X3eDThjfpg8Jsidim5XsVwf7Rjd61Ldfqz9yYXrucnil7NbnohjZj1R1+pKyyGTcEUSuvG6lseg69kWDyT8aydcm3Tp46EJN3Z0XfYmiOI9LNPBMkfpTmpCViwX4o9jzVR/cmF9aowikE0EIr2HeSBIl0JbFNYapTvQbuv3UFhsXDr31rsImxs/GhXuWsVL0GHzOOfasrzaWN/8bzhUODCqe3VRZAIFJRvRbtv3ULPYJDUqrtkJu+tdiZ31yt2vw9ze6MC/0eiAcR/eW+fclFzfZP//oKDIrJeS/GZY3+LvKCqwW3ljrfQgw0y865CeaOk+LI+3r5m8j7pEUPLWTPYplmdnhcLKjfd9993nKKzPPfccLr300orFyZ9dc801FQpsVYPnh4RKWLxSsOkJNNr5BPLLDlQ0wS+JXa1/j9LG5cW6y3/DuEC3TqX/edzYM5aVG2vGKnp99qlUM1Mw+0oXCbr1RrKuxXp9rGNPdfux9icXrmecFesJepVW77i5JliyyO8qzPuYLIt1Ur1CFxsquSxTxEQk/DtSPCrv5UEKN3NUlvlvr7BfbskjWikSSe6VjPm0rT/JGJPaEAERSJxApPcw36tDhgxxvuOskLISNF57OWru+9jpzpHag7Cr86tR1f2svfUpNNh6n3NfaWFH7Or0KkpqdrBiWNneibyi9Wi8+gIUHFkVMpSDdU7GvvZPATV9B8hHtqLeuhtQ9+CHab2+pKC1M++ltbpZjZy5OtyEaMnoKJWwjCRfTUbn09gG4/gTCRNMY1cDH2WtwspkShdccIFjdXz00UedDTNdgd977z3HZfLOO+/Eq6++6rgD/vKXv0xP0PWuT4B5jC8pqQyzbm+T7rywTcXvaMn95JNPAsHzRJeuSAoWz/RHwN7n82Bl0qRJgfFX7DWVyUGDBoUMYMGCBU6cR5DwUMRfqzfS6LOmfqG9U6ieiYAIZJhA1r2HV94JrHnYUKvdFRg4BahVleJZBswfB+x4x9xHd1XWC82vk2H61eTxqx8AVt1D27VvQHlAh1uBrr8K/blt11s2DQzz40FSsmTkyJFpL6mXrL6rnegJWKuw0iWSyiiFQdVnnWWsl7Q6MoOwa0G64ooroh9tolcyZpWxq0FSo4F5QTQYXPFbugMzKYxfSaDyzVPddNesTHT4uj/9BF5//fUKS2ayn851SMsorbL+UjU8KGK9RFr/JSIgAiKQzQTogsg9hT/W3crYtx2TgPlnG9wFDc2+ov5xkfEzjnHuqcD+hea6ttcB3Z/M5imzq+9f9QH2L7KrT+F6U7cHMHSJ1X3dsGEDPv3000qH8ZH2HfRWpE7gj2NlgkjmsfF7gVkNQJ2Li4C1Cmtco0n1TYsuBba+HPwUpo7ni6XRSOf3fDFOmTIFmzeb5Am0btEczzhAZiW0xgUp1czUfkIEIpVtiadhuqJzDdJ6ShdhusTxQIWWWcaKU3iQQnfjVCR5iqfPukcEREAEEiHA7zjGutOq480rwe85/rFKivcAUz3101mLlTVZIwkVVVYtOLLVXNXnVaD5+VYNK6s7M63lUba2D8TGLMYeZvwsvvPOOyGH5IytZHLJqvYdDJVjyBPzaHhDmrp27Yphw4YFlsOxfbrUv+gJSGGNnpWxrrqZgf33FbYFBn4M1Onh/IZ1VZmd0P1Q0X1z4MCB+kDFwlvXIlIt3FjxMLHXSSedpJPIWMHpehEQgWpBgO9jWnZYo5XCZHIMzeGG2SqZNQjYN8d0qf3NQLfHI3dv+1vAwvFAWampuzpiM1DQxKohZXVnIhkrbBsYMwT3fd22Xjn9YZJE5uZw3YFpyKGS2rdv5ZKQkQZArzCG27mJJZmQlHubqpJRWglFnYqagBTWqFExfKEYmNEdOBQaeO800fZHwDFPAXn5zn/ffvvtihMkvgzPPfdc0HVBIgKxEKDrO+ukFhUVhdxGa/2pp54KZsfzCl17Wfs36HrWc2WSL4kIiIAI5CoBHibzO9KV4cOHgxYaq2TpT4ANT5suNRgKHGdK/IWV5T8D1pUrtQ1HAIOmWjWcrO/Mvq+BeWcAR3aEDoUu233fAuqH5pLAgYXA/LGZub7fe0DD4VYi37Fjh7OfcTMEMwEQS1bG487LvRFzfLghd8wLM27cuLRXKrASdDXtlBTWWCaWcSIzex79EsorBOp0A1pcAnS8rSKT3zfffAPGzFDogskXIkt+SEQgVgL8MmbSEK4pN7s140579eqFDh06VLLYx3p9rP3R9SIgAiKQ7QQ++uijCisrw3PGjBlj14Hylv8FvrnMYM6vBYzYAtSIkMn4qwHA/vJke53uBTozQZAkaQSYaHP7m8Dax4ADC0yzTLTZ/iag+YWm/qlXbLs+aSDib4iH6Dwocl3yacA55ZRTErKKLlq0yEky6daFZ2kb1oNPd3m9+KnozlgISGGNhdaaR4CVd5g76G7T712g/gDzQkGe82OW+uAJkpuymxYwuhzRIiYRgXgJ8AvZ/VLml3FVX8ixXh9vv3SfCIiACGQbAdaRptLqJmE67rjjnENAa2TvTBOTWrLfdKn/B0CT04O7V7QZmM7qBGVGceo/GWg8ypqhVKuOlBUBpcVmSHkFQH5h5OHZdn0GJ4MJk5YuNfViKQyRS7QUDZVgfo5puaVQCR41apQ8yTI4z6l8tBTWaOkW7wTmjjoaV9L4VOMKUiM0iyqT1zAonJYu+ueffPLJWV2oN1o8uk4EREAEREAEsoEAXRJp7XFj4Oi1QtdEf13rjI3l0GqT9dcNP+p8H9Dp7uDubP47sPhK8zuW1WPyx7o9M9Z1PVgE/AS2bNnixI67oUrMBkzrajI+bzx8YoJT182YRiIqrfG4GWvm7CYghTXa+dkzFZh7BlB6yNzR6x9Aq8tD7qZV9a233qqwhNENeMSIEdE+QdeJgAiIgAiIgAikgcDq1asxdaqJ9bTucLlkn7Gw7v3KkGhyFtB/UoUnVwieJVcDm14yP6LHFxVWJVxKwwrSI6IhEJQVePTo0aDSmixZsmQJZs2aVdGcsgYni6xd7UhhjXY+eILJk0xKnWOAIfOB/NoVd9O1aNq0aWCtKApPd3jK40+KE+3jdJ0IiIAIiIAIiEBqCHAjzZrurpWV72rWe7emnNc3lwNb/mUGX6+fUURr+jb5JXvLFdvyzXqLS4He/w5WbFODUa1mEQG6zjJZEYUJj5KpNAZhYGgS87lQoaTEmxW4KsRBWYNZR54l/FIpzDpOCy+NVdzzN23aFEz+JEkNASms0XClW86MbiZlPKX7U0Dbn4TcyUByxq66ZWx0whMNWF0jAiIgAiIgApkhwPI2dCd08wMcf/zxTo1qK8RbRs9XNq+ifweXG4X1sDkoR49ngDbXWtF9dcIeAm6t9YULF1Zk1aXyyHKLLCtTVU6MeEcSlBWYOV1YhibZku6swdzrs3Tl5s2bne8P8qSLMxXlFi1aJHt4ag+AFNYql0EZsGwCsP4P5sqAFwcXK+NhuHApLGNDl4e6detW2bouEAEREAEREAERSD8BWmb47naTttDixPJfqdhQxzy6/fOBr/qb25jch4mXGp0U2syuT4D5ZwGl5WXPhq0AaneJ+VG6oXoToOff9OnTKwwq7mjpTTBs2LCUVLEIygrMUnysB58qSVfWYCqrX375JRhW4Bfu+xkPzxrPkuQSkMJaFc/DG8wJ5sFvzZXNzgH6vB6Sxnz58uXO4nXFyrpuVY1TvxcBERABERCBHCPgfX/T0sRkMG3aMOtupqUMmNoYKN5jOnLMk0C760I7xTIrK241P2OJveOXZbrTer6FBD744AMw8VGQsKwTDSzJrmThzwo8aNAgx6KbSgnKGswDqGRbPFnvnkx54BUkffv2Rf/+5YdNqRxwjrUthbWqCd/2H2DRZUDZERMXMuCDkJTxBw8edNJqcwFTGAfDD0gysp9V1TX9XgREQAREQAREIH4C9JB67733KmL7mjdvjjPPPLNSjev4n5DAnfPHATveNg2w3nvv/wttbN6ZwM4PzM8YpsRwJYkI+AhMnDgxrHLFS1kOhkodYz75N/ex9Dpg/Xc3xpvxmVQ4aSGl+6tX6HLM69zr+ZmiFdJ1tafnAq2r6cjc688a7Cri3JNzfH369EnI+5HjWrx4cUU1kKDF1r59e6dCSDqFrFeuXIlly5Zhz549jg6SjPGmcwxVPUsKa1WE5p4O7PrIXNVwGDBoekhCA9aV4kmSK8wKzOzAEhEQAREQAREQAfsJ0GXy888/r4jvO+mkk9ChQ4fMd3zNw8DKO00/arUHhpfHqvL/rPH5eUOgtNzK0/sVoMVFme+zemAdgcmTJ1conlV1jl4GVGBdpdN7PZUgJhNlwiavUEFiDhcacIIk2VmBqxqDP2uw93oq5DyQikf27t3rxK3SQEUlPZxQsadFOZ3C+OR58+ZV6lci401n/6N5lhTWSJT2TAe+PhFAKZBXE+j1P0DLyyru2L9/PyZNmlRxctW2bVvHnch/+hTNROgaERABERABERCB9BM4dOiQ4ym1a9cu5+Hc5NEilGw3yZhHRuvp/LOBsmJzK11+6fpL2TEZmD/a/JtlbAZOAerJDTFmxjlwA93eaVhxLZ7ukLlXZbx2ONfWIDT8bLRr1y7kV0xexj9BQsvsmDFj0kqZn2Mq0OHGNXToUHTv3j3qPlFR+vbbb0EDlVvvNdzNjAumgu5X6qN+WBwXUhehizL/DpJYxxtHF9JcExCRAAAgAElEQVRyixTWsJhLgYWXAHQJpvAlwbTytTo4sQAM7qbrgbt4+WJjoDU/nBIREAEREAEREIHsIeC1ytDKREtSKhPEREVm/0KTQ+PIVnN5z5eA1t83/155O7DmV+bfdXsCA6YAhakt4xFVn3WRdQTWr1+PTz/9tJL1rVu3bjjuuOMc998FCxZUJA5N5gCoEF988cXJbLLKtuieTIWV5SaDpFWrVs6BlL+EFRXc+fPnY+PGjU7SpB49ejhtfPHFF5UUVbo3c9/PkjZe4SHA+eef7yRfTZdUNd5MuCinYuxSWMNR9aeLb/P/gO7PYNE3i50Ptlu+xr2dHwDGrqYqPXgqJl9tioAIiIAIiIAIwNmQvvvuuxUbUFqR6DGVUSnaAsw9FTjwjekG9yE9njVuwPPOAnZ/an7eZDTQ7y0gryCj3dXD7SPARER0CabbLoV1Qlm6iXGq/uRitNDRUjp37lzQ6yAZwuedd955yWgq6jb85XSCbqQizdhaxqyTBa3Pc+bMCVFAXW9Jr/svFVUq+r169XIUXiq3NGIxftQ1YDEskMlX06UP+Mtq+sfLMpvsT7aLFNZwM7jpBWDJD47+dugSbN7byHEbCvJdZ6Y1WljTeaqS7YtP/RcBERABERABWwhw08nyH67wEDqjGYPLSozCuvtz06WGw42n15Ft5dULyrMCd74X6HSPLRjVD4sIMK6RRhYKFTDWCa0qPvvrr792EiglQ+h6S5fUdApjaWlhdZX0qp4dpJgG3UMFl/zq1asX8msqu5988omjvFKoDLPebLrcgmfNmgV6iISTkSNHolOnTlVhsP73UliDpojJDGYNBvabDzmaXwT0ecWJAaAPe5AwSJ0LVC7B1q95dVAEREAEREAEKhHgRpexYEyuQmGWTWb75Ps9Y7LiNmDtr83j6xxjXH+LNhlFtqTcHZHJIKnMSkTAQ8Af28j9KQ9hqsrWy8/B1KlTK5XCoTWSyo9fYYv1+nRM0rp16zBjxowQSzEtnjQusb+xxO3SEMUyNV26dAlrNaVVl98drvdlx44dHeU2lcIxUFldtWpV4GM4Xro10+27OogU1qBZ3PoysOhS85s8FuyeDDQ+xckiuGbNmrALgxbWZNd7qg6LTGMQAREQAREQgWwgQHdIZtx0Xv95eY7XFBMqcsOakXJ1W1larzz7b0Ejo7DumwMsudrgrFEfOJHunqGlRrKBdVV9ZKIbJgyiUFmgG6YkegKMx+QfV2KxtNFqSMsslSF6FdJCx89AODfXWK+PfhTxX0mFnZ9nb0wqFUn2dfPmzc7a2rBhQ6VkVP4nRhse4LdMp9JDg7G1VJDpDuwKD9Z4qLBz586KGFzOW3VJBCuF1b8ySw8BC8YDOyeb39TrCwz4CKjZwrGuekvYeG/lS40WVgZqS0RABERABERABLKPAK0Wr7/+eqU8FbQq0bWRymtahQmXprcB6B6MfKDvq8CW/wO2/MN0o/mFQJ+Jae1Sqh/G+Mkvv/wSTBbkFbpnMxZPoVdVzwDdYVlf2I2r5LploiFJKAHG+FKhpaUyXNwuLZTRHJbQM4OuyFSsnI9m8+YOc7oIJ1NYVoehC7TqukLr+ZAhQ5xnVleRwuqfWboBO1n5tpnfdLoL6Hy/888VK1Y42cKChH76XCzV5SSjui54jUsEREAEREAEwhGg5YWbziDJWK6Kmb2PJl7qcCuw+a8AEzJRuj8NtP1RtZpQv2XQO7hM1LjMNri0iDIrsKvw0/JGD0DGYEqCCTDhEqt/+KVRo0Y4++yzo06g5I0npTWaNZ39ZYASmQMqq++//z6oaLvCpFFUjKv7QY4UVv/KWf0AsIrJC8qAgsbA0EVAYRunvhFfYm4KayqmXIzMgEaTO79E/SmyE1mUulcEREAEREAERCC9BKzMVfHttcDGZw2I2h2BQ+WhSTXqAv0/AhoOSxgS9zgsj0ELM/c1LOmTqdjdt99+G9yYBwm92M4999yEx1udG6Cb6Mcff1yh1DDJ0ogRI7RHjTDpdLFl4iK6QNNSyjhfhvgNGDDA+TxEK/z8TJo0qaImKhXes846K66azoyHZQZi6h3sD//PJFqMwaVQD+Hc0liWkXCFaKEk6ToprF6QTLY0rTVQvNP8tO31QPc/Ov+ke4obS8H/00WAwcyUdKWuTtKcqxkREAEREAEREIEAAlbmqtj0V2DJVZV7W7uziWmtnVgGUCo4tMjRJZLWOW6EuVlnwqlkuzNGs+gmTpwYNikOa19ecskl0TSTs9dMmTLFic10lZpx48YpXC3K1cD4Vlf4OYjHa5JKL1123YoijP3t27dvlD0wl1E55WeSHh/uZ5I/91YpYfmcYcOG5cxBhBRW7xJa/wdg2Y3mJwUNgf7vAw2Od+oreVPdswgvs39JUY3p86eLRUAEREAERMBqAlbmqtg7w4QqlZjYuAppeAIw4EMgv07cTP3eY96GuNehZS6dllbGXL711lsVViT/wNgnKtKSYAJr167FZ599VvHLPn36OFZCSfoI0MrKEphMfkShhZYu2f7syuF6RGWVRrLVq1cHXsLPI2NqqQTnkh4ihdVdDiV7gbmjgL1fmZ80GOrUO9t/CCGuwPQR58JjLItEBERABERABESg+hCgBYMxYnSP9Uu02UKTTuPQSqOwHvJtYNtdDxxjvMDiFW+dTn8bdEPkfidd9STJnsaBSGU6Ro0a5bgrSyoTYFwjQ9dcRYkKEucvFpdWcU0OAa7hadOmVTTGQwMeHkQjdIdnBuBwpXcYhsiMz7kmUlg543wJsJTN6vuO1jXr/gzQ9tpAV+CePXvG5SaQa4tL4xUBERABERCBbCPAmDEqcowfY7yY64aXMQWgZA8w5zRg3+xQlH1fA5qNTwivTS7QLGPD0iCMJ6RQYaaLppvplj9T0qXw002LHBV+1621d+/ejnU1HrfWhBaVbna+MxhHvGnTJocGXdnHjBkTlWs2D8uosHrdk71Ic9XLQArr3pmmjA0LcTPREoW1V4evxcr1+yu5AssVRd9EIiACIiACIlC9CXDDyT9UWune5wqVgIEDB6Z38HQJnn8ucKQ8M7D79OHrgFrtEuqLt+6sv6F0ZpdlaRHGXrqHA4ydHTt2rJNMZurUqaCrq7M9y8tzfs5kNpKjBMjtjTfeqEj2U7duXYwfP17KagYXCRVPfnfQxZfCBEkMJ4x0gECljIdIQR4e7lBy9dAmtxXWQ6uMGzDdbXxyuP4YfLj+KuzaZ0766ApMVxR9SWbw069Hi4AIiIAIiECaCcyYMQPLli1znspqAHSzTFu9wwj7FDQfD/T6O1Aj+iymXnR0IWWsnKsMBmFlKRRmIU1lSZRdu3Y5yqpbv5KWVcbOsu4qhfUmaa1yXSRpYaJLpCozmBmjsspSQAsWLHD+z7hG1qtlUh5J5gjQU4CHLevWrXM6wXXN8jNBnyV6cjB+nn/CuQKzDR7gUBdJl5t+5uhVfrL1Cisn7+GHH8Zll12G0aNHOyP4wx/+AKaep9x2220xZ9+qwLDqboBlbALkcGkDfLjtTuw60sH5bbSFg22aXPVFBERABERABEQgMQJ79uxxYgPdchLMoMtNY1oUpgj7FNRsZrIE14stA6mr5HhdFiMR4iaZG+2mTZsmBjLgbm7q3333/7N3HeBRVVt3TctkJjNpBAIJJfQiVUQURCyAgooduwJPxfpbnh31PfWp6NOnYgcbdiwIiiIqIIJ0VFR67z2kzCSZTPu/dSYzmczc6SWT5O7v40OZc889Z507d84+e++15oAYu813v0WHjFEnt2PNyC/xT9qhQdxnHd8OSZzFFFL+TaMuJw9V6oPhOb4za/i9USLnm2++8UyEUVZqs3obszjo2LrfL4FmzbRiXtuyZcuGD0wUM0hph5WL+MYbb4jQOFNAmP9N9jgOesyYMeIk4s033xROK39AIrZ1Y1y1qxLmcKow78jDOFzdBTIrcMTIyhfICMgIyAjICMgINAoE6DAxdXbdunViPnSYGAHk3iDhFmSfAoVGkEMiKzICFtboLlu2TKQ7u43ZY+3btxfROmaUURZl164avdeayE7//v3Rtm3buKWZsjaVEV73fZgqSY4QOqy+Rof2hx9+8GiLctN++umnx20sCV/HON6Aa3T48GGsX78elCRiyqk77ZS3Ydop10m21ECAddlcK7fR8WS0leRhrFPl8+9dr8rPO3bsiA4dOghNWD77bM8DmqYYWXXjltIOKyOpnTt3xqpVqzBgwADhsD7yyCMYP368eLHSnnzySeG8sl3EtuNhYOeTkpdVOwz46chEWNRdZVbgiIGVL5ARkBGQEZARkBFoPAjQSZg1a5YnbZUETKNHj068wxRknwJ1LtB3AZDRO2yguembO3dunWiO0WgUEUtv2Q3O948//qiz0WZE+cQTT/Tsv8K+aYCGPADgPdzGwAOd0EAyOr7tTz755LiNJda5JPN6ssgy4k/dXF9jGjUxlC11EKDTyfVyp7wHGxkPjsiVw++kbHURSFmHlQx9LFa+88478cQTT3gc1rvvvht33HEHSOtMmzRpkvjRIBFCxFaxEfhzGGBx5Zd7235Lbywuvh29+w1Bly5dEv+jFPHg5QtkBGQEZARkBGQEZASShQBTUilV4WaxpQ5ir169Ers/CLJPQc5ZQI/pgDo8AiIylrIelxFWGiOaBQUFYORUSvqE89ywYYOojXTPmfWRlOcg8Uu0+qx0hqlvz7G4I0uMHA0dOjSoVqWvZixTX+loM/rUlIxMwMRPypoqg2wqrz+/b0zZDuaw0kGlr8HIarTfq1TGIB5jS1mH9fHHH8e4ceMEq5a3w0oHlg6rO8L62GOP4dJLLw3bYWWOuLsAmgDqLEtRcOx2KB219RMltjaYd3gidJlt0KlTp8T+GMVjFeU+ZARkBGQEZARkBGQEEooAnbaNGzd6agVZI8gUVtZ4JtKk9ikWdRfszfsAdmWO5K2ZRkgHlVE46saTNZaph24WXl7EaA43yMFqcdmeup50kLzTFt0ElO7+qVHLVMZgdvDgQVHiRRxJ+OQeCzfoxJFjDGV79+4V6cpuY9pkIgmhQo2nPj5nVNpb6sd7DFxLqZTq+hinfE8XAnRY+d4IJFPDzAY6q4l2VJnqn5QyhgQtfMo6rJ999plnyiy25yngJZdcgunTp9dJAfZNEQ6FE7/kTKdwG3W/SvctRa5mI9KVZSi35eOApRdUWhczHhdYNhkBGQEZARkBGQEZARkBpvcxMuiOODIFk1HWRJvWthXp1t+hchyFVdUOFdrBsCuk0wa5r/Gti/N1auioMlMtXI1OOq1r164NGCVyO+9uZl/v+5H1lDXAZAP2NTpY1AoNl0CJuLNMzL2PY3SVjLhNKcrKKL87Su6LJ50fMijLljoI8J1BoljvOmPv0dGJjCpLNMIp8kCpISudpKzD6r0O3hFWFt2TLODRRx/FF198gd9++w0PP/xwWCdzvmvL0z7mlUsZw/PDhg2THdYIvxBycxkBGQEZARkBGYHGjMDq1atFxMRtI0aMCNvhSjQuwfY17nvTwWY6c7jOqvs6Ooks1QrEZspILtlpfQ/6KbnCP1ImxZoaCiNGWBcuXOiJ0Hbr1q1JRRV9SXy88SKfCzlfZEsdBPh9oa/hzYTtPTqZJCu8tWoQDiv1uZhuwi8iI6R8UfG0j8Z04GiNJx5kGpYyhubpsCaCxj3a8crXyQjICMgIyAjICMgI1C8CviQqZPskUUoqyIgE29cQtX79+on602iN0b0dO3ZEe7nfdQwOnHfeeRH1x3Ri7guZXkxjKjEd5aZCVMO06EWLFvmlmDJKTecnnNTqiACXG8eMANeMmRnehz3MLmAqML+TsoVGoEE4rKGnEV0Lphp707Z790JiAb4Ao5LLiW448lUNFAHb9pWo/OVd2I/shKbTSdCdcTOUxrwGOht52DICMgIyAjICoRDwjhpyv0B9RB6s17clel8TrP9o5s40xWgCD4yy0ml1G1Mq+/btG80Qwr6GqdbuIAdrZ2Nx/MO+qU9D1v1S3pGHJm6jg0pel969e0ccNY92HPJ1kSNAh4up8Xx2ebjCuu14ykRFPqKGdUWTdlj54uFppJQxpYUR1qZyYtewHtvUGW3lL++gcuHbgLXSMyhlVj705z6EtK51xaFTZ9TySGQEZARkBGQEYkGA2V5k/nRnezEddvjw4fVeS5nofU2w/qPBMxZWW2/nmdEq4p+IrDgSS7EUzZvsiXOlFiyldZLFdULSHpbB0XGmMaWbTipZm2WTEWjsCDRph5WLy5pYd1qJ92IzTE/SJdlkBAIhwMhq2bsTJD9W5bWDcdwUKI3NZQBlBGQEZARkBBohAmThZZTPzf7JiAklYurbEr2vCda/1PzduqEkX/I2RleZyRatk8nDAtYGMkWYRsInSuMw4h1Po8wipX2kLJn1s0ePHhXzdZP3UNaH+KVCKno88Zb7khGQQqDJO6zU9eLL6NChQ4L+nVpkRUVF4EsoGNW7/DjJCFR88zSqVn4uCYQiTQ/j+ClQF0ShDyxDKyMgIyAjICOQ8gjQcWAt4f79+8VYKW/Dw246Evn5+QmXqQgEkC8pFJlB47mviXTfxDRWYrR+/XpPRJq6q9xnMY06UvIn97x5UMDIp7umlg4wuU7IlMv+Q5V00QEsLi4W3fm2JxsxPyOJFbVo3U6xL+ZMx6WTzjpmX6biYP1H+nDz/iS8co+XPCunn356yDlGeh+5vYxAqiLQ5B1W98K49cCifXGm6gLL40ocAqbp96N67Y/SN1CpkTluCtRtE1tTk7jZyT3LCMgIyAjICIRCgFIt3333nV8zOkuM9iU7+sUo5owZMzwMuqxtZNpqIiyafVM01wQbOzexX3/9taTGJWtMKZnjG3HlGFiD7Bs1ZXvWwm7dulU4174R4WDj4N6RMkFkX2YpWaD+pcYTztosX75cjMtt1Fqlwy+bjEBTQUB2WJvKSsvzjDsClpVfwPzNU5L9KjNbiJRgVbO2cb+v3KGMgIyAjICMQGogwGjjt99+K6mxyOjhoEGDwMhfMoyOGKOr7hpH3veMM85As2bNknH7ersH2Ve3bNnid39myZ144omCkMjbSLbJyKyvLqY7YOF2qqOdECO8ZIN1p4q7+wk0nlD3YZSXkXx3lJfredppp9V7vXSoccufywjEEwHZYY0nmnJfTQ6BY8+dDWfZIb95qwu6wzhuKhRafZPDRJ6wjICMgIxAU0EgWH0jU0RZY8h002QYnWcSQfFvGtOSmTYa75rOZMwlknv8+OOPOHz4cCSXRNSW60dWXqYJe1s0Di6lZ6jbG65JsQKPHDlSpJ3LJiPQlBCQHdamtNryXOOKgHXrcpR/cCvgcLj6VSgBp+u/FZp0GK58AZqOA+N6T7kzGYFURMBZXQnb9lWwH90FpT4bqja95OyCJC6UjH8Swfa5VaJlZCKZ2caNGwWLrDtCyChcQUFBJF00yLZffvllROm7oSZJLhPWpNLh5x+yAEvV4DKFmKnfJO4kDwojoSSC8o2set8vEhkfKVZgphQzbVk2GYGmhoDssDa1FZfnGxcEnNZKlL93E2y7/xL9KQ3NYLj2NZS/NQ7O6grxb5rOg2G85uW43E/uREYgVRHg82766E5Yt6/yDFGhz4bh8uegKTo+VYfdaMYl41+/S0ldxbVr10oOgvWrlMdLRoSVzg1rV91po3S4eO+mYPGMsHKtRo0aFTVs3FSTRZl/Sxmj3Yx60xEOZTIrcCiE5M+bEgKyw9qUVluea9wQqN6wEObPH4TTWiX6TD/pCujP/ieqln6Iih9eApxOiqQhc+wbULcfELf7yh3JCKQSAozsmb/6Fyxrf4LCZ2Cijnvsm6DEk2yJQUDGPzG4RtIrU0UpNSLloLCWkU4j/0600Wmm80xjreSQIUOaRHSV8yVLMEmJfFN2iQPrV311UqkIsW3bNsn2lDPs2LFjTMsVaDzuTjku6s+SUZopwlJknzx44HPl1vmVWYFjWhL54kaAgOywNoJFlKeQfARKJ18I+5Gd4sYKrQHZ934PStnYi3ej/J0b4Kipa9UU9YfhutegUCWHdCP5SMh3bMoI2A9tRdk7N8BZUSIJQ/qp46AfdntThiihc5fxTyi8YXfuS4rjfeGAAQOE1EoijQQ/dG7KysrEbZqaPqdv6qwb606dOoEOqG8Nb6TtI127QP379kNHlU4rGX99nVaZFThS1OX2jR0B2WFt7Csszy/uCFT9+gEq5r7g6lepRsa590N7wsWu/3c4YJ79FCyrZricWV0mjNe+BnWhXHMS94WQO6x3BGy7/0TZOzcC9mrJsWi6DYXxyprvSr2PNsAA7FZUrfoK1b/PEjW4TGfWdBgA3dAboMxulaqjFuMKhb+qRUcYLv8vVHlFMc2DB3CVC9+GdcsScTihym2DtL7niveeQqONqe/GcjGdRdYyMnq3fft2lJaWiqmxZpEpoIykJcp27tyJpUuXemonyYxLZ62pGetI3RFJpvaGSruNtH2keHr3T6kbRuPJ4My/vY2fUSeXKcD8Q4eX0WJ3LSyfHUok+eq8Rjoeub2MQENGQHZYG/LqyWNPOgKOsoNig+4o3i3urWreAcbxU6DMyPWMhZu7kudHeQiYtCdchIzRDyd9rPINZQQSjYBt/waRUeC0uFhJfU3b5xxkXPxEoocRU/+VC95A5YIpfn2oWx+HzBs/iKnvRF8cKsIq7q9QQn/uA0jvfyGgVEU1JEbRrTtW+6V9p59yHfQj7oiqz8Z8ERlr58+f70k5zc3NFWzBiZK3oayO20Gm83Peeec1Zngb9NzohFJ6iDI84crnyKzADXrJ5cHHCQHZYY0TkHI3TQOBqsXvo+LHyR5nNOP8R6DlRtDHKuY8h6qlH7v2i2otMid8AFV+0zvxbhpPRROdpd0K86wnYPnjWwBOSRAU2gzoTrsB6SdfKbIRUs0cx/ai7N0b4SjZLzk04eidOCbVhu0Zj33/BpS9fyuc5mPBx6hUQdN+ANIHXw1Nh4EROa6W32bCPPNxyf6VmfniwI4RV9lqEaBTsmrVKo82KFNS+/bti27dusUdJtZiUlOUxvsMHDjQT3c07jeVO4wJATqqPNRgtHXv3r1+tbTenfOw4+yzz47pfvLFMgKNAQHZYW0MqyjPISkIOCpLUfrscDjtNnE/dZveyLzhPcl7M/Ihallravu0vc5GxiVPCiIm2WQEGjwCTqdIi69a8mFYU9EOuBgZo+4HVKnltIZKqU3plGaHHWVTroVt33q/NVCk6aAw5sFx1JUJ4jGFAtrjL0DGeQ+JiGnVL++IWnxNp5OhO/NmKI3NvRo7YT+4BaYvH4H9wCbpdVapkTluCtRt+4b1HDSlRnRav/nmG48mKmsUyT6blZUVNxhsNpvQXS0uLhZ9ZmZmikiuL8lQ3G4odxR3BA4cOIAFCxYEjLZGIoMT98HJHcoIpBACssOaQoshDyWFEWA06ev/wPL7N2KQJFgyXPm8K1ohYU5btWARrl6/QHyqNObBOG6qzJiawkssDy18BKr//kFEV92pwKrm7ZE+6Go4K8uhyMiCs8qMyl/ero38KdXQ9hkF/dl3QaGL34Y9/BFLt7Tt24DydwOnNKf1OguGS5+O9TZxv55SNhWzn66JbovQGrS9RoosDkVGNtStqYPbTrx/qn59H7Y9f9cZgzIjBw6mcdtqa4+VWfliDWGzwrZvHWx71sJRKh15dndGx5jvNblGX3qJqd1JnVar1SoaULPz1FNPjVstIp2dhQsXeiJ0PXv2RO/eveP+vMkdJhaB2bNnewizfO9ETdjRo0cndgBy7zICDQAB2WFtAIskD7H+EWCkoYwb24oaIo32J8B47atAEPZfEb2ZOtYzeEYwSOQim4xAQ0bAfmgbSl8d40mLZ11k5oQPoW7Vtc606PAIZ7BG+okf0pGiNjHJyFLBHOVHxBjdjN++Y1LmFIoIYqqRL1Wt+BwVsyd5UrFVBd2FhJYi3SgJa9XCt1G5cCp4kBZPYyqwcfxUUMJINn8EmPpJMiTKnLgtnqzBjMzRKaYxEnfRRRcJSRvZGhYCv//+O9av98+U4CzIIkymY9lkBJo6ArLD2tSfAHn+YSFg+mIiqv+c42qrTkPm+Legbt0z5LWmT+9F9bp5oh3ZR7Nu/UxEW2WTEWiICLDms/yjO8GUd/FMazMEoRgjkVJm27sO5pmPwX5ws+djdbt+yDj3AajyEyv1EQ6+tu2rYPrsfjiC1ICSYVd/zv3QdDix/lP6nU5U/z0X5q8eg9NmEVPk+AxXvQhVs7aBp+x0gGtBnWjr+p/DdlwV6jSoWnaBIiMXtq3LPfd03yjjgn9Be/z54UDdZNtYLBYhOVNS4pJ+ihdrMKV02K/b+vXrh+7duzdZnBvyxClLtGTJEnBNvY0R+cGDB0Ov1zfk6cljlxGICwKywxoXGOVOGjMC1m0rUP7eTZ4ppg+8HPpz7gtryoyylr83AU6ra3NJ8hn9yHvCurbRNHI6UbXsU1hWfSGmpO17LtJPGRt48x9p+4YOVBLm6zAdReX812Hd9KtIS+dzqOl6aoTIOVE27RbhuLgt/eSroB95N13XgH05K8tEdoL9QK3Tygirpm1f2PZvDGs88Rl/3SGS8bv01cvA8XksTQ91yy4i1dnbyVakG2C84nmo2w+IELP4Nrcf3iZIopwmV82iQmdE5nVvQlUQPpkPDxysG38JPDCFQrCfk2wqrc9IoTNNc6UXfwDb7jWA00WypRt6PXRn3hLfSTbC3kiww2goa05psbIGsz6W/bkdHDo0w4YNA9NHZWu4CPz9999CEomRecrc9OrVy0+fteHOTh65jEBsCMgOa2z4yVc3cgScFhNM3ODt+E3MlKQkxnFvhq1r6LRUoPzD22Db+Ye43pVCNwVk12wKRkfDPONRWLcsrTNddYcBMFz8Hx+SFyDS9g0dw2TMl9iz/lDnBxEAACAASURBVNqbCVehSYeWzuawW8OCkGm9Fd//D5aVrkMHkocJyRrKNanTQvbhKD+MitnPoHr9fMm2wcYTj/H73pTSU6ZP7hZRR9cXUwPdkLHQnX6TmJuzyoTK+a+havl0j3NGx00//DYXK3iQUoCQYETZwFF6EOUf3wUyA7teRtSAfgDa/hcI6ZpwzbLqS5i/flKyudLQDAY65m2k6yD5HJg+vQfWzUua5PssXIz9njcJ1uA+ffpEHRElyRJlc6qrXSne1FxlqjGJnWSTEZARkBFojAjIDmtjXFV5TnFDwLplCco/vBNwuE7G0wdcAv15D0XUP1OCmRrstoyLHhdRxqZglfNeR8XCqUHib/4oMHYjte1KH3QV9Gf/s1HBFgwfV/Qytvk6zMUof+dG2A5vk8TUeOULIBNuKLOs+U4cPMDpcDkq+Z1EbSfT3CMx86zHYVk9U4jgRLK1DtQ+3PHXHaMT5e/fDn633ZbWdQgMl/8XUNV1vsmCXPHDS4DD7mpKTdOz7gKfxWQaHcXyD26Hbcdqz20Z2WSEMxore2scbLvW+F2aftLl0I/iuyrw6ti2rUTZexNq32cX/gvafnJacKh1iCdr8MqVK7F5sytjgU7q+eefL6eNhloA+XMZARmBBo2A7LA26OWTB58IBFinR8kHp7kE1Wu+ha2m/o4smiSXYRQiInM6BPmSm6mTtWaZN38smIYbu5VOvhj2I9vjMk1lbmtk3/l1XPpKlU6C4cO02fSTrhD6maJe2iuS6ayuhG3bCtiP7hROo7pNnzoM1M6KY7BuXy1SPy1/zQXsLpZSX9N0GADdaROC9k+inqrF0zyMwMrsAhiv/J+obYzU+B0oZ0qrFxFTpH14t2d0MeP8R8PugrhRI9my+ivPNZrOg2C4+Eko9BLsxXYrqn6bicofXxZR1xoPAdr+F0HT/gQwrVgK/7AHFKCh7/ra961H1covPQdnad1PR8aF/w5IshTq/oy2V/48BSx3oIarslkbaHuPhPakK4RudFBzOlH+0R2wblosmon32U0fiXpm2YIjQFbfRYsWeViDs7OzReon5WhatmwJtTqw7JPJZMKhQ4fATdvatWs9zMBdu3ZF//79ZehlBGQEZAQaNQKyw9qol1eeXKQIiJrTj++qleNwd6BQiA2itu95kXYp2jOFjps8d6SGNbCshW3sVvLMMDDKFw9jHWHOQ0Fq7+JxkyT24Sg9gNIXz4czgDPpPRQ6Raw7ZV0hJUxYh2irSVNnOzpbhsv+C2VGLioXvgXKzrijoeFMKVT/nq9Bml6w/JI4KRoT3y86rHFiq1W16Ajj2NehNIRHZGZZNh3mOc960nxFij5ZgLOCp+hbt6+E6ZN74Kwql5y2G386sbEa62f5rvBeX+8+lc3aIevWT0M7lrEOJMj1rtr8mzwHD/rhtyN9yLgE3rFxdM3axGXLlok6RV/Ly8vD0KFDJSVvjhw5IuRrSODkbVqtVuiu0vGVTUZARkBGoDEjIDusjXl15blFhAAjqyQ08a71c3egzGrpkrfIbR1Rn+7GjHiVvXeTh3iG0SkhQxFhSmVUN6/HiwKlHnJIlDjRdD2lzuism5fCtstV7+trlO7IuumjepxNfG7N+knWRlpWzYCz0iWTFK6x1pORV3vZIf+kTbUGsNs8zli4fXq3C9q/mzTsrLtAKZtozHFsD8reuRF01qWMbMOqFh08H7EG3PLbLDgrXAyrUsaMBzLVak8cE1hexekQGsqUgnGz61KKxXDZswHrNevcy+kEnVZebz+yQzKlWZnZHMax4de3S82FkVWmXlvWzZNMymXtu/HqF6FqWVdCKJq1iOUa6sCKFOWdv4tuSNLE2v6Is09iGUQDvfbo0aOYO3eu5OgLCwsxaNAgwSTsNkZWyQZsNpv9rsnKyhIOa3p6egNFQx62jICMgIxAeAjIDmt4OMmtmgAClfNeE9EpKWMEJXPcVFG7F62RYbNi7guuy5UqGK96EZrOg6PtLuWvcxzdiZLJF0tG+qgXSYedTqi32Q9tEQ6NpIOiUCLrlulQ5XdM+blLDpBOzw7KqDzgH8H3uUCh0YKRNOIhGFlrWFkjmrhCIdI0FVn5cBzc5tHs9PSRpgMojRJB/4yiMZoWi1XMexVVC9/xGw8PcbJu/tiPQChQe98xMMWe6cFpPYf59WHfuw5l0272REjZNppIsW3vWpS/U1db1nscseJDuaAy9h/AQadjTimZVLA6tfkKBQyXPwemKssWHIE1a9aIlN54mBxhjQeKch8yAjICDQEB2WFtCKskj7EOAt41pqy90nQYCIU29npQ0/T7Ub32R2m0VWoRYVW37Rv1ajDVr/T1K+Eo3i36ULfqhrR+50HdqivU7Y6Put9UvJBSIeWf3gPqXApTqlwpjCq1kA1JH3yNy1n3ZTd1OmDdulzUTNrIhmq3uSJiNaQ3xJ9EO5L1hikEBFMm6dy41rmrqFeuXDwN1WvneeoQ+RmjpSTgsh/c4pov23vhQ3ZdMlSTbMe6baXn2Qk4VZUG6oLuUHc4EZp2/VzRQ5VasPta/pgNx5GdUGRkQ1M0ALrTJwAqVUT9k6CJ+MdiXM9A41HmFPh1LdWezwFZe6mNzO+Vx5RqoZfqZs51FO9xzX/5p7Dzv8WzqBZkViRQizRSzHXlgQrsLnZWX4sVn0T3H8u6+S+MQ6QFW2u+40zPZo0/D1tkC4zA4sWLsWvXrrhApFQqRYSVep2yyQg0NAR8fydD7YNctf3LYT+yS/yO+XI3NLT5y+ONDAHZYY0ML7l1PSMgVWOqbtMLhqtegjLG9NqgEVZdFjLHT4Eqv3NMCFh+mwnzzMf9+iDrqG74/0FRD3IZMU0owMWW1TNgnkXpDJdeY1rPETBc+lRE8hviQqcT5hn/gmXN7Jo7KaA/536kDxyTiGHH3qfDhsr5b6DyF0YQg5kCqladhbanMrsw7PtWb/gZ5s8nwmmtlLwmVp3fkP0PGQv98P8Le7yJbkgn1DT9XtgPbAovCq1QQHfmrdCdOj6qoTECygirI2AEdDQyLvh3VH3zolAR1vQUw5/Oavn7t7hS0QGhT90UavOjXmAAf/75J6i3GQ9LS0sT+qtyDWs80JT7SBoCAX4ng+2DpGr748kdkLS5yzeKGgHZYY0aOvnCZCMQrMZU0/VUGC55MmqmSkYETdQL3ShN6sNooGHMpKj7d2PFKJd55mO1MhluN0ytFXI52n7RkToley2C3Y+MpiL9srJMNIu1vo1szWXTJnjqfxlZM177KnhQkWpW/ddcmLi+QVhwVXlFgkAprc85UDAtNwJj7aD5y0dQvX6B31WsHxQawc1ra0Aj6Fo0TXT/kY4nnPaMwFb/9QOqln4M+4GNrnkEEGaJ9XscDB/el6nuTJnWnnCx0HON1KqWf4bKH16UZFGOx/pGOp5Q7UUmxfu3ePRsGd03XvcaFDoJxuVQnTWRz8vLy0VNKjdfvkbipYIC/yyDLVu2SLZn28GDB9epeW0iMMrTbMAIBPqdZBZWWt9zBHmgrzHTyLrzN7/afqWxuet3L6+oASMiDz0cBFLWYd2/fz+efvppHDt2TOiLvf7662D6C1n2XnrpJaxevVr897333gsKcMvW+BEIXWMaZQTUbkXZ+7fWpq96Q6lQCPmOzLFvivTNWK3srfEBSYW42cu88X3BAuung0j9S3cdIzfCvqm0vgOLtH2sE6u5XpCxvDcBtj2udFj+ABmueVlIgMRi1Iwsn3aLJ7KoKujhIq1KN0TXbaT4hGzvBBwOCJKpPYGjJ9o+o6A/98GYDj6Ek/DBba6UYz4TrFVNNwodUUrgxGqJ7j/W8QW7XkS3WYdeoxfr2zYeEUopfFyJBK5sAhojuLozbg4/5djpEDIzlQum+E8vzusbb/zFIRw1emlNoDY/HvhRnobyNm7WX2qpMkrK9F5GTX0t0vZRjVHUslNnmc+xsuZ3KKqe5ItkBIIiEGwfFA10sXIHRHNP+ZrkI5CyDuuGDRvQokUL5Obm4o033kBZWRnuu+8+zJo1CzabDRdffDG2bt0qHFn+O9vK1ogRcNhQ/tFdsG7+VXqSCoWoi9Sden1ETgx1LM1f/Rt0iNzGtF9RA+dwQJlbCE3RCRH1GWwVjk06E2QMDmSsA1MXHS/uSSePKS+sXaz6dRps+2pqHPM7I/2Ua6HpeLL/poI1oJG0j/MjU7XsUxexVI1UC0lihIPmpSEa1S3tVpi/+6+ofXRtjNUiksU1j8gixSdEe7L8Mi2SZEqUIWFKZ0BL0yF34uKoIm++fZI917pjJRxH94hnRF14HFTN20cERbDGie4/bgP16ShZNaB18cmE01SMykXverIKqJmb3v9C6IbfHlJv2Wm1oPKnV2BZ+blH7ocHMdqBl0Opy0rI+sYVf7sVpVPHgpkVNHVhD2Te4D54i+udGlVn3NOQMZhOq8FgQH5+ftBIaaTtIwGLesKVP0+FdcsywVyuzCmEtu850A4YI9ckRwKk3DYkAkztLXnu7LrcAyGvCt4gVu6AGG8vX54kBFLWYfWe//Tp08GUmIkTJ+KRRx7B+PHj0b69a3P25JNPYsyYMejcObbawiThLd8mCgS4oauY/ZQgjQnFlqrMLoDhyv9BzVrTECl5TDEuffPaOg6kSF+97rXA8hhRjN/7kvK3rxdpLWGZQglNu77CUXVUV9RJhWG0N5NpMD7yFiTvKXtvAhzmY2G1D2scYTbyZQVmqk7WXV/HTS/Sabeh9KUL4CjZ5xqRYA3+NCLm5kjxCdg+TQdVq26ug44A0Txf2NSte7oi6LIlDAFXjemNcAQ4FIpHhDXQ4K1blrq0lmvqOdlO03GgYM8lW7OUkUSEZG/WzYtrP1apYbh0EtJ6nJEwnOLdMWufqVPr/i4YxjyDtJ7D430bub9EIOB0ouzdGwT5mm8Se/rga6E/685E3FXus6kh4HQKSTDTx3fBfjQI6Rizx0SWmZcx6C+IF2uzWLw/TuR7vaktUyrPN2UdVg5swYIFOHz4MHbs2IFrrrkGHTt2xN1334077rgD7dq1E7hOmjQJo0ePRo8ePVIZZ3lsUSBAYhlqJ1qWfFjL8BlGP6wLTOszCrrB10KZ20byCuvmJTB//Z9aPUiFEmndhkI/8h4os1uFcZfompDV1DzrCf8aNbdzHYF8CR0gMiR7G51htzai7wjTjhsmdCcTYSJN8pN7YNvhYgXmBp01v/GW7SGDsGn6fR55kkhZg81fPgzLmu8kIYgUT8lOAqwjI8yMNDPiLFviEBA1pjMeRfW6+X43SUYNKKPs5lmP127IFApoOp6EjHMf8HsXOY7tQ8W3z6CaWSM1hx48cMs4/xHh6DYkowwPD8rsBzaLYZOd2njNK3HLTGlIWDS0sVpWfyV+k6RM6P6SbDDA72hDm6s83vpBgIfMlPXjfo7v6EAW6Hcy2Hud2uGZN30YE3dD/aAi3zVSBFLWYfWeyOTJk3HgwAE8/PDDeOihh4TD6o6wPvbYYyLC2r17XT3HQEC4JxwpUI2nvRNp+/+Cbu0sqMoOwNqqF8x9LoVD3yxOU4y0f4n2vS+FwmlD5s/PQVXikoDxmFLt+k+n3VO/ZzfmQ2G3QmkurnsCp1SjfOD1cOpyoFv3tWe+tpy20K/+AAqPc6hAdev+KB/yf3Cq/OuH4gSMqxuHDRm/fwzdhu/r1KRWdhmGyh7nIX3D99Bt/RkKssCGGbkLd3wOjR7Fl4Virw23t7rt0jfPg2H5VM8/WtoNQvkpt4WutY30dk4njEtfh3ZbLTmW6YRxqOp2Vlg95X5+I5QWFxlU3EyhhFOjQ2XH01DV7WzoNsyRXF9z/2tFKrOvOZzAir0O/HbAdXrcu4UCg9oooQzC2VNeDfy8w46tx4BcHTCwUIkuzRR+ERL3vSJtHzds6qEjRbUZWfOfhvro1prvmAIObQbKT70b1vzEH2wqKoqR/cO/oTId8szemZ4Ja/OuUB/dBntmS1S3HYj09XOgKt/vaePQ5aBk5H/i+C5OLvjpm36AYUXN+0WpRukZD8La8rjkDkK+W8QIGH95EdpdyySvcypVKB3+KGzNu0bcr3xBE0PA6RC/e9wL0CwdhqCyx7lI27UChqVvQOErBUaZO5YOeXFzcB8U6HfS/73uwtepUODYBS/DkZHXxACPfLo6nQ5t2kgHcSLvLflXNAiHlenAL7zwgkgHfuedd3DppZd6UoDpxP7jH//wOLChILRarSBLX1M166K3oV4zAwpqW9aYQ58L+9BboOl6WsywRNq/ZPv0TCjsNiistSdxPHnTHDcMjj4XwqnSQl28FYqqcjiMLVybUIcDaZt+gnXlZ3CU1W4UmRYsGEMDRC5JCqQ58TJY+18BZxIlZdSHNkBd4kqLsWe3gbVFNw/REp1V9ZHNUB1YB8vy6Z5oYqyL41SnwTHmZahakEU2cgbTQPdn7Zpy5gPgDwqN/Tsv+i8c6YlhCuW6K2fe75Iy4Q+WRgf76CddmqMBjelIO6GafjsQQBImUnzJVqw96XLYW/aALa+zGIfbgq2v931KK22YtvwYthQz3anW2ueoMHZgDnL0/g7un3vM+HxNOUprv8LQKIHBRWm4qK8/u2Kk7SPFIRXb8zukObgOyvKDcGoNsDXrBHuWP/tqosauNB2CcsFk2LZKOwK+96X+oGPYP+Ew5idqSAnvl5grpt8mtH7Fe62wL1SX/DdkaUbCBybfICgCyp9fhuOPWdJtyGJ+yfNAiy4yijICARFwmI7CMecpqPfWcoGwMQ/hxAFxjY46/42ZLpoBl6K62wioSvcF3AdJ3cz9Xlcc3IDqFZ/DaTG53jUdh0A5Mg5cGY18jdVqNTIzYycPrS+YUtZhffvttwVjXuvWrfHee+9h586dIrr666+/ij+sZ/3yyy+Fnhn/nScHsgVHwLp1Bcqn3STZSNWsLYzjp4J1h9FayP6vex1KY+0pmEvD79aQt1Pos4VkjabTySHbOs3HYPr8QZeYfagIpUIJ3Rk3QTf0H3F14EIOMoIGFT9MRtXi96SvYLTOr07XWaeGzvdCOui6MyYgfdA14TOYBhmv0EZ77yYXY62bFfjalwVpVCJNsAa/fwtYA0gLyhrssEPIhfz0SkD9UtFJhHimn3QF9KPujWman686jFl/8IDF/wDhrONyccXAug5MWaUdk+bsxL6SKslr7hjWBv3a1jInh2p/1/A26N/OGNMc5IsDIOB0oPzTe2FdvyCgzA7XXdNpoEifDcn83QCAtvz1PcxfTPRETYxXT4amyykNYORNd4gkMiz/8P8k+SHIPk7JEHUrHqjKJiMgjQAVHCoWvhX8GFyhgLpNH8FmT6c1JnPYUf7xXbBuctX+8zkVnB7ycxoTrKl+cco6rMXFxViyZAkcDtKsQ9Sp0sgQTIe1tLS0zr+nOtCpMD7zN0/Vsqz6DIh1n8ZxUwXDY7QWrP9o+lRm5EB7wiXQDhwT2QvObhU6lRVzX6ytUfUdgEIB/dn/FHqYqWwO0xGYv3gY1m0r6gxT3a4fDJc+7UcOFai97xwp1aMdcAkos6JI00cNQdWyTwTOtazAF0B/7gOxswKHGpEUa/Cw2wR7stuc1ipUr/lOPPO2/S6G5UAWKZ6B2ocatvfnFpsDD87YhkNl1ZFcFte2p3XNxvVDkhd5jOvgG0BnlDgqf+cGUCtWylwHLa+LDVdjMEZaOF+Sq9B4cGW4+sWY3jGNAZdUnwMPHX1/Y9xjpt614bL/JoyIMNWxkccXGoHSyRd5vvOS77mWXcRvs/a44UCcMtnsBzejbOpYz6G1putQGK/8n5zREXq5GmyLlHVYGyyiKTxwslFWr/1ReoQqNTLpsLaNXtPW9NkDqP77h/ggoFQJnU11Uf+o+ws6njjMN+qBRXFh5S9vw/LHt6JGV9t7JHRDrw8akfFun9b9TDiKd6N6/fw6qTkchiq3NTLGTBKSLJZVX4mRpfUdBd0pYwNHYBmxXPYJLCu+gL2YNcau2ktlZgtk3TkrbqzAoWASrMGTLwTZnl2mEPNJO3400roMgWn6vbAf9a2BViGt66lQtuiA6rWstQmNp8PpxN9fvAr9prmivanjcPS+9DYoVSrJIbL9938fw88bXfJFgztl4dzezUCtRbvDie1HqvDzhmNYvr0MdFrr0xhdZZQ11e2Y2YYvVh/CX3vNaJmZhrN65uL4tsZQROD1Pi3b7r9Q/i4dVulDCU3302C84n9JHycrJIjl7DVHcKCsGj0LMnBx/+ZoZtDEPJbKBW946ckqoMjIQVqXU0Q2izKrZcz9iw6cTli3LkPVovdAaTISWwXtP9L28Rllg+jFUXoApS+OBt+nwjQ6KDOy4Cg54Bk/U9aN17wMHmzLJiNQFwEnjk0aFliuT5OO3Icp5+bD/BsHGCt+egVVv9TychivfAGUuJGtcSIgO6yNc139ZuWsMgl2Vf7ISxmdDUZYVc2i37xaVs0QzLvxsESPJx79x2OeSevDYReyBZYV00UaTZ0NNH9IfNKn1e37w3Dxk9IR3C8f9X+OlCrBCpzW48ykTYk3qt6wUDim3lIiYgC+c1JpxKaZUWVN+wGAyr82VGrgJRU2vLFwL/7e66rPdVv3Vhm45bRC5GTU7SdQ+6K8dGTp1Nh1tApsI03On1ToxM2uPbklRhznX/ea/JEEvuOa3Sa88+t+HDVZPY3S1EowZfqyAamtv83DlLJ3bgiY6aEfdR/ST7o86XDP+O0wZv95BNW22icxJ0OD605uiROKYov2kjG85PmRnsiHe3J85+rPuR9p3U+Peb6VC95E5eJpgJWp8S4L1n+k7WMeYAPpgL8D5hmPoPpv10E2y28yr30Viqx8mD97wFVaI8BViXdnxsh/ShLHNZDpysOMMwKOihLBs8GDo0BZJJTnorRXIsxRvAdl797oeb+S6V+wk+sabp1mInBqLH3KDmtjWclg83DYYfr8ocDRVf4e5bZG5rgpMZ2Ab9q4Bc0+vsyP4MgJBRYaR+CrnGv8Nup3HHwcHS0u8hy3sf2GwnPR4+qHwU1ULFb29j/8ZV4UCoj6Q/74xpF8KJZxJvNa27YVMH31b1AsnpEKQUoVwQACtWd6NWWBkmkha2cUCigzcpFx0WM1NdCRzBQIVmMaeJ7hIxpIzShDq8IDI9uifZ5/ROOL1ax7PewnSUyn+PHz20PpU9ccqH1hjhZPX9TBr30y1y/UvUhK9eS3gWt2G0INbsW811D1y9t+NYKqVl2RddNHCYk8BMOVhy+sg5aylllpmHhOkSTZV6i1cn9O6anyaTdLNhdcCeOmQpkZC1dC4P7DHaO7XTzGE+k9U6k9uQfK35sAp8VFcKjtPQoZFz8h0ip58FD66mWu34kaY2aP7kyubWTv0VSaszyWOCDgdMK2+08RBHGUHw7YodCLv+51qArCU/GIZmQVc18QkjnCeHB+2bNxORSLZizyNYlFQHZYE4uv6J2nQDypdJiPQZXXVqQvBRKSj/dwHCX7hcaad2SVp6isWxQvGtKK15imw4nIYF1kRk7Ew+CPWvH7d0J5aKO4lk6nTaHBIU0rrMwYjEWG4bAq/J3PHNtRnFU2E12r/obRXobDmpai/Yqcs3DfuZ3QQWLDHsngmO5U+fNUWLcth9NUDGWzdtD2HQXtiWOSlroayXiT1dZZWY7qv+bA/N1zQmonHsZDj+w7v45HV2H3EbR2RqkUdcraPuf4nbhuOliJrYdcm7SiPB26t6pbx1tWZce6fWZ8tOwAjlXEBx/3pBgdbJ+Xjo7NdejQnA6pEz9vLMGOI1Xi8KCoWTpG9WqGXq0NktI2VrsT8zccw6LNJdhfUg1jugrHFWTgwuObI08ipdO7/a7iKhJqC2th1OCJCzqAznGqGtOnn/x2B6qs0qnTxG9Ejxww4p1r0Hi20WzPlNf9pRZkpqvRJV+PguzAklWRto8EL0YemH1CDULHkR0iRZbvWt1pN4C6q8m2dxbvF8+PlGk1Skw8p11M713z10/BsuoLyf6DcSUcLKvG+v0VKKuyibRvPv860l/7mHnm47D8NjMusMWDuyEuA6mPThwOlH9wm2dvQCKczAkf1Dm0tu1bB9PHd3uY97lvyThvItJ6n10fI5bvmWQESG5o2/OXuKu6oLso0bIf3CIcRJaXkSfCbfwuKZsVwVHiKtEhUVf64GtcB8UJSAd239dZVYbSN6+Bo6b8R5VXhMwJ74Ms/rI1LgRkhzXB62nb9QfKP74bFFZ3G9MWDFe9FJVjGMlwHaZilE25FhRtdpsyp1DUhvJvGll6rVuWej7XdB4EwxXPR+bMOR0wfXqvIDpy2xLD6fgsdxwciK5uQaVUiI0TN5qyJQ6BkmeGwSH0a2M3EsfkPLQw9o4i6CHY+KXGwxpSRhy/WXOkzl3O7tkMl/RvjkPlVnz9x2Gs2F4O1qLG09RKBcad0gondciEVh3d9yLW8dAJf3buLtjsrrmN7JmLq06KU11hrIOTuH7LoUrhsNLpDmbUrKXTPvy4XHRqocNLP+3BxgO1slgGrQq3n9latPG1imo7nv9hd9jtEzDNpHb58vw9WL5NWouYzyjfu51jeO8G5zJQIOOCR6Hte26dGvlNByvwwo+7UV5VK+/Edbx7RBtx4CDM4UD1pkUwf/UvEf2LizUwLoO4zLmmEx6gEEuXKZAx+mFoT7jQ7xYuFuE7astGFEpk3vAu1K17xXM4cl+phIDdhsr5r6Ny0bt1RqUqPA72Q1vrpOIzGq9k5sQVz0PVnJJ5yTdypzCL0F3axMNA3RnSWR7JH518x3ghIDus8UJSoh/f/HrvJpouQ2C49KmERVptO3+HeeZjsB91aX3ypcLILmU4eALlNmqWmj69B2SzFKZUI33QVdAP/7+w2NasFgtMP74M54qPPX3+rh+Ij5vdCItC6/k3bhjP6JYDXVrtRn1/aTV+2VTryHvjo1Yp8H9nthbEKrIlDgHTXWH2wAAAIABJREFUFxNR/eccyRtQ1zTNh8CgetOvsO38TbI961dJWZ9MCzZ+qfEs3VqGqYv21qnd43h5QJKtU6O4wuqXahtoPp1b6HF8u7qnuKy33ODlKHlfO6AoE3cMa51MePzuxUjiS/P24K89Lv061uA+NKoIrbICRx/rc8B/7jEJRyaUw+oeIxMVNWolqm10fOqmLWbr1XhwVDsUZte+l4jHGwv3YdUOss6Hbl+fWMTj3jyweXn+XqzaIe3w5WZohMOanxn98xCSy4C/RZ1PEayhmqL+YGT1qe921qlRds+1bxsDbj2jNTT7/xLyXtUbFwWVK1Pos6DtfxGU6bXfSzIW0zmTMsFlMH4qVLnRczfEY12S3Ydgc552s4iWifdffkcYr3sjIBu/ZfVXqJjznKcumQfexqtehKpFx2QPXb5fEhCo/ut7mGY+XtcxlbivMitfSORp+51Xr0znzopSIXNn27dejJKZK5njp9RLBksSlqfJ3kJ2WBO49JXzXkXlwrcl76DQZYkvlCq/c5xHQPbEFTB9eHst6x+1/tqf4Iqcev2Qu2/sKD2IsjeuqhNpo8OaPuS6gLUqjHeUmK34ZfYMDFr3PFROV9rkAU0hXmnxIMpU2Z55saSOBCmM5PhWvjwxe0edyIY3GMZ0NZ65pEPtCXuckZK7gzgtLXt3Apw+UdZAtSeRtk80xpGO57FvdmDzwdrIW7DxsRZUo1LAznodnwgfD2Dul6gx3XPMIjbfZZV104gDtU80PlL9M/X4kVnbPI45v5vXnJx6UVZGPu//YmvAlOwMrRJWO8TaxDsa7sbtvD55KU/sFMkzxAOAF3/cjeoAEet2zdIxcVQ76GNME5fkDpAYKAmnvs0eg1nrpL+TORor7sz4ETl/1h6IurrhL4lP1D0IN0Gg8bCOmNwNjUVWKNxnwbLqSzB1241hxoWPCacjoDkdqPjuWVQt/9xzjap5e1fqZZp/1kK445DbpSYCZW+NB7MDA5pCKepEMy56PGWYo6v/ngvTZw95nk/d6RPAP7I1HgRkhzWBaxlURkahQFrXoSK/n5Es4bgqXdFHV83rSlfNa7N20HQKXvPq3R4WM6pWzYCz0qVTS82r9BMuhm7YrZ5oLk+0mRrI9CuSbLBWSLNvjauA3nTUtR1INyDj/EeRdtwwcQLu3Z6bmoUbS7B/zSJcvOcl6B2uaE2ZKge/n/AIDmZ0xsaDlWLTzv5P6ZSFYT1yxebf18j8OfOPI4KFle0z01UorrAJ+Q9at5Z6EWnN1IXH6prA5WycXTsdsG5biarF02pOJ501tSfXiufOr/Yk0vY1qDHlj+mdNBIJ+daM+oIbdvsIx3Pzh5tQXhW4JpWRfdZN9yzMQNeWelFruu1IFb5dc0TI0XhqTHs3Q69C/xpTPrbr9pvDbl9fD9VHyw5izt+u7zq/l4w8plL6Pd9Nry7Y42Fn5uFBM4MaZZX2OjW76RqleK54CMH6x62HKz3vjnhg26+tAf8c0TYeXdV7H/xOMVWaRFY0pqVn6lTiQMB9IMNMgzEntMA5vZvFNF7BHbDwLZCASXAHkLuh0yDYti5zaSJ70u0VOJjeFvP0Z2GXtj2KLFthcJThqLoFdI4KnGxagNbVO6Dwck7pZGr7nY+SHeth2bYC6dUlqDQUotnA82E4WZqbwHs8zCrycDco1eK3UXcKD2ebhlGupmzKNZ7feu5BjFdPDixjVgMLa7Ervn0Glt9medaPetS8XpXXPuQ+pWmg2zhmeWzSmYFlapRqGC9/FprOg+OmqRoX1JwOkbrOFHaxh9VmIPPGaRGlKTurK2DdskxoypLLRd2ur3i2ZUsNBGSHNYHrUDn/DVT+PCWsO5DJNK3fuVDnd4Z5zvMSNa8vCrZTX5OqkfW0USghmFvPutPjeEjVCnVsocM/R7RB+pb5deoAFCo1jlz4Jv73p75ObRH7z7Mdwm2HnkKuzVULaFdpUT36WRT2GxLWfAM1sjmceG3BXqzYXpuydmb3HIwd1CrlNRdjmngjvThYzSglSXwPMSJtHyls/5m9I2DKLjUo/z26fUwMqZGOp77a8xCK7LvFZhfpGp1VshKTEKq+jb7MJysO4ru/XA41jaUBrEGVOvTyHi8d1mfm7AKjs/EwljBcP6QAA4qMKc2mHGqu1LF96rsdYBkGjTjeenprIWHDd+59X2zFoTLXZzwc+M+FHdA2tzZ1OlT/4X5Op6fyx5dRtfyziMne7AoV/sw5HcUn3YbCvCx8sOxAnd8l9++Yp+Y1wKCoN1o2+ULY3frNCiWybv4EqpbxznYKF5UktnM6Yf7yYVhqykC4qTdS77zwuLAG4awqF7wXnhIir6tc3BzS+5SwOpcbpQwCwTIk1G16IfOGaSkzVu+BuFivb4LT4pKhY0mT4fLnPcGgYIMWz/ZHd9ZRlWAmpOGyZwRJnmz1j4DssCZwDUQh+GcPxOUO/DFQF53g1xdrDXh67GsKjRa6Ybch/aQrPbWowWqFyFhKpk39X59j4K4PoHG6Ni9HNC0xJe8ukerrNp58jz8yWTD7ui39zFuh5yl1mPqWwUAxWex4df5e/LXXFbllSvHFx7fAeX2aiVpD2RoOAku2luEtiZpRbpgHdcwC0769rdxiw9KtpX41pmw/dnArDO1Sm2oeDQqfrTyEr30Il9gP+x83uBVOjbH/aMZUH9cwEvzl6kOY9YfrwInRtltPL8Tx7eq3ZpypvXP+KsanKw96gnB8L91+RmFYWRYW1qT+sg8rvQ683PiyhpXpzz6qP/hzt1lExQMZ2/dpbcA5vfNCZgbUx1qGuqfF5hCHgKt3lnuaMtX5ouObew4A1u4zi+ir29HnAcbdw9vAkJ4YBmketAqm0fU/+6f2Skzob10/zM8chS3a4PIY7ppXKXZh726tlPb69F5wk0pTt+0D45UvCB3Sxmys8aPD6SaBTOs5wpXWqQ6/ZpkkjexDyjRdToHh0qcTxs3RmNcmVeZGVmBmB0ruK9Vp0J/3ELT9RqfKcOuMgwdi5s8nonr9fNfeUZcJ49Uvg052MGNk1fzlo7Csn+9XtqY05olDnfoilEpJoOtpULLDmiDgecLDkx6e+NSaQpz0qPLaQd1+AKzr5oPCy0JWJM6MpN41stycVtscePfX/fh1S02qcIB5K+HAZcXv4GQTNxIu268pxAv5/wZPuJmadfXRN9G3YkXNpwpo+1+AjPMfiSuSR0xWUQvoPvVn5IcbKKZqJtqIFyN9TP+kf0wnWXaTo0M9kprRUHcgaygjoNEaU3of+3q7iCi5jc4II0qM4l85MB9kSW0qRhzu+WwL+F2jUfZl0sWdJKV0koUJSw/+9+Nuj4wNo94PjYqMBMhcbcdzc3dh66EqOPleVQBGrRq3n1koDuV8Taq9SqEQdbFej4q4bMRxubi0fwukpynFO4Kf84nhOyIVHx2O8e3F++uQ2w1on4k7zqxL/kWYpi7a52nHObGumfNNhBHbGb8dxo4lc3DF0begc0gfGDgUKsxsMR6LdaeJWvJQP5OsFaeObJtQ0WFGGmc+BsvvbhkuhSAkZE1tozWnE6bP7kf12p9cU1RpkH3X11Bm5kc05cqfXkUldYUlLHHcHBENUW4cJQL2fetR9sFtcJq9Za8UrpecUgXtgIuRcdbdqZUK7DNXx7E9KHnxAg85G6OsGZdOEpEPZg3WKXPiC8VhgzjAmn4/6LhKWfqgK6EfcacgJa1r3Cza4KRWnFT/Ua6DfJk0ArLDmqAno2rpx6j44UXxMNPSup8GdfsTocopEFpWQofVbhOkN7YDG4Vja107L24SI/ximS56BeuUnUQK5JZDFSgJU08yzVmNy46+jRMqlnhqhyyKdDEPs8qILHsxVE5Xyp263fGCGTYa7dZQ0PPUf/JPe8ANJS1Hr8adw9sI/cpE2VGzFTNWHwbvzUhvc6MGgztlC63HVEiXTNS8E9XvhA82wmyJT3om6xXfuq5bVEOlHuf/ftjtSYnkWp7ZLQetstPQOlsrZDx8I29R3aiBXcTU+9d/3uth4b30hBYY3TevXg5oSAb14k+7PQ401/u2M1qDUbNIjey/fO8dKq8GnRjWTQdjQvZtz2diX2k1vv3ziEcfl2Pgvq1Nbjp6tNJj3f7a/ru1ysBFx+ehhTH8SFWkc4qm/bz1x/Dx8oNglJVG3dq7hreRTHs3Vdnx9Jyd2HnUpa3IdOh7z2ob99pmHp5+uvIQFmw4Jp676w+/iN6Vq6Snp1JDf92bOGjsLsa17XAlVuwo9yM1c18ciRwao4xlZMrd79IOF+mx17wioq2N0Rh1Mn16n2sjr1BCP+xWpA8ZF/FUg3JzCJmgKVC37Rtxv/IF9YiAww7LX9+j8vsX6uxByWEi9qsqtWCEVrfpE5Z6RD3ORNy64qdXUEVJnpoTLkWaHmQQ1xQdj/TTb4IyTQ/rtuWCv4PZHqxZDXYaxgwEVWFPaNr1hbrjQGhqcKhaPh2WP2bDUbwXCn2mp39VjWxkfePQ2O4vO6wJWFH7ke0offlSzwkPTzCz7pwZUtu0Yv4bqApY86oA1GlQeO2qHQ47FHZXdMTXKpQGTM6fiH2a8Oj62a2GIYKa/jMcJty4/2kUWraLSKNU3Ik1tVm3TofCEBtBR7Al4Iaa6WzuqBg3nQ+dU5SQOkNGS6j5uPEAT/vrznhkr2YiAtd04m+xfTH4O7F0G9duT8COuLn0TfFmRMhNuCV14YShBTilU3ZEziU3xf+atR27imtFzk/rmo3xpxSkZFQsNuQju5qO2tPf7RRkRbQ8A2VNisRBTTKNhGuT5uzyrBGfC64108br08im+9nKg/hx3bGQZE50ih87v33KPFMb9pvx1He7PAzKdECfvqijWONAtvlgJZ75fqcnws05PTiqLfRp8UkNrrQ68PK8PSBbsdvOLZuBESUzJIfETWbmuKlQ5XfyfP7l6sP46vfDku3DjrDWXG3btUbIYTirXc+/qqC70ClvbKzBTH0ue+cG2A9scs2Tupnj3ow4usprg3FzCHb5cVOgatmlPr+28r0jQcDphOXP72Ce+QRgd5WC8UBD8J+cfXckPaVMW0fxbpS9cyMcZQf9xsSDKfF958FNlMb3kiqntU8GpaszdWEPZN7wflh1s1HevsleJjuscV56CpqXf/JP2Hasdn3vtQYYLpskGBJD2eKVa9Fyzp3ItdWSjbiv2Wzsh00nToRGV5vSVrp/J85cM1Gy/VpdX0xrdiuqlLXRSGO6CnYHJAlJpGp/jv34JpyL3pQetkoDw5hnROQ4kUZn4/NVhzwELPSnTyjKxM1DC+Ie8eSJP9PnpCwe+oSJxCmV+qaz+u1fRzDr9yPgBlXKAtWM0sl965d9noiQ77WMurH+7tze4dUzM7rLVMdVO1y1anx+6AT945RWcX9+UmkNIhkLGbqf/X6nK71VAYzukwdGWpNlPIyasnAflm4r9RxyD+uRgytPzE+ZNSJZHUmgWAcaLC312kEtMaJHYtJoI1mPfSUWPDd3t4gw0zK0Ktx8WmHIaDXZgj9cdgA/rXelBPLggM8Cv2+xGsfy3q8HBDeBG8PmxjTc0teJ5t/eCUeJ/7tXqiaS/Tz17U5PJN57XJwno8IsHwjL7FaY5zwHywrKtbh0yBsja3D1H9/ANOs/HnZk/ch7kX4y058jP4IV+vLvTZBcL6i1MIyZ5KffHdZayI2SjgAdt6pF76By8TRPNiBTxfVn3AztSZdDoXFl1jU0E8/ouzeAko1hmUojDql85f3c7wRRtheB6c+5D+kDG3F5QQRYxLOp7LDGE00AlpVfwPzN0x4iibTeI2G4+Al/eRCJ+06etwdHN6zEuCOTYbCXi3RcJxTYndYOr7V4AJVK//qrjpaNAdtXqTLEhoNRybOPa4aTO2Vh++FK8D6U9hDlXUoFipqlC03JDJ9T9FRK/WFd229epCEkA9GolOhZwFS85gEjQtyE/7XHhNl/HsWBsmq/9oweOxxO4SCRdISpwFIWSapZnB+pBtUdnY8Plh7EvPXFnnGzRpTBe9agiT2hQoFh3XNwhUTNKK8nMdIPa4vrtOd13pHX07rm4LpBLYOyxvJ2n606hG+8SJaYEnnf2W1FmqhstQhM/WUfFm4q8azPs5d0FJJUiTLKWX3522H8tdcMu92BsqratHHWqT8wsl2ibh1Tv79sKhEHIIGc1sIcLa4/pQBFeemgipeyprDVe74tM9ME+RMJruJV9+rdf74xDYdN1eC/0XgIcUn/Fji/b15Yc+d3kPq3JOlzf1//c0F7tG0W/ubV973bvhnloSrrlKXwEPBfo4vQLEMD687fYCbRC2vnCK5SCXWrrjBe+5ogTvG1jQcq6vyOeSuyshb7yQs7iN+HcEywBr98EezFNdkggjX444YdJaTc15alQq7MfmSnkLlz2lzrqSrohqybfHVtw0Gqto3feglZ3Jr3OzPK7vgqdmfHbkXVsk9gWT1T3Ditz0joThmb0vWTkaGY5NYSeDrKDsOy8kvPflWh0SHj4seR1uPMJA8uvrez7f5TRFg9EWOp7pVqKHRGaPueh/RBV4kMyPKP7nAxYLtrUvVkCX5WkJJVLnwbNsp0MasxRHRW022oIHGTLb4IyA5rHPEUlNrTbvEwDzLnX6TdSMjReN+W73mmSL2/9IDYJDS3HUCb6u3IsJtQrM7D1vRuqFIEPjGWam9X60WkpH+REYXZ2jqpl3Tcth+ugsliQ54hTWidMl3M1ypmT0LVis8kEWJNgHH8FKgLesQRwcBdUX6DNYg7auqrvFuytpWRjQFF/hsbpo8x2ldtq93SsP2FxzeHW8ORtVG7i6tQUR04RYQRQaZKhn1ynxRUUusmjGZ+tPygIPZyO5eUmLjqpHy0yEzDnpqUXG7qO7cIXjO6+VBlnfaU5eD3w60hyQOEge0zBTEMMwd8jfdnRIzReTdxDu97x7DWKMiKv1xHaq1E5KPZc8wiUoPd+FJG5rYzChMS4fxjtwnvLt4P1ov7GutDSa6W7JTkcBFjnS3LBgJlDrj7yclQi4PAojydeM/88HdxnfmmqRQYflwurjgxMsIbqXEGw5OHQ8MZrR6YHxHDui9/AGu8uS5S3zWpMUm9d73bkfzqhlNb1an5tR/dBZK+kIhQcD20Oz4o26z37xif3wUbSjzpz8zCufHUAuglftekxuvHGtymD4xXNVzWYJG2++v7gLW2DILz5u+24YrnoOl4UriPfMB23utFRtmqpR95onTa48+H/twHI2If9r6Ro/wIzDMeETq+3qYuOh6GS56CMjN5GSAxA5UCHQTC03toSmNz6M99wBUdV4R32JMCU5Mcgn3/BpEC75a38W1E0lPd0Ouhbn2c+E64jaRLtp2/wV68F0pdligRIEmq2xzlh2Hb+QesmxaLml+PnrPPDbT9L4w7EWmqYp3McckOa5zQ9mUFZiqF4ZqXoSnqH/AOdFRLKm14e9E+cNMRzLhBl2IwtdodfkyW7EfUeo4qAjdO0Zp18xKUf/h/kqdJ/BIbx7IGJnk/HIs3l+KNhXslp5OfmSYiZ5SucNv6/RWCLTReRskTppLK0jr+iJZX2QW76+aDtSx73KgzPa9ry9ofhFjWYvuRSjz9XV2NTUZM7xnRxk/yhAdAL/60R7Bj0+g4U2c0kihRLGNtaNfyOIcs4vNrUkFJSnX/2fFbOzcedIip/7qvhBtp/3RERs2Hp0BKbaD14/jJXr73mCXCJZZmArhzWBuhhRqthcKzQ54OD0RRg8rfprcW1UbduVJXn9xSRIZDGaPmz8zZGbBZ79YZuOestnHVtWUtNt8/ZJmmcbxjBuTj3D7Nwkt6lWQNvgfpJ10Rarop97l16zJxcC5lypwCUROszG4V13GL/Q/1WXf/6cKf+5+rJ0PT3l+KL5wbk4m44pe3JddO1FaOvCecbuQ2NQgEw5NNuI9jNoOqRYdGgZnDdBTl702A/dA2//kolIIoNK376VHPNWj/AAyX/RdpxzXsKHXU4CTwQtlhjRO4vqzAPGHRn3N/wBNGSkkw7ZHRKHdUI9BQ6ITRUerX1n9jQ/IJpjx6RxCDtY90upU/TxU1Dk5r7QaNulT60Q8jreupkXYXU/t3Fu/H/A3edOsxded3cZZOjWYGNXYXWzysqb6NuAZjB7cUaWyyuRAgXu8t2Y9NByoEQReN0cwJpxYIVtJ4GqPhU37Z52EyZd+MelNDtV1NyiKjQ68u2OthEqXzxbGc2D4zIrKmeI67IfTF9xDJqdwyN13z9XjwnHZxlfqhtBAjlHQwpGxo12zcMKQgpeHiYQiduWJzbV0TMzD6tDGKZ45ZIO6DklAT6d/OiLGDWkV9sLh+v1nUqrpZgH3vd3KHTNx6Rl0Jm1Bjcn9O1uBJc3Z6slqobXrv2cFZg8lEP23JAazcUSZ5G3VNpkrncGtMwx0sNcNNVrz0027wGaPxYHHsoJZg+UA4DODOilKUTbvJhzX45QbHeGv++klYVjHN098UaToYx00VxDDxNqHx+t5NtRlmzduLeykNoQ85fMdSOvkiF3OrhClzCpF91zfxHn6j7i8Ynqzbzrrpw4adAi+xekyJp3SVo+yQ51Om/WoHXw39GbfEzHYs1b/7RukDL4NuxJ1QaORsrnh+sWSHNQ5o2g9vQ+krY2pZgbNaumo41FoR/eQGh/IIB0qt6FGgF+mR3/xxpK4eJGs0NEpc1C9PfM70JhJn9CjIwMXHNwf1CAPZ77vKBYtluO0jnXL1xl9gWT5d/IBoOpwI3ekToMxqGWk3Mbd/Zf5eLNsWXEc2kptwQ6NVK8ETf25qurfSi02ON55tctIFg2pZVe3mtHWOVkSvM3VNsw6SNW5z/y7GzxtLxEaZ9dAkx3JbQbZW1Kb51kRHsjbB2lLm6Jk5u0Q9tvuudBiM6WqxMWW01+0wcD2vH9IKQzpnx+v2jbqfJVtL8cbPez1ZG2SHbddMixHHNQOdq1hqLrlW6/eZ8cz3uwIy7jLayKhjqhsdM1GDu8ckan2Hdc8V5ReM7PE7sWRLGRZuOiYOVry/G4HmxUOXM7rliD60KqXIvKFO6V97zGiZpRH4H9/WIJ539v/7TpM4vCMZVDCLFU+m5jNa6j5g4PeJ37OehXpcdHwL5OrVsNjDHw+zhCae007ISCXCyAROtmkeHNBYq87Mm3APzhghFGU9bj1GlQZKfTY0HQe6fvdyeJgSOVFRIuYaqE/T9PtqtVZ9GwnZmakJk+6xrJoB8zdP1Wpg9jrbxeGhjOy3suSZYQEl/kiOk/PQwmRC2uDvVfLMcDjM/mSenFhjxpMpvJUL3hT13GTG1p44poYoND7fYU//m36Fo+IYUFMnzpTqjAsehbbfeTG9L5hqL8a/eSlUeW2hHXiZKzIcIGU70vYN7cGWHdYYV8zFCnw3bDt+Ez0p0g2CPVfT6WTx/6FqediGdUF0mCi1wdRW2aQRWLCxRKRPx8OYIjpucEscV2gIWefE9L9pSw940s14f0YQbxxSgI4JiBTEY36J6oMbdep2BiKnIpEMo52sE06kcRwfLDuA5dukIznue1OO6NL+LZCmjs8PVCLnlAp909lnLau3BBDHFWvNJfudu/aoOOQIpgd97cktMSKMtNNUwCqcMTCNnbX3x8LUwOYBWmFOGo6abHUyb4h/j8IMmKocot4+UETVd0yx4snDqY+WUdanlkTNfQ++QymRs7fEEvZ4Es22zlRmHmq+uXCf50CY7+q7hrUJj0RMsAY/D4sEd4Oo8TvnvtQlpHE4UP33XFTOew32Y9KlMyL1c/xUqHITcyjkr5KQIViDNZ0Hh/N1EW3sBzej7N0JoE6ulDHVkimXsoWPgPmLibD8OUfGM3zIIm5JZRDTZ/fDYXK9K0lgpT9/IrS9RkYVzbVuWiQOf7yZjkWE+KTLoB9xp9/4Im0f8QRT4ALZYY1xESwrP4f5m0mSrMB/7nHJRQQynlaT8Oim0wqQo5dTTMNZCta/UV/QmxWSUbWze0rrpEbaPtAYSCj0wk+7sXF/bdornaAHRhahc74uxc/cw0E2vDZk8P16DTUQ/R3A9nnpeOKC5NbAcH3X72f9t/942uam46mLkjue8FBM3VahaiIjrbl0OJ3YdLASr8zfE9RRJSKMgv17dFFcaxtTAWlGYmf9ftiPa4BZAczAIUu59/vMNeZA6tf+M+LvCHH2ZS6OF55rdpvw3wi4ADgeRuIpkRPuezre6zR3bbFwtIkLje9o1tOHoydr3fwryj+4XXJILv3SKUnlbgiNjRMuUp1/gfWrAc2jrXlXTFGfUOOxH96B0tcvA2wuUjWhQx8mazCz1Rjh9k7j9L1fLJI8ocbeWD+3/DbTpbPq86YROsfXvQ5Vq26NdepJnRcjuaZP7oHT6tJ1Vuiza/DtGtE4RI3suzfCdnh7RHvLQL8axiuehyaGmt2IBp/AxrLDSlmTo7tBlkCHuRiqvCJoOg8Kyk5YvGc7qrcuh67qCByrP6+t2cjvBMN1b2C/NUOkilEmguyFUkb2RhKMnN4tJ6Y0uwQ+GynZNZlFv/7jiEiV4+aa5FKndM7Gmd1zJCVOIm0fbNJ0WimTsnBjief0ntFxsjGzTpJRJI6ndxsDWO8VzCjLwHQ7Woe8dJH6XZ8WbDxMaWTqIfU6560/Jqnjy7G3MKbhf5d1Suo07v18C/aX1oid+9y5PsaT1Mkn4Gahakx5wEaG7S75+jrfN6aMrtljwv6SapEx0q2VXqT9fvvnUazcUV6nplOrUWJAOyP2llSLMgam1vcsMOD8fnkiYtfYjN+fhRuPYeGmUs98jyswCPZevlN2Fldh04FKbD5UEdKpd2PDenuuAVOJ2zbTChKoX7eUJQTPcLgDvMdDSR+jVoV5G46F/Z6O95rzeSSJGDkihNOkUOCUzlno2FwX8j1dXzWgoTCQ2qfAYUfV8umwrP4KTAf0mFIFVfMOIrWZ2pLKZu1lO2ScAAAgAElEQVSg7XsutAMuiZq5N9T4vD/nmCq+f76WNbjfaOjPeyjwvZ1OVK9fgIo5z9WZB8mhnJYKOC3lLqmRGkKnjPMfASUDZQuNQPW6eeIww53m7oAS1Wo9qvO6onDEeJHu3tBZgUOjkKQWDhuqln2KirkveGSeVM3bw3D5c+Df4Zpt7zqUv3sDqJMbDyNrd8YF/4pHV/XaR5N3WElhXc4TEa/0E1JdG658EUqDv1j64XUrYPvyPmitdVMRnep0bB76NGYfa4OdR6okTszrrnOia3nq9alqxDdnitwnKw7ix7XFkuzMnDo3RXePaANu4nyN13+x6pDQhfU2sm9efmJ+UF3RRMAaaDxMyxzZsxkWbS4R6YB0xkNZhlaFN6+J7CQxVJ+hPr/1o00BScvqYzyhxpvqn285VClIkULVXdIpJZsvD9wod/nij3vq1FPSQaC5I1xio6mAkNj6vzNbg3XOsvkjsGxrKV5fuC9gjS/x+8eQVsJZTZYF4w5gJHXC0EIM7pSVrOGEfR8+e4/O3C4phRbsPW367AFU//2D9H1UGmSOm5KwGtBAk5Pap9AhdVjMcJYd9LpMAUVaOhiF1B4/ut4cERdr8G2w7V4jxhaUNZjO6sZfYP78IU9kig6Uts8oZFz0uLieckdl024GU45p3JsZGRnMT+4BadgPX4o0tB/ejvJpN4F6q7RKpR5vNL8H27VdxP/X174jReBJ2DAqf3oFlYverXVaW3YRz6syIyf4PZ0O2I/tgfmzB0ESs3gZo6uMsjZ0a9IOK08sy969EY46L3zXkmq6DIbh0qeh0Bo8a8zIasW0CdBbjvit+wFNIV7On4hypb8WqNRDkuhanob+YKby+Bk5+mn9MXyx+hAqA2i39mljwG2nt/bTt12ypRRvLd5Xh9VZPG8qRtxbiTrmZFqg8dC5UMCVahiuDWifiTvOjI6RNNx7+LZ77ee94BykrD7GE+08UuW6Q+VW4bAeNflrpEqNkZkF1LosqWD7wHXCJI07t3cznNIpW1LzOVXmX9/jCIU/9aZHJFn2Jxh3QKr/jjGCTxblQ+XSWRhS72lGK82zmD7pb4muAZW6Z7B9Sp32rG/rf4GQ4mHqcn2bbd8GIS3irCoXQ2GESaRTewUCnDYLqLBQ9fNUON2asUoldEPGIX3IuFqNTKcDltWzYJ79NOBwEWoxjZVauUw5ls0fAaaVmj6+C7Y9f4sPnVDgy5xrsNg4DIyy1ue+o7Gvl7PKBPOsx1C9dp5rqgoF0o4bjowL/y0ObyS/59QyXvIRLH984zmYCYQTsyVULTt7Pq6uMMGy4nOoqqTrvq1n/BP5p13V4GFv0g4rtakqf3k7LotoVhqEw7pP00ZEEhhBbZWlFY7JwTKLXy0Po1dXDMyPKD89LgOVO4kbAm8s3IfFm6VfENHchAROj40OP20kmnv4XvPY19s9qcnB+mPEjJIUbXO1IpWzsrpuxJURt/vPbgemAybTmApJXUxfaaj6Gk8y556oe5GddqZEzSUZV6vtTlGbGO5BBiNwlBO64dQCwcgtW2gEAuEfr5rU0CPwbxGIC6Ah/I7xgPDnDdLvaT7TE88pQpvcuhH/sndvgG07iRTrHtipmrWBcewUKLOS5ySF3KcolKDUi/Hy/6acNIk/a/BZMFz8HxdrsMMuGFDFHsx9MKpOQ8Y5DwjHW8pE+5+neNqr258A41UvgXI9stUiQOff9Mk/BTsujc7qj5nnYXb2GD+Y6mPf0RTWiocxZVPHemSyOGdt//ORce5EQOWVfeeww7p1OUwzHoHT7C3bKKIGtd8NAZoC6sLuyLzx/TrZE5QW/O3j53HKoRkMM9SBd1dae2wa8SrGnJh8ZY94r3OTdlhN0+9H9dof44KpHSq82+5fSC/qi56FGejcQo+C7DSxkZ7Fmsu9ZpRWuGouh3TJFhIGjKrJ1nARmDxvD1ZsD85SG8nsGKmacm1yyQ9u/nCTkKUJZHxee7U2oHtLPTrl60Wa84YDZsxecxTbDrvqK9rn6TCqdy5YlxeL7EkkWLnbkrQmlcYTzRxS7RpRc7npGH7ZVCpqI0WNaaEBF/TNg1KpwJaDFVh/oELU6QeqH3bP6bjCDEF2wwM82cJDIBj+weTNwus9ulbFZmuD/R0L9p4mQRRldnxTrMnMSUeKJEbOssPg5tO1X1RA1IONfiQq5s9o0A+6T1EooDv1H0g/+SqQQCfVjNHV8o//CduOVS74tBmillaRkSs28tUbFng25ApdlmBh1vYcDmqDSpmIXH31L1HvKkypRvqgK6EffkfS1iMSjAU3xMEarormyeOqqJz/OioXvQfYXZkyG/R98V7uzahQ+nNl1Me+IxIMU7mt4G7YbcK+UgvImk7uBpZtuM1+dCdMH90J+xEX+Sqjq9r+F4rvqjIjF3zmyexdvWGhOMBxG/+dWq6UHLL8NQcOki9l5EDT8STohl7vJytJPpRnZ29G/7KfcZJpIfKt+2BSZWJjek/MzbwAHToW4a7hiWEGT+b6NGmHVZzWLXgzLnhXqY3IHD8Vhtau2gDZGj8ClCz66ndXbUg8jLWvj52fvAgrU5vv/3IrDgQgLSpqlo7/XCiz7MZjbRtrH7/tKsdrC/Z6dDp953lenzxcNqBFY52+PK8GgECw9zQd1vGDW2Fw56yghyrlH90B68ZFntlmjH4Y2hMuTCjbrvtmwfYpguV13NSUruV0sQZfXqtRKfHMcPNuuPpFqAt7hnyiROTq1ctgP7qrdj3OexDaEy5JGaeV3BCfrzokSOe8LeE1o04nLL/Pgnmmq/aXVp2Rj6fyn0axTVoykZkbjydx3xFygRtIA5PFLiTLvLWwmbFx6xmF6FVYW0po278RZW+NBazSBKx1pqtUQl3QQ0hBKbOp+RyekXtikpdedmP9HW7SDqvj2F5XDWvJfr+nQt2uL9K6n1Hn37cdrkLams+Qa/OvYTW1Pgktr34WafraBzW8R01u1VAROFxT73dEot6va0s9Tmhn9JtaSaUNP607JqlbmK1X47YzWgupo0SbqcoudExZ/ylVpcro//hTWmFI5+TW1CZ63nL/8UWAeqDUvJTKNODzPHFUEVply9rS8UVd7i0SBIK9p9kPS3i4wWSNdSC2djpHQm6lxKUDzrpJ43WvCibeRBvTOsvfv1XyNpquQ2C4hFwbif/NiGWe5tmTJLVtBZZZ+TCMeRbqNr3CvoXtwEaYPrrLwyhM+RDDmGeg6TAg7D4S2ZDs1G/XA1eFbdcamD69B6xfpZWpcvBWi7uwQxP4Oc3UqUWWgXdkMJHYNIa+GVmlHv3qncywq5s9xCy0B0e1Q+uc2kgrSdzMMx+Do7oyYBmgqkVHpA++Bmk9hwsN13Bt88EKvLfkAHYerZK8pDH9Dqesw7p37148//zzKC0thUajweTJk5GWlgaHw4GXXnoJf//9N2w2G+644w7069cPihpWynAX2d3OtvN3kBWQkjZwOkRthZrF/Ne8CoWu1uEguc7Tc3ZCsecPjD3yCoz2UijghFOhRElmR7S64Q1kZMqb+0jxb+jtmfJDjcnSSjucTqdImaQe6b1nt0VGmspveu6T1x/WFrukcf6/vfMAs6o4//+7hS0svUpHQBTsqLFEsaGxa4yiRk2i/tFojL1jfsbYjZoYNcZoLEmMscSGPfYWKyoqXaR3lrK7LMu2//OZZS5nL+e2vXthL/udJzxxd8+ZM/OZeWfmO++Uhv9FAnsvuety6BZtM7a/uaq6zn7/2mybvGB15Lus2PTpwOswalhnd2qxlnJmew3NfPor1jbMNDPLy52itMXU418fuHEmXzKfQ30h2wmEtdO01zTBwcDJ18fv2t3d18o+bZZns72Sdr3uq3G2+rnfNYwTOChvyJ7W/pQ/NezHzFCoX73SidWa+RMDX8gxywsfp2QoGWlHu+qB0wwxFRby+27XsCcvxbB28ttW/u9LI0spEa0dz3nMcooaDr7MYZ9g3qa5Jive2RDNuWe0jrtu1y37teo1turek6yurGHVFwcr/bPrL+2zkr0aeDA5sO7O5uhxx4CuRXb5oQOsQ1Hm6nKKxdssj2PenLnAajJ/tgzjm3QDe0Y5nBAva1g4YsdudmJgZVHtounOORa8jST4Xv7AEQ17sQtTu97wuyWVdtursxvd4sB5I7Rtm2M/3GIF6/Tp061bt27Wrl07u++++2z58uV2+eWX27hx4ywvL8+OPvpomzlzpt1999126aWXWs+eTT8EobZ0jtUumGx1q1daXqdelt9/pw0qzstfL7N/f7rYVfxuNYvsmN7LbJce9bambQ/rOGQXeVbTbQGy+P1Fq9a6qxPwWnKPJPuhigviHzDD4H7eiipXn6Yuqmx0eBOD/dG79rSRQztaczSuQbScmolHjIbOBzorlm7iLSP07ljo7nds4hxQFpekkt5UAsw4szQKbxbXCbGcfIuO8qw2lafea34CwXa6c0m+ra6qs9cmltr3Syojk3UMZft0LnTX9HCHOpN6TMjQru81uIONnPOg1X32RGTfZfF+Z1rxfmMyI1prq6382Wtt7YRX1ovkQbtZm+GjLK9z79BxSvNTa54Yl998oNWvDh4osz5ebmLoPPbdJn1ozUePWeVrd1p9TcMp0FwbUr/uvta8HoOs6Ic/s4Khe2emfEJSTH8+fna53fPm3Mhd7dGPNceeUfK4ZMK7VvXB3y1v6fSGvOfnW0FVw+FiNTn59lLH4+z1Dke4n1mqylV1nK1SurrajTvGzyqzL+eUu7/T13M43lkje7s75TeHgFB99dtSN7ZaUl7tHAisfDtul+7Wo0N6fRNeTQ6ic06HkLBt7xLntPAT/jVzJtiqB880qw0/rbzNNvta+5/+IWnsTKa9P22l/fuTxbYqcAbJXoM7GrcjrKqs2Sz74RYrWIMl9/jjj9vXX39tY8eOtRtuuMHOOOMM23LLhr1+/Hz88cfb0KGZ2ztKx3XV0zMiJ2PSed163BAryE9/pibpGqoHN2sCnAzK4Vx0JAQaOq6w2G/rzs1ykBGxLlhRZde9MKvRIUuI1Ut+1N86tw0/5GKzhq7MiYAItGoCeFDZa8hd0xvePUyr2biP/9GAOjty8jXuEBQ30C/uYO1//me376xZQ12trX7p97bmkyci0bL8uMPZj1pOfvbdYVz24Birnvl5KKL8fjtYhzEPNw1fbY2V/+fqyL250SWWsfKJSi3fZRXeIx8usA+/Wxk59DgsU3jv7zhhiBORTQ1lsyZZ+d/PtoLqVaErsSa03dUe7vorq8stsEHdi9xWI8atwcANFr974XubuXT9UtJ9h3ay0/bulfUrq1gV8eTni+35LzfcvsdNBtzG0FRnACL1kQ8X2luTwydgXLtgZj8Y1MF+sVcva1eUZ3WLZ1jZQ2OsrtEpwOtLo2jk6dZ21LlJVQeGiIjwBz9Y4LzHBPLC/uif7t50x11SH9/ED7V4wVpRUWG33HKL7bTTTnbsscfaRRddZBdccIH1799wzxh/O/LII2348GbuMNYVDC7/P/x3jrGkiEBj8+sDG2+q3sRlqM9vBgQYLL05ebk9/uliW7vO0+kboWNHdLeiNunNen4xu8we+mChcdqna1DXzaievHtP4y5FBREQARForQRY8fLS18vs05mr4ooN2srLtllobcddZrbu5GDEavtf3OtO9GyusObTJ63ylT9afXXDSpi8Lv2s3cl/2Ch7ZpsrD43EEXv4nrk2kh//N8R326PGupODmxrqK1fZyruOs7ryDcUJcRYMP8DanXhbU6NP+B6rS96astzY5sMKk2QC1yidsXcvG9KjaXuPp/71Yus2d91JyVEfLM9rZzducat16tbdDt+hq/OcxrpSjAMXb39tduS0d7yrJ+zaw360XZdkstFin1m8aq3zgC5bN96JTujP9tzCeZxTDStW19hDHyywz2c13C2cKHCq+6hhXezAIUVW9wL3sr6+wSu57btZew5O6zYgUXTucEMcG7RVEedGXo4dv0sPO2h4583GOx4LRIsWrOxXffnll23ChAl25ZVXujwgVtm36j2s1157rY0ePdqGDRuWsLB5wGc4qYfN7NP5dfby9PX3Gu3QM8eOHpqn5ZLJAtRzKRGYuqzenp1Sa8GbZnbsmWPd2ubYlwsbZtO265FjP+yXa7FW7qB3P55XF3med6eW1kUGYsz+Deuea0dvnWtp6uCU8qaHRUAERKAlE5i8tN7GTa21yhg3fTHRd9CWubbX8pes81ePunMsCGsG7WtfDD3TPpxnVrrGbGBHs30H5Fnn4mgfbaLc11vBvC+tw1u3RB6szyuwlQf9xmq6bZXo5Zb797oaK/nqCSua/LLl1DXArc/NtzVDD7KKnX8aeo1NdD8Wr9/r8uSZllsVfsUc/FYccYvVFXexeva05jRM/ubUVrv0FH33tvu5auBeVrntUcbzYYFlxys+e9m6zml4flnvvcx2PNr+PTnXlqw/DsL9rSjfrGvbHFtUXm/OCcY+6Bxr+O91gf579LZ5NrhzTsrnVRQ/NsZKasNFU2VOW3tstwfsR4NzLRkn7sLyenvoy1qrDlzfefzwPNumW+rpSqUCplK+Pt4Va8zemVVrM1aYdSky261Prm3TNcexxfMI3/Kqejdu/3hefeiBksS1ddccO2Hb1DzcldVmj0yotcUV6wuRMsSby7cb9sg2pDTqmnrrUmw2ekiVDfz4NitcNs1y62vd3bjVhR1s9cjzrbZnuH6Jzi9xz1q5/vsck3LM1g1llUwoLi62fv2y93qbFi1Yn376aZs4caKdd9551qFDw0b6m266yX7yk59ElgCzTHjMmDE2cODAZMrLHdRUVpbc7Mh3S9bYXz5cHhEP/boU2bl7d7a2ckglxVoPpU6Apui70np77LNltjjObO3ATnl2+p5dNljKyynED31UajNKww8DYAb1kG072QGDC03XAKdePnpDBERg8ybwxJdl9t53DXv7YoWOVmGnLf6DDVozuWGAmldkf+96jk0oGhF5pV1Bjh27fTvbbWDyNwfUzp9oOeOusZzVpS4e9nfmH3Kp1Qzae7OA3mbZdMtbMc8puNqOfZwID9sFGKsfi9Xv5fxzjNUtmRGbUW6e1bbfwmo6DzDrubXldetv9vlTlr/w20bv1G4xzPIO/z/L6dD4Kq6qFYut7LnrrWtp4+dnFG5tD3f7la3Ia/DWcbo++5/32bLYepSYzSurt6WrGw40bF9gNn5upX0wfVXEO4agPGBIkR26XeekRStnX+Q9eqb1XDs3NL8ri3pZp7P/mVJ9mbi41v7+yTKrWHeIEHX3jN072ZAeRSnFk+zDqZYv8X4xp9ye/KrMygK3wyAQd+6dbz1K8mzW8mo3QbCscsPD1KLTNaBzvp29d5fQgzHD8sAZJf/4dEUjscp+2GO27+DEKcKSSYot2uU40fzBzDX23rSVkdVyxIm4LLEq61kxxbrWLHV34i4sGmBbDepvx+/SdYPPhuU3+FDnkjZ28m5dbGjX3KTrDgfYci5QtoYWK1jxqnKg0h//+McI26KiInv77bftvffecwctPfPMMzZjxgy75JJLjJmD5gz+VOAZ6w6nYUkFm6g3xpUjzZkPxZWdBBasrLLfvzrHWNrS0N1tOIPGUpPRu3VvlMHnvlxmL07glMANn2cGkDsxD9+hW9INXHbSU6pFQAREoGkEvp5XYb9/ZXbkzIpYsXSrXmRXLLzCCuobloGW5Xa0G3vfYhW56weEPTsU2NjDB1qXksRnBHCC6Mo/n2h1qxY3fDIn14r3PcOKD/jlRrnvtWm0MvPWE58utue/Cu/HWMrJks5gqHz9bqt876HIYVjJpCq8VzUr+sFoKx7V+Bqh757/i3X+5rHQfvOd9gfb011+ZlwfctbIPrZdn9gnvbL/8V8fL7I3Ji2PiFbSyt5RzqyItXSXZ9gq9Pqk5fbsZ/NtzPwbbXDVlJBs5tiSbY6zrX/asCIxlfD8V0vtqc8WR07O5noW7mHPxPkW8co3bFyzak2t3f7qHFuwkv22yXkTE+W9obx6u6usYu1nxXvKAZU3vTSr0VWEQ3sW24UH9Xen4ccKHNh237vzbWn52sA2g/Ba96v9+9iO/da3G4nyS5lccegAd0BcawotVrCOHz/eFi1aFCkLrrTZfffdDdH68ccf26pVDcs/Dj300IyUV/BUYD5wwDadXSOZL7dURngr0g0JcKLv2GdmhBwG0jRaNK73nrJ1017WWyIgAiLQSgiwT4x//jwBss2VH/27Ftv3Sysjnqg9Kt6x40sftjbrROuE4l3tH91+aVU5DZ4pBAh3XA7qHn9Cva681CqeuMyqZ45vIJybZ0V7nGRtDz5/o51w2xKKln1581estdtem23LQu43J4092he4Q4uCgXtHK57+jVVP/6jR73O79LOcvDyrXTorJTGbCoul+d1t4pGP2gHDOlkH3GwJAstH3526wv79yaLItShcRbJz/3ZujMm+x2CgDr4zdYU742LVkkU2uvQh274y/ACrsh47Ws+Tb7aizqkfvgP7/3y+xF4M7I/ktgCu2UPcNWe45Mnpxv7ZTIXenQrd9YKTFqyOnNsR9i3G85zoe/DwLm6iIVq4cp/uox8vcqfuEvj7Plt1tBN26xlXrPpvla2psXemrjT0xMpY+wyaAIF9yecd2LcJb2b3Ky1WsG5KrNGnAndv38Zu+YlOBd6UZdJav/2rR6c2W0PHdSP3nSrB2lrrkvItAiKQPIEv55TZ65NWuNPVh/cqsWN27hYRE9/OrzAGs9/MKrWT5t1uW69ef8coS/0mFu9sL3c8xpYXbOE8rFv1jDpcp67Wqqd9YGs++IfVLpvtRGndyoWRxLUZvIe1O+k2yylo2qE8yedy4z25lmtGvil1Yo2w5+AOdvj2XZ3DbHlFjeP53rQVtjSGUPUp5VqY+07dJvQckcr3H7G1X3MNUL0VbHewFe/zC+eprlsx36rGP29rJ7zs7imt58As3GfNECrz2lmfa1K/lgcP3B/fmOOuw/OBwxXppwvych2fHfu2sz+/Pc+4kqmkrszOW3yj9Vo7J/J8XWE7q2rT0WryCq1swAE2/MdnWW5eanszo8Xxna/Pta/mrl8ST1oQ0aTniB26NsvBPs05rvFCklUMew3u5LzVPTo0iH4OSXrmiyX2zbwKY7XDNr3aunqGWPaHFvGcP4TyqB272SvflLrn83KtUV1kUmHfrTvaz/dK/RRlrnzjEKjgN9OpersObO8mElpbkGCNKnGdCtzaTKBl5/fet+e5BrY5QmudlWsOdopDBERABKIJ4P366IspttULZ1hh/frrQXhuVV4ne7Pv6Xb48aPdYDkYKt+4xyo//KdZdWBD3roH8gfsbO1G32y57Rtv98hm+stX1xh92cT5FY2ywX2YHJjD1pcYV1pukG2ufOMU20O365q656+u1mqXzbLVr/zBTRg0R1jReRsbdOG/mhTV7GVr7G8fLLDvFq+/Fz0YESKJOzf7r/3eTl52n/WqXr9vNX/ACCs54grL69nY29ykhARewpt4z9vz7Nt5jcuKR9i3yfLVdG8WuP7FWTZ5wYbxNzXtx+/aw4npZK6qqaquc6eBv/xNqc1a1thmEa5h8xhMJHBbA1fHJPON6HxwevQNL85MOBmTbP4RzZwK3NqCBGtUiXMf298/XBg5CGDvrTramSP7NMtdmK2tcim/6RPggAX2TzBTGAwsT7vs0AE2sGvjQxFSfT79FCoGERABEWi9BKqn/8/K/t54z2NTaXA1TofT/mp5vTavlTBc1zYuxp7UaFYIWJZq1tWZseczVuhYnGdn7dvHLelMRUQQ4zsffmED/3uxdaht8Pb6UJ7b3v7c8wqb22b9FSOkp2/dfPvlghutXU3j5/17bQ/6tRX98GdNWr7Nfahs/Qnbn8kp1AOqZti5i2+0gno/uZFj+f13tPY/vcNy2nZqalWL+1688grbQ5xsIhDfr31Tav/8eP12v2TGNTyDp/SZ8Usb7S1nN+ugHsV2zZEDDXGfanhxwjIb99XSyNLsWOeFHLZ917TvOE01/ak+n2res/F5CVYztzzg63nltqyixt6ctNxWrzuTmlOBrzqMjdXNu34/GyuK0rxpCNBfT1lYYS9MWOY2/zOTwn4oGlAOC6AzDYZUn980udJXRUAERGDzIFDx/PVW9dnTzZKZnIJia3/aXy2/z7bNEl9LiSTRnkXERu9OBc6Dx77Jvp0Lrbyqzl75Zn2/h5d6/sq1Vhm4M4RTeXfu39551+gXWWbL8kvC4B7FTsz6wJLkqQtX24S55fbOlFLrVTbRRq18wQas/c49MrtgkL3Z4XCbWjTMcnLyGqWnX6c21m7JN7by7YesaOkky6urtvz6anc9CSGnTaEV7nactR11rll+6gfhXPLEdFu4aq0NqZpsg6qmujhnFQx2gvrHyx+1dnXrruzJzbPCnY8yBHKmxCrfjldeLA++88TUr1hiOeyTny2x1yaWRvaG5+bmWEFejuE1jzeuIU3cVc9ycvbzMjHPfuHt+5TY0SzVb+Jd8kxesOT/vxOX2+uTSmOuEh85tJOdObJ3WuaUavpTfT6txGXJy61esE5aUGF/emOulQX2EVB2OhU4S2qwkikCIiACIiACm4hA+RNX2tpvXm2er+e1cR5WPGibU4i3Z7EwP8duOW6IdYs6bCgs/+zlvOvNuTZ7WVUjTxuiB5E7Y2njJZ4HDe/ilg+/P22lEyTB/aKx+CabnrXfvGYVT1/TsB92XSgYtp+VHHud5RTGPik47Lvn/3Oi7bPwX3bAqpdiFztidcQxVnL45WZ5mXWiJNpjytU9p+zBwUPJpYNluJyY+8n36+/KZbLhtB/2MsTgpg7TF1e6JbuIxLDQWveMbupyif5+qxaseFZveGmm2/AfHfp0KnSn+3UoTs4gW1rBKj0iIAIiIAIiIAKZJVA1/gB025AAACAASURBVFmrePZ3oR9hiem77Q+2tfntbNTwztajfRurXTzDqj77T+jzuR16WvvT/2p5XTavA1WuHTfTpq3zfEZnPNWzFRA//5ux0sZ9tcwdRhQvsEo0xxr2gSYbUklP9XcfW8Vz17lDnVzIybU2W+1lJUdeZbkdG1+9E+/7bzz1L9v26z9ZQX14fjh8i+uNODmaA7oyHZI5O6NXx0JXp/fbulPc63jYv/zwBwvsi9nlkXJgD+zpe/eynQJXuWQ6T/HiT7THtLXuGd2UZRL27VYtWBvugloaWibtCvPc6X79uqS+vKOlFbLSIwIiIAIiIAIikBkCqx4+y2q+/6zxiS25efZm+0PsuY4nuTMxdh3Q3s4b1c9t44j1fNFeJzdcZdNMd01mJrepxTqntOF6tjDRyLLOyw/tbwOizmJI5gtVNXX2yIcL7X/frUz66jf2uuKN7d+1yLgNoqJq/Qm9fLMp6aldNsfKHj7T6lZyf26DMM7rvqW1P/Uuy+2UxDLS+jpb9cDpVjNnQsxslxzzWysccVQyWJrlmVhnYVB3o7cVs5T3nP36mD9AK5gAribiiiLqgA/c73rVYS3vDtFnvlhqz4xfssEeWZaW/18T98g2S2EokgiBVi1YWQocXKIQrBc0bHhYh0YfR6/KIwIiIAIiIAIiIALrCNStWmyV7z1k1dM+tPrypZbXbUsr2PlIe6xqD3tjasNpqHj7Tt59C7dEtT7s+RFHWuGIH1tOfuMThbMZcvStC14w8v8IncN36GrDem14FkOyeWZfJHdt3v7a7LiitVenQtupbzt3rcng7sVu5Rx7XV/4aqk7GwIHbDrp4eThiueut5qZ6+9Hzesx2Ip2H211qxuWweb33c7aDN69IWu11Va7aLpVz5lgtfO+taoJr5jVbbjSzz1b0Na6XP1+skia5TlEaRgfrrbh9OAPv1vZSLiWFOTZPkM72tY9S2z+ygZxitPnjUnLbXbp+mXaiL+zRvY27kltaYHlwFyr9M6UFTZ3RZV1ZI9s3xI7aqem75FtaXnM9vS0asH69Pglxr+w0K5onYe1c8szrGyvdEq/CIiACIiACGzuBFhqyCnvi8salnp2bptvVx42oEUO2DNRFtG3LuyzVUcbk4FbF9h/iHANC1t2K7LrjhmUiew1ipO9rOWPXWzV0z8yq68L/V6b4QdYbnEnWzv5bauvKE0qTexn7vD/Hkrq2Y31EPeU3v/efCutqE7qOlsma7bq0dauOGyA83AriEBTCLRqwcoF1Vzmu2RdZxIEOKJ/eztn/z7G/UsKIiACIiACIiACIpAKARaIfjBtpd337rzIwH7XgR3svAP7bvZX5XGQza2vzI7cutC/S5FdmaFbF1gpd987841lwsGAODp9n96295COqRRbk5+tr1xlq1+/26o+farJcQRfzMkvtJKjr7aCHQ9vlviaM5LSihp7e8pye+3b0sC1MOFfGLlVJ3ctDI4gBRFoKoFWLViBxrKHe96cZysqa9zadbdUpVuxXfKjfta2QMbV1Iql90RABERABERABMyJKZYb+nDqHlvYwdt1yehOVZbLcpVLXV29uzakID/XLUveGIGrAW96abZ9v7TSfY5bFy47pL+7tiYTgbw+9fkSe/XbUqupbRCt+Xm5NmpYZzthtx4p3dPaHOlbeecxVrtsdvyocvPc8u+cwnZWsM1+VldVZtWT3rb6mgZvPH9zV+UcdF7GTwVOJ8+sHhj79AyrrA73KndrV2B/PHFIOp/QuyLgCLR6wQoEDI5j0tlvwR1T3ANWLM+qTEQEREAEREAERCBNAiwNvvnlWZFTbTkl9YpDWRqcmf2qrB578rPFbpks4pF7Kvcc3NEO3b5L3BNd08xm5PWXvl5mj3+62BCShAOHdTZEen6Gl4POWFLp7mrFnc0ptuxL3VgiPchu+c0HWv3q5eE4c/OsaM+TLb/3MGOfa17X/mbr9i3XzPvWapfMdIc35XUb2HAf76bIQIoV4ex/TrWyNeF7cNsW5Npff7ZNijHqcRHYkIAEq2qFCIiACIiACIiACGSQwLtTV9gD782PHFbTcGowS4Ob1+2JSLz+xVk2bRGHPTWOmwOfTtl9i4xqoDmla2zsM99HTlvlKp+bjxvSqvYulj10plVzanRIaIl7UtOt9mytm7Sg4XCx6LBVz7Z2zZED0/2E3hcBeVhVB0RABERABERABEQgkwRwNj74/gK3748QPDW4OSUrJ7M+9MGC0Kx0Lmnjbj/YokNmPLvRpwKzrYr9utv1Kckk2hYX99pvX7eKZ66x+rUNS6J9aNiT+hsr2PGwFpfmdBIUbw/xGfv0th9upD3E6eRB77Z8AvKwtvwyUgpFQAREQAREQASynED0qcHca9muKN+2611iPx7R3QnJdB2um/K6vtcmlto/Ply47jZSs0ydCtziq0FtjVW+da+t+d9jjfek/uA4azuqZe9JbQpbvPr/WbeHuLoF7CFuSh70TssnIMHa8stIKRQBERABERABEchyAu7U4Okr7S9vz9sgJx2L8+3UPbewPQZ1SCuXj3y40LhOJixwau7Ywwca92E2d5i2uNJ+v8GpwAOsfSs+GbZm3kSrXfq9Q53XdUDW7Eltat2YsbTSFqxY6yYsenUscAeYpjsB09S06L3Nj4AE6+ZXpsqRCIiACIiACIhACyQwYW6F3frKrNCU9exQ4ARll5L8JqecOzJveWVWzPsxueLl9L17uVODmytscCpwm1y77EeZOxW4udKteERABLKHgARr9pSVUioCIiACIiACIpDFBP72/gJ7a3L4CbJc/8IeU063bWpYvrrGLn1yuq2Jcc0I8e7Qt50Trd3atWnqZxq9t6lOBW6WxCsSERCBrCAgwZoVxaREioAIiIAIiIAIZDuBe96aZ//7bmVoNrgvFcHKyapNCTV19XbXG3Pt81ll7nVOIO7SLt8GdS226UsqrbSiOhJtn06FdvmhA5rkzWXP4hezy+3lb5bZgpVrbVXl+itNenRoY7f8ZIi1yfAVNk3ho3dEQASyl4AEa/aWnVIuAiIgAiIgAiKQRQTembLC7n9vfmiKSwrznGDt36WoSTn6aMZKu//dBVZVU+feZz/smJG93d2rCMu//2+hfT23PBI3d5WOGdnLhqYokLlj9dVvltna2oZ7Vn1oracCN6mw9JIIiEBKBCRYU8Klh0VABERABERABESg6QRufnm2fTu/PHSf6UHDu9gpe/S0PI4QTiGsWLcUuHLdUuBObfPt1uMGGyLSh4q1tc4D++38isi38YRe+qP+NqxXSVIH5Hw1p9x+/+rs0JT1aM8e3AHWtZmWGqeQfT0qAiKwmROQYN3MC1jZEwEREAEREAERaDkE2Gc67qulhvhbWVljOTk5Vrm21iWQU1WP3LGbHTuiu7FEOJlQubbO7nlrrn05p8F7WlyQa+fs18d27t9+g9c5IOmpz5fYm5OWG0uICe0K8+zwHbq6g5hID8uFR/Rv7+LxYW1NvU1eWGHPfrHUpi5aHZqs5tiDm0x+9YwIiEDrIyDB2vrKXDkWAREQAREQARFoIQRYrnvTS7Mie0zxev5yvz72gy07WDKS9d2pK+yB9+bbOv1p+wztaGP26e32sIYF9qA+8dlie+WbUuO/w8KW3Yrt1wf2Me4oeXvqCntz8nIrX9MgqmOFdPfgtpDiUDJEQARaIAEJ1hZYKEqSCIiACIiACIhA6yBQX282YV653f3mXMNbSmA/65kje9suAzb0kgapzFhS6Zbolq0Tk1t2K7LLDkl8/2ldXb29NWWFsR8Vr2tY4A5VThuujtqrGqtUupS0cUuCuZ5HQQREQASak4AEa3PSVFwiIAIiIAIiIAIi0AQCn3y/yu59e15EICIALzukv/XtXBgaG0KT/bCIVkLbglx38u/gFK7F+cs78+39aSuSSi0e1MI2uW7p8IrV1Y324LLn9rDtu9ro3Xok5RVO6oN6SAREQATWEZBgVVUQAREQAREQAREQgU1MAE8me1ufHr8kkpKB3YrswlH9Qg8yev7Lpfaf8Usiy3rZ+3rcLt1TOrDpT2/MNYRyvNC7U6Ht3L+dbbNFW3dHLKuIX1i3B3dFZY3x932HdrKRQzvpOptNXIf0eRHYXAlIsG6uJat8iYAIiIAIiIAIZB2Bv72/wN6esjziwdyqZ7E7yTd44u+0RZV23QszrY71xGbOq3rNUQNj7luNBeGZ8Uuc6A0LHKJ07gHhhzdlHVQlWAREIKsJSLBmdfEp8SIgAiIgAiIgApsTAQ434tTfr+dVuGxxeNLIoR3tFz/s5U4O5gqb216dbTOXrXF/71ic7wQt3thUw9LyarvxxVm2uGztBq+yf/bs/fpYUZv1pwWnGr+eFwEREIHmINBiBWt9fb2Vl5fbNddcY7vvvrudcMIJLr81NTV211132bRp06yqqsrOOuss22233dyx8AoiIAIiIAIiIAIikO0E2J/6f899bwtXrheS7BE9Yoeu9sq3pcZyYAJDn+N26WFH79StyVmetmi13fP2PFtRUWO19fVOFA/uUWwXHdSvkVe3yR/QiyIgAiKQJoEWK1hnzZpl999/v3Xo0MEGDBgQEaxPPvmkFRcX2xFHHGFz5syxO++80y699FLr2bNnmij0ugiIgAiIgAiIgAi0DAKzS9fYHa/NMbygTpyaWZv8XKuurYssF95tYHs7Z/++ae8dXVJWbXOWr7GKqlrjsCeWGMuz2jLqgVIhAiJg1mIFqy+cxx9/3P2n97BeffXVdsYZZ9iWW27pfn/DDTfY8ccfb0OHDlV5ioAIiIAIiIAIiMBmQ+CrOeXu2hp3IWrU+bud2ubb2MMHWq+OukZmsylwZUQERCCUQNYJ1osuusguuOAC69+/v8vQLbfcYkceeaQNHz5cRSwCIiACIiACIiACmw2B1yctt4c/WBCaHwnWzaaYlREREIEEBLJOsF544YV23nnnRTys1157rY0ePdqGDRuWVGH7DCf1sB4SAREQAREQAREQgU1E4KlJdTZxSV3o13NzzH6+Y57166AzPDZR8eizIpA1BNhO2a9fv6xJb3RCs06w3nzzzXbsscdGlgCPHTvWxowZYwMHDkyqEDi0qaKi4eQ9BREQAREQAREQARFoqQSe/HKVvT2tLDR57DG9YN9u1q9zm5aafKVLBESghRDIz8+3kpKSFpKa1JPRYgUrwrKsrMyef/55l6ujjz7a2rdvb++//7699dZbdv7559u4ceNs/vz5bolwUVHqx7mnjktviIAIiIAIiIAIiMDGIfDt/Ar7/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fjHP7ZRo0ZZXl5eFuJXkkVABERABERABERABERABERABGIRyDrBOm7cOFu+fLn97Gc/s8WLF9sdd9xh5557rvXt21elLAIiIAIiIAIiIAIiIAIiIAIisBkRyDrBev3119sJJ5xgW221lSsGBOtBBx1k22+//WZULMqKCIiACIiACIiACIiACIiACIhA1gnWsWPH2hlnnGGDBg1ypXfvvffakCFDnGhVEAEREAEREAEREAEREAEREAER2HwIZJ1gveqqq+y0005r5GHdeeedbf/990+qVMrKymzBggVJPauHREAEREAEREAEREAEREAERCCbCRQXF1u/fv2yNgtZJ1jvuusu22WXXWyvvfZy0K+77jo76aSTnJc1mTB16lTr0qWLFRQUJPN4ys+sXbvWSktLbYsttkj53WReUPzxKWU7H3JH/SFQTzMRFH98qtnOh9wtXLgwo+2c4o9fh7KdT7a3o0r/pu0n1Y8l7rmzvZ/J9vS3xn4yPz/f2rZtm7hyttAnsk6wTp8+3f7617/axRdfbO+++65NmTLFzj//fGvfvn1SiBGsHNCUqULzQIcOHZpUelJ9SPHHJ5btfMjdnDlzXCYzNROm+OPXoWznQ+4y3c4p/vh1KNv5ZHs7qvRv2n5S/VjikV229zPZnn71k4nraEt7IusEKwC//vprW7lypWM5YsSIlMRnpgcS6ig3bUeZ7fzV0SduIrO9o8x0+tURJ65Dme4Hsj3+bG9Hlf5N2w+rH0vcBmW6H1D8icsg29vpTKc/McGN+0RWCtZ0EH3//ffWq1cvKyoqSieamO9yNyx7ZLfcckvFH0JAfBJXC5YTEjK1rFzxxy+DbOdD7jLdzin++HUo2/monY5fvuKjfiwxgc27n1E/mbgGZHs/kDiHG/eJVidYNy5efU0EREAEREAEREAEREAEREAERKCpBCRYm0pO74mACIiACIiACIiACIiACIiACGSUgARrRvEqchEQAREQAREQAREQAREQAREQgaYSkGBtKjm9JwIiIAIiIAIiIAIiIAIiIAIikFECEqwZxavIRUAEREAEREAEREAEREAEREAEmkpAgjWK3LJly6xjx47GBbuZCCtWrHDX8BQUFGQienfdT3FxccbiLysrs7y8vJSuEkolo1z4XllZ6cqguUJFRYURb+fOnZsrykbxVFVVGVy6du1qOTk5zf6NmpoaW758uYs/Nze32eMnwiVLlliXLl1c2WYiZNquuMScu5jbtGmTieRbttstDX1tbW3S91WnCjETdhtMA/GTh06dOqWatJSfl70lRpYJeyNO+i7+ZSLQhtLvlpSUZCJ61/fSPid7J3yqich0P0a/yz/6gUyEzaGfXLp0qWuDMjU+zPZ+MtPjz2C9lL3Ft9JM21sm2ohEcUqwBgjRYf7+97+3iy++2Lp165aIXZP+/rvf/c5OO+0069evX5PeT/TSrbfeascff3zGrtW55557bJ999rEddtghUVKa9Pdnn33WdZgjR45s0vthLz344IPWrl07Gz16dLPFGYzo1VdftcmTJ9u5556bEcH30Ucf2ZtvvmmXXnppRgQZd3n94x//sKuvvtoKCwubndHGsKsrr7zSzj///IxdBZTtdvvII4/YNttsY7vvvnuzly8RZsJugwn973//a6tWrbKf/OQnGUl/MFLZW2LEzW1vTPhdf/31dskll1j37t0TJyDFJxjo3HzzzXbCCSfYtttum+LbiR9nQuX22293/dYPf/jDxC804YlM92NPPvmks7EzzjijCalL/Eq295Pca3rvvffaFVdcYR06dEic4RSf2Bz6yUyPPz1S2VviypVpe0ucguZ/otUIVjrEP//5z7Z48WJHsbq62nlNMDB/3+Xzzz9vc+fOtXPOOcd55F5//XV77rnn3EA+GYFJ/N99952LH28Gs2WIGD9I/Pzzz23cuHGuwUPgIBJ4rnfv3varX/0q4cwvg84JEyZE4qeB+9nPfmajRo1yv5sxY4bdf//9dtVVV9m///1v43t+NplnDj300Lg16KmnnrL//e9/7pm6ujoj/qOPPtqOPfZY9ztmX2HBv7/+9a8RlngkmM35zW9+Y3369In5jffee88NbH1gxnvEiBGOEYF4rrvuOjvrrLPchMEtt9ziyoiy+8UvfmF77rnnBh5MeMPdB2bd9t57b/c8gW/cdNNNdtFFF7lynjdvnv3xj3906bzgggsi78X6PfWB+MkfgVlu6sLYsWMj5cBA68gjj3R54ft0anT88MBbALc77rjD8aS8f/7zn9vOO+/s3ucuM+InXgLfQVwzuPLlwLu77LKL7b///o4F9WDmzJkufjzRpJEBJB5Y7/2GI4EZYeInXQTqNWXLxAOhvr7e7rvvPnc3MWVNg/D444/bV1995cqZcohXbs1lV19++aU9+uijzi6xh1//+teOHfcdkn7Kx9cROJL3oUOHut+99dZb9sknn9jll19un376qYuHPG611Vb2//7f/3PxEC91G3bkK3hPclPslrpKOqm72Bjpj2XPqdjt7NmzXRopJwZFTFLgscGuY9nzyy+/7NoqH2h3DjjgANc2+Dr129/+1i688EJXz/72t7+5/6eu3XDDDW7lwd133+3ubg3aEYwHDBgQt/yj7Zb6RNtQXl7u2j/qLhNQ5CeWPY8fP96VWfDbgwcPdnXahxtvvNFOPvlkZxt/+tOfXPzUafI0fPhw1y5QL6jLTLpg72GB9E2cONHuuusuV27YC+39wIEDN7C3vfbay9U97AtW8PzBD34QGm/wl6SDNp5yw+N25plnuroYZm/8jrL4v//7P2fL/H+iQL5p06jT5Bsuvj3h3eh+DKEzbdo0Fy1t6HHHHRf3E9g05UYbhh2ddNJJjfIdtLdvv/3W1XvSQhkzsRO2kiVY/rCkLaO98Z4qJs1eeOEFV27Y1tdff+3Y0457AUhbzoQy70eXG/FTpvPnz3fvw+OUU06JxI9dkU7fbvv4ScMhhxzieNA+0G+SJv7RnnhvI/l74IEHbPr06e7ZQYMGuXL1Kzr4LumlLyDQv/vJ3eBEKTzpA8kr9dvXC9LMWOPdd99138b2+btfiZVsPzZp0iT75z//6dpNAiKaQL/DpA/fxT64h56JeZ8/6iBtAbxpV/kedYDv0w4Q6Md8XSIf++23nx111FEuvfwMP+yY9hYu5513nmsj/fd9Pzls2LBIf0i5nX766a68YED7TRlgp8H4m8NuqTfx7Jk80076Okm6gpMb5I10UK/+/ve/2xdffOHSTDqDdRlOtFd8j/FlsF1L1m6xYSap4Qqbn/70p67c4BXLnlOx21j9ZDx7jlf+5DE4/gz2Y7RrTETRHrKSi77Gt9/wCfPoB+2N7x544IF2zDHHRBwCydpbrIYuaG88s/XWWzt79mUftDf6CeqFD7/85S8jdhsr/mh769Gjh2vbfHsRtDeY0GfCgf6CsYkfE8eKP9reYMu437cXfN/bG+USb1yfqL9pSX9vNYI1GvrHH3/sBnm+A4uegX344YedgdGBYGzJCNbgN2bNmuUM89prr40sn73zzjtdZ4BwpIPu37+/G3BQsRA7P/7xj5OuGwzgb7vtNrvmmmsiy+SCM7AMcBmEHXTQQUnHGXwQYU+66Kz8jHesGVgGMDSuqXjoaFwRZYcddlhkQIJRvf322473f/7zH9c5MFii8SOvxI/hxwvwYEC2/fbbu8cYqDGgp/OcMmWKUa4MemmEvGCN9fuw7zAIIW7vAWYwiwDguwxU6eQRefDzgpUGifwyyGGgRDn94Q9/CM0GnTWDMbzkBAQt32TwwlJyBrQIbxqhoGD1fBKtDGBQhIj1s+iICt5lcMZSJzoQyjsoWIMJDSu34N+bYlfMXDOJwAAK0U1+yYcXXMH4maCANwMCQvRMKwM2ONPJUX8ZTBxxxBFG3WWgz0CSyaGgYG2K3fIOkwLbbbedq6PJ2nMiuyV/TB5QBygXODCBk6w9M8FDvlnF4QdbwZlWOnrKmboER+oX4iq4RYGyZ9BL/Yr2JCSyW+oTcfPev/71L/vmm2+c3TIAS8aeaYcZZO+6666RCTbsk/QQD4NAnsEGsGvaHtLJAB0xs9tuuxn1KZZghQ/l5gejH3zwgavriNZoe6NuLVq0yA1mGMghlBlwxlsySdrgf/jhh7t2jUkGvzqC+KPtjW8wiGYwSvvh+6N4bRx86I8QQrSN2AuTAYTofozJD9rMRJOVwe8h+hm40UZQX2inyXuYvVF3qJ/YE2XMZAC/iw7UQdI6ZsyYyEQxdugnOEknQoYJAdp+2kkGjeQRjr7e0UdSN/CC01f4b3344YdG28MEhmdA+plwIQRXAPDeG2+84eoMA2EvWClj8kH9hSeMEQoE7PuJJ55wdZCAMOdvQ4YMcT8HVwCQNlhgw/QVQcEKA+yCesz7XrD6cqQf4ftMevIuk6+p9GMPPfSQ6z+j+4EFCxY4+6D/wP4fe+wxLgHa1gAAIABJREFUJ1r9mIPJKtrIyy67zNkP3+c5PxFNGhC7lAvxM+CmnlOe2Ad9HD/Dh/4DvsTjJ46D/WSwP8Q+mAjge9jy+++/7ybpGJD7ATeTLM1ht4iBWPaMHVLPaT+wFeoCE/iUByF6BQBtBm0/8ZFOxM5OO+3knkV88LxPs7eFVOyWdhOuPg5Wluy7775uMjOWPadit7H6yXj2HK/8yWNw/On7MQQa/Rh2Tn/Of1On99hjD/vss89cnaPORC+jZ2zOJDB1jfrCuAQR5+05WXuL1Y76cYS3Z2yDdsA7l4LjRmyTfNAvoweoo4jDeMGP/2nPsSPqFu2Wdy4F7Y0+6MUXX4yMF+NGvO6PfhxBOrA3tAbtFRMnhKC9BeMLG9cn872W8kyrFawMcpiZZpkcIXoG1hcQBsNSw1QFK4MQjNRXICoKRofBBgMzSTR4VGa8dMkGZosRu8z2EaJnYBngMtNNZ09D3bNnz2Sjds/ROGF0DCoIzIghEvwMrI+M35P+H/3oR27WPNlAx0djRcdPoIMKehKZ7UW0eS8aHS2D8FhCgzjo8F577TXXmPgGkI6QdPly5jkGHgzEgh7WeL/3eUIkIqyCwpmGhtk6X848G68BIt+UXXDm1cePyGKgTd30M9N06HQuvpx5ljjouIKClQaRQTdljlgI26fF4ANhyqDON/zExWCPQacPNHaxBHB0uUWXd1PsCl7UN95lsEYZMujj5+g9wXBjUIsQJUTPtPr0+AEVAxC/QoC/ESdiJVY9StZuqa8IH+IJCutE9pzIbn36EXfYA0KGjjpZe6a+wM97J5lpJZ14QpgUCwYGzgh47IXBK8E/z6x+sE779xLZbTB+yhTvPPaC4EnGnhEGDPh8Oxm9AiDIh3wygPDeTP6GYHrllVdiClYGksTNwISB09NPP+0YM+lACLM3fk//QPvHTLtfkRPW1iGCKDeEDANfBlaIVAb23naD9sbAGAF18MEHu3YpGcHKRAMdN/WY8qDd8+Ud7Mdolyhb6icTQQQGN4n23yEYGbDR9lMeiC8mXsPsDQGPLTJ4p02i3WUFSXSgnLBpL4LxUNEWIaxol/wKAD8hSVtIvfXC309qeY8hEy38nUlg8kN6mdRgZQaBv8GEsgqu3PHtqn+G9sEL1mCa6TfwFHrBxQCTesmkGoH2lv6jb9++7me/AsC3q/yOvoLvecFKOrADPEUIRn7vBSv5oc+jfSI/PMf4xP89mX4Me6Z+Y+sE2lJ/FgSTlJQVZcNYBpGIaGB7DwHvIeMV367yO+wIT5z3sGLLL730kpv8ZfKPeggPGDP+oG1mAprtQpQFLJgsJIT1k/yePpV00b5hN/D0vBBAtLOskmluuw2zZ8qLvpNl44glVu3QVxKwA/Lgf/Z1BTFFXaN/pl+iHj7zzDOurSP9fqUTzydrt8F66AUrbQllE8+eU7Fb/43ofjKePScq/+BKNh8/dT5YroylqU++DaX+YEfR42vqA7/ztknZsGrIb0VLxt42aIQCv6Bdpu75cQ+TE/Tdvh8Iszdepw2jLWNiJ16gH8JW0A8E2mjqkP9e0N4Y/zChxviNfpi2OtEZN9QznBveNhkj8j3fPsWyt+hxfdxMtMA/tkrByuyY37PnD/GItQerKYI16DHyHSTeQyoVgwwCDR2DJRp6Om1mW+lgkgnMxNO5Yfx4aQnBGSF+ZgaJ2T9mDlmGnMyS4OC3meWks/ZemuCMUPC54ExVsunnfTo3xLRf7hXtSaTBYvBz4oknOs8DgpX8+g48mpP3zOy4446RDjvWnpCmClbEjPc8+MOJGMhRpsEGN0yw0pjQQCKw6JD9bGwwHwzi/DJyv3QkbE9ItGAl73SwBDjy33QC0Z4g6jgDZOq036uKdwZvsfdIE0c8wRpdbsH0N9WusAXKF2HDoAkOCCnvofbfwNPGoBGB4r3+sfY2MtmCMCHe4J64eII1Gbv1aWGGk4ka4mfmNRl7TsZuffx+JpS6RV1J1p7xCDBgZQm5L0u/AiBYVt5jhXDzA1z+Hj0zHG1niezWP+/tkaW9tG3J2jP1kcklPF+EMI8kA0I8RtgSy7PwqPuQSLDyHO8irhjEM6CnrfOCPdYeLFYmUP8SDVR8286AHVuknaBe+7Yx2t4oL7wz8EpWsPIsAxLsDeFA/H5CMtiPYccIQbxoTGQhjBERCKFEgb6JATsDWuzNe0Kj7Y1lw3gn6GdgGcvzgCjFI44IYmBIvn3fFbbXKlqw0v/gQfJbJbxQoDwQOcTJQJJBHIGBIZPAhODKneChbIiJMMGKnTKRyiSD7/+YyMHrhSeDgKjx3pLgCoDgGQDRgpU+AKGEaKeeBQUrcfr2jUkPxCR2Q/1Jth/je9g1tkO9oB+Cg++b6H8Qqkwys4yedHgeYXuSowUracRz6sswuLWFv5E3PLyILL7JhIfnEdZP8g7lxRjo7LPPduKOts5P3CPAaQf9xHJz2m2YPZNutsPQD2Bj9BV+eXtwBUDQdvDq0x7RD3jPPBN95DtasCZrt8H4afepc9gL5ZbInpO1W/+N6H4ykT3HKv/o8SftNlyou7StTJqRfup9cNVe0KMbzDe2TP31E3H8P4KVFYPJ2lu8No4xFHUVMU2gXUYkYvNh9obApJ76LYO+7Yr1DdorJtOoF4zDqOf0V37lT9DeaMv8lg3GZ3CKnhiJ/g51lMk7BCq2Rn2mP/BbSmLZW/S4PlE/0NL+3uoEKx0PlZQO2C/3iTUDS2GlKljxCDBYQSz62RXiYQkoA0MGcMFAB4MRkx46l2ROmWVQwl5WOms/0GJGCINmGUl0oMNm9s175BJVQhollrEFPRdhM7DEQ2OK8QYHvYnixzh5j/T4pUt4NhApfjBF40CeaDwIPId49XvNor9Bw06HzT4mH4J7uYLPN0Ww0nEyg0jH6r2+wT3Jvhz4TjwPK7NsdMwIr+BpmOSTWUPqpPeEkScGGEGPMfFHC9Zg3hjsIKTwHgU9BzSCfJcZbz+rHtyTHNx3FkuwhpWb/3a6doXXic6WgJeFAWjQ28RMOwNW7AOR4kPYTKufjWdA6fPqn48lWFOxWwbxdHAM+rwHwccfz56TtVvKBZHJTKuf8Q2WcSx7xhtC3aa++PJkRpWyCXpL/f4dOr3oVQZMFjBIDhM1yditTyfLphBIfslVMvYMVzpUyohJAF/Xo1cA+G8wcEYEBFc8JBKsfsafyTBsGVbYM5NzYfZGvWAQgR3SHsbzrpIu4se2yQvePvoavsV/R9sbA3IGdiz3Y+CIoMObTlsX6zRw7ICBIJNSDH6wGd7FVig3fwYAE6XYMWLSt7Px2g3PlPziufbLmOkLqFfES3sVtDfy+pe//MX1QeSB9hc+CPDo08b5NnWagRp1gzbSe1jDVgBEC1b27BM//wjew8oADbFO30H7QJkizBDB3nMTXLkTtKMwwYrw5nn4BVdOECc2j11QtnhkEGRMoAbPAAjGHxSsXmD7Jcxww2uGx4jVMNQDliHThzMBQz/m93Ym24/xPewGMU0I5g8hgthnIou+gT4CryATVnh/KOPoyZhowcqEOwzIA+KUek46qd+010yik3a44YUlL3iTw/pJ6jF2zUDb1wPeh2fQw0q/RVzNZbex7Jk2knEb+aLeIDbpSxEE/C16BQB8/Z5X7JCJINpaJjXIP7aHbSI8sGf6rWTt1tchJh0oJ8aFrNiIZ894hpO122BfxaSu7ycT2XO88o81/oQh36CNYGzjVxH4dhTW/Ise1/EecfqzK3As0cYwmZmMvUWPD8N+pq/zZ8LQ11L32E4Wy96IA+cP9sKYPZmVKn7vKGMavsEkUSx7I37aAeyW54JOhLD0Y5/+7Arixg7pP2KNS8PG9clwaknPtDrB6meUaAj8cplYM7AUVKqC1XtGaGT87CyNIB1UrNPlMALSEO1RCqsofo8as+beO5nodLl33nnHDYaIP9GR/t7zQqcW3PcUNgPLTJc/NS/RQM7nhQEBM0/MOgVPI4x3ulyi/BE3HSkDF3+gSLxTIZsiWOlYGbQEZ76Ce5KDZRVPsNLJUfdYpho8TZKGh+UmfoBPfLFOhYw38PR76FhiGFze5WeCvYeC+GPtSQ4TrLHKzee7Oe0qLN/eo0lj7ic5wmZasQ/KBdGPYI++5iaWYE3Wbv0hUwxQsMGwU5XD7DlZu6X8GAgyAKGDD06EeNZh9uw9mkxYBffMhc20MvlEGfsDo3y8tFMM1v2sbbBOp2K3tDXUZX/QRnQ7FsueWcHAoAkh4AVP2AqAYHw8y3f8Eu9EgtV7kBFyBPLMQJ98h9U7/s7kWrQnN1Yn7vcWMTDD48KsOvZO3qLtjckrBigEvEcwo8zpN2JdzwQ7bID0UNa+PUFwM7j3ZwDwPnUCIQsfJkTxmDKIjtcPUL+Jn3aUJY6IM37G64Xd+b3E1Hvsj36N+GjPaR9ZyuoPawsyot3BHv3KEtp7Jnuo52ErAKIFKxPAxOG/Fb13F+GER5X9jgT6JQb5DPqCZwAE0xQmWHmPwWX0adScfcCgGQFGwIYYsDLYZ0BO3x59FVtQsFIWTHxQvwmIF7yopBeRiYjn8DHEGYFBJ3ZOOcc63Ti6H8MLSB3AJrBX8oe3lX4AQc83vceKsvN7Vkk/+yOjTzeOFqykgzrn973yHpPVtDccRoUA8Ft8qAuUK3YQ1k+SPybwmNzwHmDSj1DxyybxICGA+V5z2W0se/Z7Uf24MOjBR4Riq8F2ib8zgc0Yxo/zyDPxEOhPsMVTTz3V/d3bUTJ2y/u0C+SffpxJV9rDePbst6gkY7fEH9ZPJrLnWOWPDcS7XQMOfssPE15wpN74tgzbSbRlzfdjtKnJ2Fus9jnW730/g0Mp3mnivj1notNvB0jmW7QfTHDT/sWyN+Lxe8FZTRhcOZToG8GVNWH2Fmtcnyjelvb3VidYaRTpaLwHIXrvpC8glovR6NOxMmPGANXvA4pXiMxUIj6CJ1zSyROC+xAxChpiBhY07Aywk7myAbc/3lLfMRBv2IwQ6abxYuaTjoRGL2yvTnRemEUjPcG9tmEzQt7jxYylP7AkmcrNgI68B5exhXk2mBGm86UDo8zo2GOln86AQVlw7ycdHNyDXjoGQQzw6IjpUPzeLvIS9nsvRvzBE3Sk3kMetieZwQi/Z+DBYIPZfhpi9n4wW0oZkC4GCn4pCsx4jwaZ+uE95H5PMuIh2JjTYNJ50kARP54AvkWgDrEUheWC/lAiXyYwZ4DkRWysPcl4Lhg8UweIn0aZgVhYuQXLO127Il8EvH6kP1i/fR3nb35Pday9jeSbSRl/aBX2xUAbntQlBtRMFiBw/Mw38SdrtwyM/anVvEdbQjzYWzx7TtZu4egHR8TPQIX4GbzEs2dsiDrlT3/2g15/KrkXvuQTQez3JOLJI36+g71Q9mHLXpO1W/JJWv3ECJ4F4sf24tkzdsPglvL1KxjCVgDgUaUdZpCLXSFQmaHnIDXabAbO/J797mF7gXiGwRWTcXwHkUi9oi1gABq0N9oVbIB/fm8is9jx7tn0p6viufL2iH0iRMLOAPA2hPc6mSXB1GHqIHmjPaRceA/vXJgnEc8wZcsZAyyBw8OWqB9AtNEm0R/RHhA/Aygm7fxp4j7deMSxNdoJ2lXaOXhFT7SwJA72fj859YN6hqc4egUADL1HHiGFcEZEBtOFYEQIsGeSQJuBIPR9LHUQ5nwzuHKHZ0kjZUt87L3lG8SP5wbR4dOPbfiJWAQl/ToCi0AZsLeSAVT0CgDaB/7R7xIvvIN7Z3mfuh5cEky/gMCFJ8Hnjzwm248RB3lgqS5jF5j4Q4OYoIK5X7KNeMUu6ZOCpxvzbfo7BBN2hFiDBys2sD1+Ztkk5UO6KHvqOfWENhCBRn+Ft49yZaIj+uwO6jq24PsXvun7GLYOEAdpoN75iaXmsFvKM5Y9U17wp02ACcIWfnhWo1cA+LMgmNTnJHECqw+Cq5Toh4NLglOxW2yPckOweKcBYxFsPp49p2K3sfpJbDKWPTPuDCt/6pZfKuvbBfpZJktgQpn6sx6C7QArTLCPsMMVqb+UOYF3/CGMYWduJGNv0WNTxsXE71eU+GXpTDhE2xvpx/vq+wt/7kO88S5lSPyMLbEjbJO65ye8/WnixMGkH/2FtxvGvn7iKtY3iB8bxcYYb/KPVTzkK+ysnLBxfbz0t9S/tTrBSgdJQ+BPv4zeO+kLCsOkcvnA88nc38YsFY2XX+PuT5ejIwqe3EeD6Jc7MACi40wm+GtzvHCK5UnkOX+FD41C9FLkWN8iXQwUvXCi4QibEcIwGCBgZH75XjLpxxgZFAT3cMbybHg+idLPIJuGJuiZCNuTTAPi9wr4tDLrRV7Cfu9nzBngMBAmfj8QwyNOw8XA2AfKggF7MLDUBT5+aQgDeOIJDnr97Du/93vdoveE+Dh9PP5nBop0ZP67CKhgPP45vCv83nvYY+1JRtB4LwDvUr7YS1i5BfOZrl35fMVKP/aI/fgBpN/bGO3ZiOZDfsk35eeXl5Nu/3vvyUvWbqP5YOvETx2MZ8/J2i0csT8fGKgQPwOCePZMO0b9DrYjYTOt5DPIwfPmO9gzA4ywA+aStdtgu0Me4Ev6Ka949kw7iVD3e295N2wFQLSnCvvFThEgpJ8OnBBmZ54pZcUSUwL7lkgfotWfJh72XNDeEh3AF2xnPF/aJ+/RCmsnyT9pID+JQrCd8fn0y9T9aeLBNsl79vCChm0ZCfte0I7gQxsZ5tmgXhC/D97DGR0ng3ye89eD0W7BMWwFQNDzTDzYmO8vfLqi7df3R952fLsVtnIn6AkjfsqI+Elf0Pb4PXtcCdQr/u6vH6PNZQAbtgKAcsRegyGaCxMt5D/YDwTz7fPHhFP0veSx+jHswNuft7vgiqpgvn27xWQ0dS84WU5/R/qCgQE77W+wfcJrH9zLF8y3b7cYSEf3k2F8fD/px0Vh9puu3VKe3u7D7DmYb88PIRO9AiCMj68PPl7qCbyDyzqTtduwcYQffwbbvzB7TtZuY/WTvh2NZc/R5U+dCPNI0h/5a9KC9htsB4K/j24vgu1KcHzcVHuLjj/YXwTtPGzcGCzvWOOT6Pij+ylv/0zkRNtb0J693YSt3Ap+gwkQ2iPG5wTObmHsGDYu5e/R4/pEfUxL/XurE6zRBUEDT6PqPTLNXVB0XOynydRl3DQMLPNKxcuZSh4xJmaKY10TkUpcsQZqzDAxy5ZoWUgq32LWmNn8ZJcqpxI3zzILx0xs8FTIVOOI9zyDW2auk51oSPXbDM4Z4PgZ4lTfT/R8pu2KGUtmLoOrFhKlKZW/Z7vdMtDCroIrPVLJf6Jn6XQzYbf+u3TIxI8HzXtcE6Upnb/L3uLTy4S9IdDw2rFMMmzpezrlybtMEtB3EX88r3g638ErT/xhd8+mE69/N9P9GGIM73sqyxtTyVe295N4zxEsqVwLlQqfbO8nMz3+jGYpe4tfuzJtb6nU7Uw82+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8xfr3729HHHFEC0qZkiICIiACIiACIpAqAQnWVInpeREQARFIg8CsZWvsfzNWWWlFtW3Zrcj22aqTtSvMa1KM99xzj/30pz+1zp07u/fnzZtn//rXv6y2ttb69u1rp5xyivt56NChtuuuu0a+cf/999sxxxxj3bt3b9J3k32pevLbtnbKe+7xNoP3sILtDkr21UbPLVmyxOWD9JLfYHjmmWfs+++/d7/fYost3J+WLl1qt99+u40dO9batWtnd955p1VWVlrPnj3dc4WFhU1KR7IvzZ0715UFoVevXk44NyVQTsuWLWv0ateuXW3MmDHudy+//LJ99dVX7r+Dv0/0Hn/n+WOPPTYS97fffmuffPLJRuET+ejS58xKX2j4sfNBZt1HNwVTpMwfeOAB99+dOnVy+ejQoYP72defnXfe2UaOHOl+R515/PHHI987+OCDbcSIEZGf3333Xfviiy9cPNF2Mn78eHvttdfcszvuuKOLk/o5atQomzNnjn344YeN8pGXl+eemzFjRqN0US/D4m8yBL0oAiIgApspAQnWzbRglS0REIGWR+Dj71fZ395bYKvX1kYS17dzkf3qgD7Wr3PqIupXv/qV/eY3v3FC7f333zfE2+WXX249evSwN998033jgw8+sN12280OOeSQyDcvueQSO//8861fv34ZgVS/drWtfvl2q/r8mUbxF+x0uJUcdrnlFLVL6buIAAb3CHHS3qdPH/c+Yu6WW25xvz/33HNtyy23dL//8ssv7bPPPrPTTz/dCVfE+0knnWQIDcRHpvJdXV3tvvHdd981yh/pYsKgTZs2KeXbP+yF1QknnOB+VVNTY/fee68T4eecc44T5U888YR9/fXXrj4UFBS456Lf43dTp061u+66y/Lz8+2GG26wtm3bRurJiy++6N4vLi5uUjqTfqm2zOy7i8wWNAjMSOh5qtmQu8zyOyYdFQ8iBJm8+fnPf2477LCDE40TJkywww8/3MWDEP/vf/9ra9eudfkj77B65JFH3M9VVVV23XXX2amnnmo/+MEPHN8bb7zRcnNz7aCDDrLdd9/dxYPn/qmnnrKJEyfahRdeaB07dnTcmZR47rnn3Pe333579yyTFrfddptdffXV1q1bN/e7yy67zEaPHu3qAvFMmTLF1edMT6CkBFMPi4AIiEALJCDB2gILRUkSARHY/AjgWb3xpVlWUbVerPpcDu3Z1i46uF/KnlYvWBEdN910kxug77333o3gMRDf2IK16pMnrOLl281qqxsXZF6+tR31ayv64akpFbAXrNttt521b9/efvKTn7j3EeOTJ0+2mTNnOnHqBeuf/vQnO/DAA23QoEFOiOyxxx6GaBl/AAAJPUlEQVR21FFHpfTNpjw8bdo0+/zzz52wCQaEDx62YcOGNSXaDYQnPBDi119/vROrPlx11VX2i1/8wnnUCWGCFe8qgh/Bhrg67LDDIiw3mmCd/2ez6Rea1a9tzCOnjdmWN5r1uyQlTkxm4B3dZ599Qt+DFSsK8MAi8JmwCApWhCfPICwRnfD9z3/+48Tqs88+6zz1hEWLFrn69Nvf/jYiQvn9ypUr3e8TCVbqxtNPP+1EKs8zuYTXX0EEREAERCA+AQlW1RAREAERSIPA7NI19qc35tmilVVWn0Y8ybzaqTjfjtu1h+23dSf3uBes9fX1bgB87bXXbrB8sTkFa9X452z1K7db/ZryZJLb9Gdy8yy/51ZWcsxvLK/XMCcgECXnnXee25uKYMCLyP8jEh588MGIYC0rK3Mc8JwhRPA0IxL23HNPJ2jwtiIgUwl48BAbeFAzHVg+yhLiXXbZJaanFC8pnj28d8EAo+HDhzuhRYgWrKWlpc4jjWD6+OOP7dNPP414HBH/aQnWiglm3x5vVjnNLNOWkJNnVrKD2dYPmLUb4TyXZ555pg0ZMmSD4oEVntQrr7zSHn30Ubca4eijj24kWIuKipz9MNnDSoTnn3/eKAe8rUwKYGdMAlAP7r77brvjjjsafSdZwVpeXm633nqr88jyzdNOOy3T1Unxi4AIiMBmQUCCdbMoRmVCBERgUxH44+tz7LOZZRvt8+2L8uzeU7ZuJFgRUgys77vvvg3S0ZyCdcVN+1ld5aqNlteCbUdZuxNujQhWvMheWOAlRJAhTH/3u99FBOu///1vW7NmjfM0+rBw4UK3jBPB8stf/tJ5nFMJLN9kOenGCghq9kP6paTRwpO8PPnkk3bNNdc0ShKeZby4sQQr4o2lq5deeqkhnhC8F198sfM4pi1Yvz3WbGnjJeAZ59X9OLPhT7rl7RdccEHEwx78Lh5lxCHLfdmn+49//MNuvvlmJ1gRnnjhmfDBC89eVJ6FC/uEmdxg6TVLdvkZD/rf/vY3934wJCtYeYel+6SBb2RqaXrGuesDIiACIrCRCUiwbmTg+pwIiMDmReDFCcvs6fFLrKqm8TLQTOQyN8dsh77t7JIfNRzi4z2sDKgRcieeeKLzCgUDHp1tttkmsiQW4YWHjQEze11TCeX/utDWTn3frG7DZc2pxJPMszn5hVa0/5lWvM9pEcHKnsBXXnnFiSuWQXOIDh4xRCtLghF4iNozzjjDBg8evMFn2MeI2EPgpBI4gIdDlBA2GyOUlJTY/vvvHzk0KFqwzpo1y3ma8ST7/aqUK3tS8TgjwgjR7+EdJB9+z+SKFSvcd/A4pi1Y59xmNuu3ZrUVGwORWW6R2cDfmvW73JX5AQccENlr6hOAR5m9qMFl0+wtxRvLPl2/hxVPvA/sd0WU4gX1AUFKHWMiBDvDS+0PdOKZVARr2N7WjQNMXxEBERCB7CUgwZq9ZaeUi4AItAAC1bX1xv7UNdWJBes//rfQ5q2o2iDVuwxob6OGd7Ycy4mbIwRr386F1qE43z3nBSvCc9y4cfbRRx/ZRRdd5JYFs9yTQ3lY2vjCCy84r1qXLl3c8tmKigo7++yz3eEzqYS61cutdtF3ZnU1cV+rWz7fVr/6B6uvaixecgqKre3B51tu18Sn5ua0KbK83sMtJ7+gkWDlgJwrrrjCfR9PF+LLC1YEpd8jyN8RLK+++qo7cImAsNlvv/3c8uBUAt9E3CUSrHgtOVk2eukwnBHX7L9NJuDlQ0Tl5DTUh2jhiThFvHM6NEIdBpQrnmQmI8IOXeLkZPLP8lm/b5KDifAe46FOW7DWVZmVf2FWy3LxBMJ+zUyz7y4xq43y1ueVmA26xay4YQ9ufGNoa9Z+FydcOWQL7zle9W233dZxwJuKB5O9qCwH9gGPKYHlv2GCFa/rgAEDIvukeRam2AtLtR9++GF3CjW2h2hlAoX/p94l2sNKXBKsiQpWfxcBERCBDQlIsKpWiIAIiMBGIjBz2Rp78P0FtmBlla2tqbe2Bbm2be8SO2Of3lbcJrV9lSSZwTWDdIQoAZHKPkQCg2vETPTvWTLqT5vNWLbramzNx4/bmg8ftbqKUveZ3JLOVrT7iVa018lmuakJ5cWLF7s9m5wETGCPIcEfpMSyT+5bxYPKwUvBw3fYw4qHlMD+Tk5pzVTgsCWW3XL6K944AmKS/Y94uVPdO+vT+cYbb7j/5CCpYECkzp492/0qrFyD77FnddKkSY2WSiPoEWAsl12wYIETXT5ktJ7UV5vNu9ts7h/Nqhc3fLJNd7M+55r1vdCMw5dSDIhvn36EPHbxzjvvOE9pcAk4z7333nuujvD/iEzvgcVTCo/oq2aob3i9PX9+5jRoAoc94d1F/OLt9559f5UO6Qh6cGP9PsXs6nEREAERaFUEJFhbVXErsyIgApuawKo1NbasvMbWVNdau8J826JjgbXJi+9Z3dRpbur365bPs7qyJc7hltu+m+V24TqazOWVU1fxMG/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X/q2nmMSlDoCQAAAABJRU5ErkJgg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AutoShape 3" descr="data:image/png;base64,iVBORw0KGgoAAAANSUhEUgAAA6sAAAHUCAYAAADcCb64AAAgAElEQVR4XuydB3gc1fX2X1XLRXLvvfdewMbYlNB774GPmBSS0FsoNmB6gEBIQknypwQICS1gejPNuPfee5HkKjdJlrTf887sSKPd2dV2zWrf8zx+SLRn7tz7m9nZOfe0tJUrV3ogEQEREAEREAEREAEREAEREAEREAH3EFiYtmHDBk+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IgAiIgAiIgAiIgAiIgAiIgAi4joCMVdddEk1IBERABERABERABERABERABERAxqruAREQAREQAREQAREQAREQAREQAdcRkLHqukuiCYmACIiACIiACIiACIiACIiACMhY1T0gAiIgAiKQNAQKCwvx5ZdfYvr06di1axfq1auH/v3747TTTkO/fv2QlpaGu+++Gxs2bECTJk1w7733ol27do7r+/vf/46pU6canz3xxBPo0KFDpd6mTZvw8ccfY/78+Thw4ADy8vIwcOBAnHvuuWjfvn1AXvn5+fj8888xc+ZM7NmzB/Xr18eAAQOM+fXp06fyOM6P4y9btszQy8jIMMY99thjMX78eDRq1Ajl5eW44447kJOTgwcffNDQsQs/57w3btyIZ599Fh6PBxMmTMBZZ52FSy65xFD94IMP8J///KfacW3btjVY/exnP0Pnzp2T5tproiIgAiIgAqlHQMZq6l1zrVgEREAEkpbAnXfeiS1btuD44483jK2CggJ88skn2LdvHx5//HFkZ2fjF7/4hWHoHTlyBBdeeCHOO+88v/XSGL3vvvsM/YMHD+KRRx5Bly5dDD1+9thjj4E/kKeffjqOOuoorFy50jAuW7ZsaRjDNIqd5Pbbb8fWrVtx8skn48QTT8TmzZvx6aefGmM9+eSTxiE0UJ977jkUFxfjzDPPxKhRo0AjnOtYsWIFevbsCa6Thvhf/vIXzJo1C5MmTUKPHj2qnbK0tBS//e1vDQP35z//uTHetddeizPOOANXXHGFofv6668bxjOZdO/e3TCM58yZg++//94wpG+44Qb07ds3ae8HTVwEREAERKBuE5CxWrevr1YnAiIgAnWCAI3Pv/3tb5g3b57hPTzmmGOqrYve1uOOOw5ZWVmGYdaiRQuUlZUZBt8DDzxg/N0un332Gd544w3DUKSX1jJW+aM4ceJEw4C99dZbDQPPLjT8aIj6Gquc35/+9CfDEP3Nb36DkSNH+h13yimnYP/+/bjrrruQmZmJm2++udJApjI9oy+99JJhSHINJ5xwAr799lvQA3zZZZcZhq3vXLgGelfbtGkT0Fj94osvjHPSm2rJ0qVL8dRTTxneZHptJSIgAiIgAiLgRgIyVt14VTQnERABERCBagTo7bz//vvRq1cv3HbbbYaxF0ho6LVq1crwvv7rX/8yjE96K+1CryrDaxmiyzBZy1ilMfz0008bHtXLL7885Kuwbt064zzDhw83jNBAMm3aNPz1r381wnTPOeccP7Xly5dj8uTJhjf3xhtvxN69e3H99ddj0KBBhsFpF56H4ck0ximBPKtOxir1X331VSOkmt5VGu0SERABERABEXAbARmrbrsimo8IiIAIiIAfAYbCMnT2/PPPdwzrtR9gGav0GNI7Sq8jQ3ctYUgvw3z5N4bd/vvf/640Vj/66CO8+eab+P3vf4/Ro0eHfCXoDX3hhReMcNxTTz014HHvvfce3n33XWNew4YNc9S75pprDI/nQw89ZHz+5z//GQsXLjTyUpnLSlm9erVhvF966aVGjmokxuqhQ4fw61//2vBIM3xYIgIiIAIiIAJuIyBj1W1XRPMRAREQARHwI0AP4Msvv4wrr7zS8HoGE7uxSu/hd999Z3grrZzUe+65xyhWxDxQ5onajdXnn38eP/zwg2FM0ksaqliFjBiizPDdQPKPf/zDKOr08MMPVwsBtuv/4Q9/MMKQaaRS6LVloSgapmeffbbxtylTpuC///2v8ffevXtHZKzyBYDeWRZZ4jklIiACIiACIuA2AjJW3XZFNB8REAEREIGYGavMIWVhI3pkWcl37dq1Rtgs//cFF1xgGH12Y5V5sT/++GPcjVV6fX3zYa1FswIwc2CZU0rh/2bYMg3YP/7xj0YINItJbd++3Vgbi0RRwg0DtoxVGrvBQpd1O4qACIiACIhAbRGQsVpb5HVeERABERCBkAmwCBJzPS+66CLHXE/7QHbPKv/OkF7msDKn9MMPP8Q777xTGfbra6y+//77ePvtt418UeaNhirffPMN6DVlCC8LMAUSnpvnoEE6ePBgRzV6j5mby/laQoOaXmAarV27djXyWNkOh0a4JeEaqzR+f/WrX4WdnxsqE+mJgAiIgAiIQLQEZKxGS1DHi4AIiIAIxJ0AczQZOss2KwzRDaXAEr2XrAJMg5RGIkOB2QqmadOmlWGvvsbqTz/9ZBjFNATZ/iVQixrfBdODyxxTFiq66aabAvKwCiyxpY7d0LQOWLBggVHdl6HONFotYbsZVhtmKDDXRIP3xRdfrHaecI1VhlXTyGZxqY4dO8b9GuoEIiACIiACIhAuARmr4RKTvgiIgAiIQMIJMBSWxiDDeOkN9G1dw6JIDOtlqxq7Z5WGHfutsh8pP2M/VhYm6tatm7EGX2O1qKgIt9xyi/HZo48+avRVtctrr71mGJHp6enV/s75MX9027Zthid3xIgR1T5n7uzVV1+N/Px8o6ovCyUxHLlZs2aVemxdw8JPbCvD4k/2VjNcA8dlfinHaNeuneGdtUs4xurMmTONVkD9+/f3GyfhF1cnFAEREAEREIEABGSs6tYQAREQARFICgKbN282vJ5sYzNmzBijncuBAwcwY8YMI5+TxiXzN32NVS7OykVlCxuG17LAkpOxyr/Nnz8f//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qhyfY7LgEkODma/qJNRjLm1JSYnhZfY1Mvl3GrGsGMzcXgpZvfHGG5XDMXyaIb/0TNNQtlrh6HYT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KuNVY9Hg9KSkrA/1Kys7ORkZFh/G/+vaKiwvjf9erVQ3p6eopfRi1fBERABERABERABERABERABOoWAdcaqwsWLMDHH3+MYcOGYc2aNcjJycFVV12FwsJCvPbaa8bflyxZgnbt2uGiiy4yjFmJCIiACIiACIiACIiACIiACIhA3SDgWmP1+eefR9++fXHcccehvLwcEydOxG233YaXXnoJl19+OTp27GhcgTvvvBO33347WrRoUTeuiFYhAiIgAiIgAiIgAiIgAiIgAiIA1xqr06dPx+eff47x48dj+fLlqF+/Pq644grce++9uOWWW9CmTRvj8t1///2YMGECOnTooMspAiIgAiIgAiIgAiIgAiIgAiJQRwi41lilN/Wrr77Cu+++i8zMTDz55JOGwWp5Ulu2bGlcgscee8wwYi1Pa03XZf/+/di+fXtNavpcBERABERABERABERABERABJKaAOv7dO7cOWnX4Fpj9dVXXzXyVC+55BLMnTsX77zzDm699VbDaL3pppuqeVavu+46tG/fPqSLUFpaikOHDoWkKyUREAEREAEREAEREAEREAERSFYCLFCbm5ubrNN3bxgwc1QZ3tupUyej8u/kyZON///WW2/hrLPOQq9evVBcXIxJkybhjjvuQPPmzZP2ImjiIiACIiACIiACIiACIiACIiAC1Qm41rP6zTffgHmrrPbL0N0GDRoY4b6bNm3CK6+8YhirK1euNCoBDxkypLKtjS6wCIiACIiACIiACIiACIiACIhA8hNwrbGa/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Z+o2PAVpTPyuI/k9e/Z1A47FA66uBtIzA+vumAbs4/i6g8bFAm6sBpAfR/xHY9YFXf5xXPy2I/g9e/d1A4/Fe/SCA934H7PoQKNsLNBlvrjeY7P0W2DUFKNvn1b+qBv2ppn75fnM+ra+sQf8br/4BoPFxQOsrgutXlAIFrwP7fgSyWwFNTweajAt8TEWJV38akN0aaHa6eR0CScVhIP8NoOgnr/6Z5n0RUP+QV386kN0GaEb9MYH1yw8CBRx/BpDdFmh+JpA3Ooj+AXP8/TO9+mcDeUcF0d8P5L8O7J8N1GsHNKP+qMD6ZUUmn/1zgHrtgeZnA7kjg+jvNee/fy5QrwPQ/Bwgd3gQ/T3m/A/MM/VbnAs0GhZEf7dXfz5Qr6NXf2hgfX6vOJ8DC4B6nbz6Q4LfQ5z7zneB0h1A7iig9VVARsPAx5DNzvdMfbKnfnqDIPqzvfr5QN7RXv36QZ4ps4BdHL/AvBf4nUyvF0Rfz7jgz6w4P+M8ZeY9uu87IKsl0OxUoMnxgafkOeLV/96rfxrQ5Lggz5QUe8YF/7bqUxEQAREQgSgIyFiNAl5cDt32ArD2RoAGjSV8Wez7byCni/8pt/0VWHMzwJeJSv3RXv3O/vpb/wysvRXgy0ql/hivfid//S3PAOuoX1H1GQ0fzocv4r6y5Slg7e0APDb9sV79Dv76m58A1t1Z/e803Pq8aRoe1cQDbHoMWH+3j/7xQN/Xgex2PvoVwKZHgfX3Vv97058BfV4zDSe7eMqBTQ8DGyZV/3uzU4Der5iGXDX9MmDjQ8DGB3z0TwN6v2wair5SsgVYfplpqFqSng10+yPQ/gYH/c1e/Wk2/Ryg+5NAu9866G8Cll1mGqqV49cHuj8NtPu1v37xRnN8bnhU6jcAevwJaPtLB/0NwPJLgaKZVZ/RSOr+LND2Fw766736s2z6jYAefwba/D8H/XXAsktNQ9WSjDyg53POmxLF1L/YNDwtyWwM9Pir86bB4bXAcurPs+k3AXr+DWh1mf98Dq8xxz8w36bfFOj1AtDyYgf91V79BVWfZTUDer4EtLzAQX8VsOwi4MAim35zoNffgRbn+evzL/mvAauvB7hpYAmNbX4n6/f0P2bHK8Dq3wIVh2z6I7z6PRz0/wms/j3ATY/K8Ud69bv762//O7CG+iVVn3Fzoe9bQE5Xf/3aesb14zMrxZ9xvBql24DllwPc9LMkLRPo9hjQ4Vb/61Wy1dTf971NPwvo9gTQ4SYH/RR7xjl/S/VXERABERCBGBGQsRojkDEZhp6qxaeaHkBfaTgAqOdgfBb9ANCz5Kc/0PnFbN8PQHk4+t+bHka/8Qc5G6t8oXHSbzQYyHYwVrmzX37Af/xGQx2MT4/5wuSnnwYY+j7GJyq8+raXeuNMaUDuMCDLx/hEOWDwcdIfDmT5GJ80+Mm/3GYEGOOnm566rFYOL3KbgIOL/f+ekQs0dvCulmwEDi4JQ38DcHCpg36esze2eD1waFkY+uuAQ8v99TPzgDwHb2/xWuDQCgf9xkDeWP+/F68BDq0MXf/wauDwKgf9JkCegzeZujzGVzID6a8EaLCGrL8CoEHsp9/UjJLwlcPLgcPrQtenZtE0M6rAVxr0BnIcjM+A+n2AHAfjM6B+XyCnm/95i34M8MzqB9RzMFYD6sf7GRfmM6thmPpJ8YyjsboFOLDQ4TvfyIwk8ZWSzcBB22aK9XlGIP06/Iwb8LEZjSQRAREQARFIGAHXGqtbt25FcXFxJYj09HR06NABWVlZ2LZtGzhxSrt27VC/fpDwtIShjMGJll8CFPw3BgNpCBEQAREQAREQgZgSaDvBjHqQiIAIiIAIJIyAa43V1atX49ChKo/VP/7xD9x///3YtWsX3n77bZx55pmYPn06KioqcO211yInJydh0OJ2ornDqocbxu1EGlgEREAEREAERCAsAszTHTw1rEOkLAIiIAIiEB0B1xqr9mW9+eab2L59O2644QY8+eSTuOqqqwwvK+UPf/gDbrnlFrRs2TI6Em44eu1NwJZnnWfCMNEGfYE0W2GjIzudQxQ5AvP8GvTx0S90DlG09Bv2NUNkLWHBJqeQRn7OvECOb9dncRXmEDqJoc/xbRJUv4l3fLt+PsCwVcfxmwIMg6w2frj6O4DiDQHGbwY06OUz/naAOZ9OwjzF+j76zPtlSKxTGDbHYIglCy5ZwhxaQ98hDDug/nLnsGrq1+9uFkepHL/MO75DGHZAfY7vGybtHbB+DyCrhc/4yxzCpAPpHwEOLq+eW2lny3zMrOa28am/rHpuZTB95oEz5LmiKmKj2qXj9eJ1syRs/RLv+LbczWrz6Q1kNbWNT/2l1fPT7fq8nzNt+vzsyG7nsGd+xtxh4xmRWTUKizc5hT1HpN/IO76tGFvQZ1C4+nrGoTTcZ1aY+nwGHV7pHLZtPFO6Vs+1N/RXOKeaBNKvy8+4jneaub0SERABERCBhBFwvbG6e/duw6N69dVXY/jw4bjtttuMf23amPmGkyZNwnXXXVdpvCaMXDxOVLodmNnF+eW14x1A10eqV+1loYz5xzgbWJ3+AHR5qLqxWrINWDAaKN7kP/vO9wJdHqxufLKwxvzRAHOWfKXzJKALCxHZjFtD/2iARYR8pctkgOewC/UM/a0+2mlA14cBrsEuNAwXjAG4jmqSBnR7HOjIwk42YS7ggrEAudqFBj8LGnW4xUd/FbBgvFkxtZp+hlmgyLcAEnM3Fx4P4wWzmn4m0OMZ/wJIND433m8WZfIVVr0dMh3IsRWAof6G+8wiUX767YGhP1XPS2YO7fp7ABat8tPv4NW3FcWiPotbbXnaQb+jV9+WZ8wiXiyetdVhQ4WFa4ZOM6vlWmLo3wxs/av/+FznEM7fVkTLUwqsuRFgAR5fyens1bcV0aIxueZ3AAv8+Ol3MedjL7rFAkCrfwPseNlBv6tX35b3TP1VvwLyX3XQ7+bVt+U90wheNcGsmuor3CgYwurPdv3DwMprgYK3HPR7ePV98qR5ry041tkAZQEtFq6yVwLnvWzoO+Tdtv8t0P1PDvpjnTep2t9oFvayG8P8bs0f67xJxe8Xi/DYK40b+nxmOWw6xf0Zdx/QhcXQfJ9ZKfSMYx7/xkfM54qvMOefzxR7IT8aq5smAxvud9Bv59W31VJItWecPxX9RQREQAREIMYEXG+sMtT3yy+/xMSJE42l33777bjjjjsqPamPPvoorrzySnTs6FCZ1gHW/v37DS+tG6VhyVS0311VsdWDTFSkN8HBnPEoyLsPFWn+ubkNS35Ay6KHkVmejzRPqaF/IOc4FObdG0D/O7QsegSZ5QWGfrkx/vFeff9Q6kYlU9Fy36PIqCi06Z+Awrx7UJHmoF/8FVoWPYaMip1I8xxBeXpTHMyh/t0B9L9Ay6LHkVGxq1L/QM7PsDPvLkf93OLP0KLoj9X165+Mwtw74UnzbZXhQW7xp2hR9JSpjyMoT2uKA/VPQ2HubY76eYc/RvP9TyOzYjeAMkN/f/3TsTP3lgD6U9B8/zPIrNgFoNxY7/6cM7Ez92Z4HNoNpXsOo2XRo2hU/DXSK/YaOmUZbQyeB+v5F+5I9xzy6n9j02+Lgsb34lC2f8EeU/8RNCqeatNvh4LGE3Eo279djKn/sFd/n3c+HVDQ+D4cyvZvF0P9VkWT0bD4O6RXUL8ejmRQfxIOZ/u3f0n3HPTqf1+ln9kRBY3vx+Es/3Yuhv6+B8H7unL8zE4oaPwADmcN9vvamvoPePWLzPlkdkZ+4wdRnDXQQf8AWu+7Hw1KpiG9wtQvzeyCgsaTUZzVP4D+JDQo+cmrn4PSzK7Ib/IQSjIZWVBd0j0cfyIalEy36XdDfpOHUZLp42lnKS7PfrTedx8alMxAesV+eNI4fnfkN3kEJZkOxZLoIC+da6w5q3wL0jwlqEjPM+4dMqpI829H06B0NlruexBZ5Vu9+o29+vcH0J+JVvsmI7N8m03/WOMaO48/Ha32PeTV5zOosfeZNTHAM2gaWhZRf0flM0vPuKr7KL7PON5zh9Fi/xNodBrvDTQAACAASURBVPhLZFTsgSctC2UZrVGY9wccrOffjsZ8Zj2OhsXUt55Z1L8bB+v5F4WrK8+4RsVfGd9hCn97tzd9xpGPG98lNCcREAERsBOoV68eOnd2KNKaJJhcb6xOnjwZ55xzDgYNGmQgvfvuu41wYMuz+sADD2DChAlo3963zYnzFSgrK0Npqa0tjFsuVEUJspeMRWaJtzJr7ih4ujyE8sw2xss0ELgPKg1V48UPJShPbx6C/g7TuK3UZ8XOwH1TOXZ4+tu9+jSGWxgv99W8GT7MM8vjrb/NNM7B+bT08gnc95Uv6aY+jW3On/xr0ifPMpSlt8CRGvThKUd2+QbDgPagnmGslmUw/DfAOcLWL0N2+Ubb+G1RlsHw30DjU5/z2Q0PcrzzCazPTYgsY3xLn+Mz/Nd5fF/9IxltUW7Mx1m4iWKOzxfpHBxJb4dyY/xQ9OvDGD89mH4Jsso3ecenfjvjexN4fOpzPnxRD0W/2Dv+XuMltyyjPcrTbeHFPidK8xQjq2wTMjzUb4AyYz6B9Xl4Rnkhsiq2g8dyg+RIRhfD6Agk1fWb4UhG56D6vP8zK2hMcnzqc3xbeLHfd7i6fmlGl+oeWD/9fO/4oT6z9Iyr+RkU+jMOqEB2Gb/zO73PoNaGwRr4HGHqh/3MCveZGP9nXPb+T5Gx0mxn5UlviJJe76MiN0i/are8S2geIiACIuBDgEVqk7m2j6uN1WnTpuHDDz/EPffcg7y8PAP9c889h9GjR2PEiBEoKCjAM888Y3hbmzb1ye1KtluVfTcXnVKVr2eEtd6RbKvQfEVABERABEQg+QkwzeCnFlU1A3q96Nx7OvlXqhWIgAiIgKsJuNZYZduaxx57DH369MGll15aCXHz5s2Gwdq4cWPs2LHDKK5E1zZ3DZJamDu4+Y/cwzVzyI5aXz2fL6kXp8mLgAiIgAiIQJIRWHYxUPi2OelWlwJ9/51kC9B0RUAERCD5CbjWWE1+tGGsoOIQMKtPVSGjDixk8kwYA0hVBERABERABEQgpgTy/wWs+Lk5JAtQHb25esGwmJ5Mg4mACIiACDgRkLHqhvti63PAmhvMmWQ2AYYvAFj9VCICIiACIiACIlA7BFjxfd7RVe3Ghs0GckfUzlx0VhEQARFIUQIyVmv7wpftA+YMrPKqNj8b6Pc2kJ5d2zPT+UVABERABEQgdQmw1zjbkx1cajLoPNHb/ih1kWjlIiACIpBoAjJWE03c93y7PgKWXVDVW7XPK0Drq2t7Vjq/CIiACIiACKQ2AfaKXnIusPsTk0PeUWb/4yCVsVMbmFYvAiIgArEnIGM19kzDG3Hl/wN2vGIek9USGLUGyDQrH0tEQAREQAREQARqkcDGycAGs8876nUChv5g/lciAiIgAiKQEAIyVhOCOcBJjuwCZnaryofp/iegw021OSOdWwREQAREQAREwCKwbxqwYKz5/zIaAQM/BRp7/78oiYAIiIAIxJ2AjNW4Iw50Ag+w9lZgy59MhXrtgRGLgMxmtTYjnVgEREAEREAERMBGgP1Wp7cCWF+C0usFoO2vhEgEREAERCBBBGSsJgi032lKtgDzRgKlO8yPWl0BMF9VuTC1dUV0XhEQAREQARHwJ7D8EqDgv97f6kuAvm+JkgiIgAiIQIIIyFhNEGi/07B/28prAU+Z+dHAT4Bmp9XWbHReERABERABERABJwL5rwMrrjI/yW7j7beaKVYiIAIiIAIJICBjNQGQHU+x5CyAlYApDfsBw+arXU1tXQudVwREQAREQAQCEWC/1flHA2VFpsawWUDuSPESAREQARFIAAEZqwmA7HeKQyuAOQMATzmQlgH0+y/Q4vzamInOKQIiIAIiIAIiEIyA0W/1BODgElOr831AlwfFTAREQAREIAEEZKwmALLfKdi3bdcH5p8b9AWG/gRkNqmNmeicIiACIiACIiACwQiw3+rS84BdH5tauUcBQ9VvVTeNCIiACCSCgIzVRFC2n8MIJxoDlO01/9r+RqDH0wDSEz0TnU8EREAEREAERCAUApseBtbfa2qyz+qQH4Ac9VsNBZ10REAERCAaAjJWo6EXybFbnwPWsJdqhXn0sDlA7vBIRtIxIiACIiACIiACiSBQ9BMw/xjzTOq3mgjiOocIiIAIGARkrCbyRvBUmEUa9s82z9r0Z8CgLxM5A51LBERABERABEQgXAKeUuCn1lVRUT1fANqp32q4GKUvAiIgAuESkLEaLrFo9Hd/Diw5HaDRyn6qQ6cDuSOiGVHHioAIiIAIiIAIJILA8suAAm+P1ZYXA/3+k4iz6hwiIAIikNIEZKwm6vJXlAILjwOKpptnzDva9KoynEgiAiIgAiIgAiLgbgL5bwArrjTnmN0aOHqLufEsEQEREAERiBsBGatxQ+szcNEMYNFJQPkB84OuDwGd7gaQlqgZ6DwiIAIiIAIiIAKREjAKJI4GyvaZIwydAeQdFeloOk4EREAERCAEAjJWQ4AUlUrpDmDrX4D814GSjeZQaenAiKVAgz5RDa2DRUAEREAEREAEEkTgSAGw8ERbv9V7gC4PJejkSXwa9qnd9gJQ+B+A70SNRgAdbgCangSkZfkvjJy3PQ8Uvm3qM12q/U1A0xOd9UvzgW1/AwrfAY7kA7kjgQ43A02OD6L/V69+AZA7yqt/nLN+EqPX1EWgLhCQsRrvq7j4DGD3Z1XVf01rFejzCtD65/E+u8YXAREQAREQARGIBQFPGcA+6butfqsjzT7pCgUOTnfp+cCuDwFPeZVeRkOg2x+Bdr/xP3Ype9FPMet7WEL97k8DbX/pr7/kbPOa+Or3eBZo8wsH/bOAXZ9Ufy9jSlaP54A218TiTtEYIiACMSQgYzWGMP2G2vYisPrXzmdoNAwY8i2QkRvPGWhsERABERABERCBWBHY9Aiw/h5zNKPf6vdATudYjV73xsl/DVhxdXKsq9EQYPBUILNJcsxXsxSBFCEgYzWeF3rBOGDfD85n4C7eqDVmkQaJCIhAyhIoLi7GypUrsXPnTuTm5qJbt25o0aJFTHkUFBRg7dq1OHToEFq3bo0+ffogM1OFYSzI27dvx7p168Br0a5dO4NPWlrdrSdQUVGBVatWYevWrahfvz46d+6M9u3bx/Seq7ODsUji/DHm8ujtG/gZ0HhsnV1u1AujJ3rXB1EPk5ABeD1HrgTq1cHvArtR5L8KMGS62WlAh1vMlLRAwohAQ78AaH66qR+sxsruTwBuTJQWAs3P8OoHuWq7PgYK/gUc2Qk0o/7NwS8xvfJb/wzs+gjIbgOwGneLcwIf4zkCbH0O4HnqtQVaXgI0PyuwPougbqP+J179S4HmZybkttNJaiYgY7VmRpFrLDoZ2BOgj2pmY2DUKiCrVeTj60gREIGkJkADdcaMGSgqKqpcR3Z2NoYOHYru3bvHZG0rVqzAwoULUV5eFYLXuHFjjBkzBk2bNo3JOZJ5kEWLFmHp0qXweDyVyyCXY445Bnl5ecm8NMe579+/Hz/99BN27dpV+TkN8/79+2PQoEF1br0xXxBfgo1+q3vMoXs+D7QLEEEV85Mn4YDLLgEK/5scE8/MA0YuB7LbJcd8Q53lhknARuZW28KqGw0F+r4BNOjrP8qGe4GNjwCoeiYidxjQ502gQW9//fV3A5serf535hlz/Pq9fPQ9wLq7gM1PVP973iigD/V7+I9/eDWw/Apg/+yqz9IygI63A119zkuNw6u8+nNs+plAxzvN4qa+cmglsILjz62u3+kPQJcHQ6UsvTgSkLEaR7jY/k9g1QTnM7AAwOCvFQYcT/4aWwRcTIBevG+++QZ79+71m2VGRgZOOOEEtGzZMqoV0KM6derUaoaqNWCbNm0wbty4lPaw0qP6/fffO/Lp1KmTYbDWJQ8rParTp0/Hxo3eYn+2uys9Pd1Yb8eOHaO651Li4OWXAwX/Npfa8iKgX5IYY7VxcQreNA0HJ6nf26zfYQ+73fMFsOZGZ30aVr1fBrjZbwk9hmtvctZv2N/Ut6db7f4UWEsvoYMwPWvwN9XHrw1msTwnPaTMAa4o8R+V927ft6p7WMln6XnO+q0uBfp673trNHoil50fQP8KoO/r1c/L3OVlFwH0ZPoK67j0ebX6X+lRXfFzgPeRr6RnmwZ0ywuqPmFe+fIrzWJeTvqcf4vzbfql5v3J4lx++vVMPi3OjeUV0VgREJCxGgG0sA5ZdArAh69dspoDvV4EWti+YGENKmUREIFkJ1BYWGgYkmVlZY5L6dmzJ4YMGYKsLIdqmSEsvrS0FDNnzsTmzZsdtevVq4fTTjsNDRo0CGG0uqnCzYIdO3Y4Lo7hseeccw5oxNUV4b320UcfGeHgTtK2bVscf/zxdWW58VuH3QBjdNTorSqyFIh22W5gelt/4ySzKcACSK2v8j9yxTVAwRsADQ9LMpsBPZ8DWl3uoE9j5t8O+n8FaGD5CnvlFrzlU/ApD+j9D3PzoS5JsAi/urTOeK2FIdADvAXV4nUOjVsjARmrNSKKUmH5VUCBd2cpPQtofi7QeZIZehEsXyDK0+pwERABdxOgV++7774DvV1OQu9qTk6O4V3t2rWrkWtqGU70mK5Zs6ZaDiqNWo61bds2bNiwwQjz5AM+2PhnnHEGGjVq5G5QAKycUq6HBlXfvn1jYkROmTIFDIsNxP+iiy6KyXncAvjIkSN47733HD3JnCNzps86K0hel1sWUtvz8Ou3+hOQN7q2Z+XO8296GFh/r3duaUBmLtDkBKDTfQALGjm9B7Ef/fa/A/n/Aoo3mC1oOt8LNBwcWJ8FLfmuVbzRHL/zfUDDgUH0nzdDV61wblYN7vVS3Xsvm9UTOLzGnfdGMsyK7+ojlyXDTOv0HGWsxvvyzu4NHFplnqXHX4D2v433GTW+CIhAEhCgMUnPKj2goQhzWWmw0iO6fv36agYHDU4aGvTWBvLU+p6Dx5x88smGQexmWbx4MZYsWVItp7RJkyZGzi3/G43MnTvXKG7lJBybnue6EAbMDQsWU2J+7r59+wIi69WrF0aMGBEN0tQ41rffaqe7ga4Pp8baw1klvarzjwUOeV/2WYhq4MdAhktywdfeCmx52lxRwwHAiEXBiwiFs3a36K69GdjyjFtmk3zz6HAj0F38avvCyViN5xUo2QrM7GT2/mIftlGrgZwu8TyjxhYBEUgSAiysRKPTXtgnkVPv168fBg8e7GpjLJj3mdVrjz322Kg8n5s2bcKPP/7oiJ0VmU866SRX8wnlfjlw4IBRxIubI/YiW07Hjh492vDiS2ogoH6rod0ie78FFp8OVBw29dkntaaqr6GNHBsthg6vuMobDpwGjN5S94orlRcBc4cBh9f6M+vygHNYNdPXitf567M4Eavq+sqik0wPeDVJA7o96p/uxhzUxRzfN28+Hej2uHN+6M53zaJMvlKvAzDoK4DFluzCgl5Weyn73+t1BAZ96a/P+2DDRP/xczoBwxcADFmX1CoB1xqrnNi3336LOXPmoHnz5mjWrJmRP8RcmxdeeMGoYrllyxaMHTvW8A64sg3DtueB1debF7h+T2DYTN30tXq7x+fkfBlkNVe+CNJbpQqr8eFcV0bls43PNXsuKUN+KQzl5fOOYa68rxjuS08Y7y+GcIYi9MCyii0r/tITy/+/fPly7Nmzp5oXlwWcWGTJzcIwaXoEnYQ5pQxZjfTZ71t8ih5U/rOHTbMqczK0sXF6BrGAFwspLVu2zAgHt4Sh5DTE+TmPs6+XLMePH2/cN5IaCKjfas23yMpfADv+z9TjC79RaddF99b+WcDCkwAadJR+bwMtL6x5XcmmwaJGSy+oyulla562E4COdwHpDpE1e78B1t0NsApvxUHTycJc4Y53OOvv+QpgRWCGG1cc8upfaVbrTa/nT4t1XBgabugfNvWZu9zhVmf9imJgy1NVYeHpDYEGvYCuj5gh4r7CMTc/5Q0L3wAY+r1N47nx+AD6fwS2vwiUbDM/JxfeD2pf44q73bXG6oIFC/D111/jd7/7nRH2Zslzzz2HE088EfQKHDx4EA8++CDuuOMO4wXPdbL4VICV6ijNTgX6v+/8RXfdxDWhUAkwN5ChhJYhwZc9eiZYGMcyQEIdS3p1nwBDfhn6u3v37kqPasOGDY1NN4bj0pCgwWoZYPS6MqyX9xeNq/nz51czPOzEaGiNHDnS6BNqjWGFsHIMnpOVb62wY1a7ZSitmwsIffLJJ47Vkrlufr/OP//8iApQkednn31WLV+V31n2G6Wn1WrrQjY06lu1cm+LMRqkfAbxuvJ+4bXnJgQ3OXxDfsnsqKOOQocOHYzNNd4X9C7zvrKE9yPDn7nJIQlCoGgGMN+bp6p+q/6g2D9zRqcqryoNHXrO3CRHCoE5g4HS7easOt4GdPujm2YYm7ns+w5Y+LMqY7Xvm97CU0F6SZcVAeX7zWN4f7MwaLA+q4Z+kemlDkl/n3d86jcCsprVEILtAY7sBpjPzEhFVnhmq6GAQv1dQPlBU5+50kHDzz1m0S1W+qak1wcGsYfyuNhcA40SFQHXGqsvvfSS4aGydnhZTp9GwF133YWbbrqp0iPwwAMPYMKECe5raM6k/dn9gFJvpUmGvnR/qu7lQ0R1+yX3wWw5wmqi9FD4Gg3Dhg1D794O/ciSe8mafRQE6Nlkf0u7AcFNtlGjRoXsjWc/UPZMdRJ69Rm2So+jk9CQmTZtmmGcUGgcU5+5rm4Uevy+/PLLav1A7fOkIUnDiwZmOAY3o3PoseX1oNCgZ+Xl4cOHG/+bnlwa9VZ4Ng2/4447LqxzJIonPe7c1LV7Tp3Ozc0PcmIfVd/7g+uksbpq1apKLyvzdbnmVK4UXeM1ZL9VVrnlCzFF/VarI1t3B7DZa/jRqzr0R6BBvxqxJlxh4QnA3qnmaZudDvR/z9m7l/CJxfCEW/8CrLnB2zc1DTh6E8AQWkl1Anxfn9HRa9SnAz3/BrT7lSi5gIBrjdUnnnjC8JaeffbZRnXLV199Fffeey8effRRw5Nq9R987LHHcMUVV7ivN9z+OcDCE23hJW85x/q74CbQFCIj8MMPPwRsC8Kw9VNPPTWygXVUnSPAwke8X+wbG/TWsa9lIOPSCQI9YV988YWjt5Ghw/QOBisIxAf+Bx98UGmUcEOFRpobhVELzLUMVM2Yc6aRyjDdcHJv6Tm1DHaO0aVLFxx99NGVxiiNN4Zpr1692sBCngMHDsSAAQNch4mbD049U+0T5bOIuajclAhk1Dv1X+UGMXOCJUEIsAVK/humAsNHGTYoAUrzgQXjgMPe4pJNxgMDPwHSXdgma8uzVX1aGSo69CeAbXLqkqy4Gsh/zVwRKzAPnyfHSaDru2AssG+a+alT39e6dF8k0VpcbayyrUL//v0NnJMnT8a1116LZ555BrfeemulZ3XSpEm47rrrjLCmUIRtCli0I96Se/hjtNl7O9JQbpxqfauvcSQjtDnGe24aPzYEWFkzUCVXvhTSuyqB4aFiyD5DL8mFxlmwEMNw9d3GmC/+9N5xvQy75D3C/HqrSi+NH0aN0NMVSag4x+Z4fHgzlJNhnzRI2NIlFA8jjRsazxTOhc9Yt1UE5hppLFrh9VwX/5EtvYT8u+X55BqYg8n1B7uvrIq4+fn5lbcMPYf0qvr2suXYK1asMO5bS2jYu80LHewZxHmzCBU3RUK5z8iU7ZDsa+ax/G0N5b5y2/cwEfPh73zbvbcYpypPb4Z1rX6AhyGHKS4Ni6ei3d4bkeYpMUjkN56MfQ0udiWVrLJN6Fp4CoAKeNLqYWPLKSjN6OzKuUY6qS6FZyC7zGxfU5h3J/Y0vDbSoer8cU0O/gutih4y1lma2QUbWnpT+ZJ85Uyn5DtHsoprjdVXXnnFeAGjZ5UyceJEXH/99eDf7Z5UhgXTeLU8rTVdCL6wBNupr+n4UD9PW38XMrYx7JfFlXqhbOgSvhmGerj0koAAQwntL772KfOllnlfqS400GbOnIkdO3YY3zsaFnxoMnzTKQ+Q+vSmUZ8GA/VpSFE/1O94bTLnC//06dON/FJr/vyvveIv24PQUxeKARFoLTRSyZPj0pDgWKG2WNm5c6cR5moZz926dasMga1Ndta5uaHI8PqSEvNFl2tj0R8WjLKYMvyVa7AXneIGwPHHHx+w4BKNT7bBsa4Fx2M+qq+has2Dm5r0wlr6vP8YGhsq50SwJAN+V5yEYeGnn356WNPgxgoLGzLFgWJ5lem9lvgTSDu8AhmLxgJlZjugsgHfAY3HpDyqtBWXIWPXOyaHzKYoH7kRHuYAulE8HmTO71fZi7Ss+4tAmzpkzJUWInM2HSXsSpGB8pGb4Mlybw5+bd8iaSWbkTG3D+BhS7k0lA1fCeTUjQrpkRYjrO1rwvO71lil5+Cpp54yjFX2wePL/4UXXmi8bDCMjS8ZfClkDg7DLV13ERYeB+z9zrzGrHDW/Uk3XG/NIUYE6H3gi6KV9+Y7rJvDK2OEoMZhaEwxnJLeGl9hERensEqG/Nur5FrHUf9nP/sZ+F+3imWYBwrLpFHEwnBWtEhtrYOGLos80aCm1JTrmsh5kiFDW+0VgK0QXF8jkfOfPXt2tRxgroUhvb4bIfw94e+FZdzSAztu3LighZN8w4HJgeHGvIZuMVhpqNK4dNqApYEZSXQHuTJk3dos4G8rmTIs2C3rTuQ9GfRcLNDDnMeDS0y1TncBXR91zfRqZSKH1wFz+gEV5maT0X+WfWjdLMuvAAreNGfI6q8Dprh5tuHNbfOTwLrbzWOYMzxiAZCWFd4YqaTNolIsnHZwafLcvylwfVxrrJI9d8+t3X/ugnOHnS8QVpsQ6tD76jphNbQfc6uq4A2Zpt1W112kyCfEF14WNWF11UBCQ4wbKaksNOhZIIchnbEQGnk0FtwqNLRpaAVqMdO9e3ejmJIbXvh577IariXkWttGNA0uFqCy55MybIn5loHCUOkJpGFlj3CgIcpcYIYFU/gZoyCs3xL+jnDjI5QK8r5FnnjtuFHqltYuvI6ff/65X69eGuvMN7VX0g/ne8NqyHzGWcy40ULj3i3rDmctcdX167c6Ahg63aw+mqqy6pfA9r+bq89qaRZWqt/L3TS2PuctQERnWiYw9kDdKbI0dzBwYJHJv+XFQN9/A2np7r4etTk7Fk5bdhnA3q6UhgOAEYtrc0Y6t5s9q0l9ddiuhm1rjId1K2DkYvO/kqQnwBBKemgYqmgJN0z4EscXR+ulmblwDMFL5fYPrHpLg4ievFgIW7IwDDORQmOFxhPzJ7kehiQzh69Hjx6G54l/Y/4nvVH2e8Jpjizkw1YxbhFGBtDjSKFRw/s1nGJP1jq4KcEQWxrrZMJwXEYW8HqFk+vIMdiyzPIS0uDi9a4paoZFq1jNlh5t61gr3NwKlbZvILCgVDiVun2rA/O7znDjcNYWj2vOTSAW27I2g3hv0rhn/i7bEkWzKcJNYVYHZkscS2iwckw+01ghmR5merJTXjY9avaYNL5InYAh35l9I1NRSrYAC44FijeYqzeq677r/pZ97BO65Gybg+FHoPExyX8FS7YCs7pXebm7PQZ0vDP51xXvFdh7KGc2AYYvAHKSN98z3rgSMb6rPauJABCXc6z+LbDtb+bQeUcDg740+0hJkpoAQ34ZPmmv6MoXcvbI5As1v0wff/xxZdEl5iaOGDEiqdcczeQPHDhgvEz7tvaJdMza4Lls2TKwiI09zJIv7Hxx599oiNvzUYOtzW2eYRqX9EpamwmMBIik4i09cL652zTkeO/TqA9FaOzzu2XNhd5PGs+hFjTitaCxy7Y+wa4HDaxwKgdz7hyPRhuNNwqvPzkxPLm2xClEeejQoWBF6FgJz8FWSbz/nYSe6VNOYWGaFJeiWcD8o0wIqd5vded7wLKLzV6blL5vAK28fSvdfJscXgvMPxpgb1gK2wx2MAtnJbXs/sQ0wq3rMegroOmJSb2khEyerYwY3k9Jrwf0/x/QTN0dEsI+wElkrMaaPvM05gyoTNZH66uA3i8bie2S5CTAlza20Zg1a1blyzRfWOkp4wuiVUmVL8wsJrR+/XpjoTRomE8d6gt3ctIJPGuGEDKfzsqNtGvSO0PvlD0Uk/oMA7W8fXZ98j755JNDCt2MFUca2zTE7NVRg41NA42bFk4Voum5ZPgovY5uEc7zq6++qiymw96aDI8NJxqA9QTs3jf72rhWjheogJGly4gEFlSyuPH7xBDWcAtq8XvKcF8a4U7CfOczzzwzosJWTuHAJ554YtCc13heZ3rz+d2yPMaM7uD9Fc61C2V+HP/TTz8FvwtO4obw8VDWEVcdo99quypDp+dfgXbXx/WUrh188RkADSQKi9KMXOZ+ryrnyms4ZzBwaLk5dxrYfV5L/ve2TY95vf4eM0919HYgq7lrbx/XTKy8CPipjdfTngZ0ewLoeJtrppeKE5GxGuurzr5i80YDZd58xh7PAO1vjPVZXD0ejQ0W1eHNxaIcNXlrqM8wS3rgQtGP9+IZ9sn58+WZ86GXhx4by+tjtfvgunxDAWmY0QCwhH0v6c1JRQlkrNKgY3VfpzLqvGf4Eu5UuIpenFDyDGtizVBVekxZnIYbCfT+MazREhom/Iw6NApq8pzm5eWB+ai8V6jL8FqGB1vim0NZ0/wS+TmLWdG7SuF9zVxPhpCGKvScMzTeSTgeIw/o7aPhaQ9LpUHJ7zxDWPm953W3hB5ZetEjkU8++cSxBy3H4n13wQUXRGSs8njOmcawdT9wA4Lh/ol+ZpHXlClTKg1VbgacddZZcWk/xGcgCxoGysPmBke4FYcjua6uP2bFVUD+6+Y0aaTRYG0WpBp82R6AhsSeL4D63YA2vwSaJbmX+sBCYN7wKi9eshnta28C2HOVkjsKGPwVkJHr+lsv6ASXXQQUeqsy8/4aWFWnILkXloDZL70AYKQApcWF1fQyRAAAIABJREFUQH/1UE4A9YCnkLEaa/q7PwOWngdUFJsjs9gCQ4FTRObNm2eE49mFLzTM1eN/fYVeGXpnfPX50syiWokUGimcD1+iAwlfDBnOyUqbgXLW7LmAzOliC5uavEuJXGeizsX2FzTcLY8ZjSAam8xFDGZ08sWYGxj0uDEP0Qoj5vG8L6LJxaPxydY49vxSGjE0qGh0MpyVRkkoRaHYw5LVVn095zSGmedIg5U5oMxxdJNH1X79aXixCJZlcFrtTmrKE+UY3IxgTjIL3tUkZETDldee5+J33reCLa8rjVQyjfQacy1WD1nfOdG4PPfccyM2Vn3DgUN9xtXEJpzPnUKSuSEWy/Bf+3z43aVhbFUG9p0rNyFOOumkcJZQ93SLZgA0CpivaQnbtLAycOeJ/ustmg6s/H/AIdvvXnoDoPPdQKd7kpMPw0y5pvx/mfOv1w4Y8mNytfzY+w2w0Bsim9XCLKqTXbWJmZQXZkYnoGSzOfU+rwOtr0jKZdTKpAvfNkPaKbwPjt6S/J72WgEZm5PKWI0Nx6pRtjwFrPWGC/AHaOzelCkTTgODXhonTxS9Dwzts0swfRomzAVNpDDUl8WTAnnSaJzS6K7J88SQOeauRpsLmMi1x+Nc9o2LSA0FhlWvXbvWmB69WAy9jDSsmi/cDDd18tpaxlFNXlQ7J96fNd0L8eAa6zHXrVtnhK9bax85ciR69uxZ42lY1IgbU+Ew43fIt++sdSJuTjHUO5qNHd4rXIuT0FBmqGw0hZEYdcHeq07i9IyrEWKYCtzAoTfbMvStfs6hbC6EeSpD3bfNke8Y0XjBI5mP645hf9XFpwNFP/lPjVVl+79vtkKxhB7VRacB+x3uUeoP+MAsSpRsUrweWDC+yjBqfjbQ/53kevehwT2tMVB+0OiviUGfA02TeCPm4DIzJQ0eM+9yzE7VTgnne3WkAJjZHSj3pkAMm2l63CW1QkDGaqyxL7sUKPyPOWqLc80fqxQRetGc8hMjWT49Uuedd14kh0Z8DFtAsGWDk9CYGT9+vOEdqkn4IskWJla/UObgMXeVxlaqCB8sH330UWX4IIvRRFKQht5Zeu/IlNeAhlSoRXt8WdNI5T0aKKTRrs/QXXpDaQzwOto9SzR2OIe6UjyL14oGkJWbS28Z84kDGUD0trHftW9EhJ0f73l6nul1JXerBUqw+5/HMKc02rxL5j3TI283ojk2N5rs4d6RfBeDPePi/cyit5/PKCtkmudjTnCkmzehrp/RBmRqD9XmsUyP4DM62usV6jxcqeeb9hPtJNtcC/T+Z7SjJP54elRXXguwlQ+FfUrtRnriZxTZGelZpYeV0v4GoIc3LDiy0Wr3qHV3AZsfN+eQOxIYOi25Ng9ql565abHweGD/bHMmHW4Guj9d27NK2fPLWI31pZ/ZtapsOwsrtbkm1mdw7XgffvhhwEIc4U6aBsGll14a7mFR6b///vt+L2TWgHxxv/hib0hICGdhKClzLyk0stguI9I8vBBO5zqVJUuWVFYR5cssPVqR9kSmt94y/BmqS4MmEmH4KY0N3/BT+1gMg+V1YvEsevh4H9LgonFm5bjyc+bbRuOhi2T+8Txm+fLlRvsX635laCdboDgJw6jpjbWE15c5uzRqGFXADR2GptKYImuGcVPfymMPtA4aPwzTjbQ3qDUuvYEM5WehMxrgbDXE+ViF0KLhGOwZx/lfcskl0Qwf9NjZs2dXS1GIdfXfYCfnNWTePj3L9s0etgDisy1l5eBSYN7IqpYn0YJgnutAb4GiaMdK5PELxgL7pplnbNAPGLEoOUMm198LbHrYXAfbDx1lFktMPqkApncESr3F5oxNEPa+VX/VkK+lpwJYeY0ttL0TcNQaGfwhA4ytoozVWPI8tAqY3dsckTkrrISXQv3W+LLLl95YCQ0HeuMSZRj4vgza18EXd4Yohir06tAwsvLnGOLI3NW6ZOAEYkHPG8NtGbJIYfglPXV8mY9EaCSysI0VVj1u3DjDAAlXmKfK6r6B8lGZi8z7LRWukS87smXoulX1ld5VhlzbWdBg4XfE2jjgGDRIWSwrlIgDnoM54TRanYTfERbRildIa7j3i5N+sGccn1dnn312LE7jNwYjVvgdiHf135omz2vIzSOr4jKvFZ+LTvUIahqrTnzOPpYLxgHFVZs3Ua2r2+NAxzuiGiLhBxdNA+aPA1ABpKUDvf4PaHN1wqcRkxOyGNHyy6o8xKPWAPW7x2TohA7Cd9G5g6r6q/Z4Dmj/u4ROoU6cbOuzwJqbzKVkNgaGzgAa9KkTS0u2RchYjeUV2/IksPZ2c8QGfc2wi0z3tKqI5VKdxqIXhaGfTm0OuPvetWtXv8MY1mYvduOrQK8kX2KZ7xrvcLdA+W6cw+jRow1vWzjCAjts+2B58lIlv4uh1Cx0Y607UuPSYu2baxpp7iE3EJhH6xS+ynuModqRGtTh3Bdu1fVtQ8Owd4byUsiOGxD2fqpsBUODlkZaqMJ7gt8Je7Vk69hkqJzN+dOod3pm8Tlx9NFHOz7nQuXjpMdNAnp0rVBqerJZ/TdaD3Skc7JHjXCM2uh/HOncY3+cB9gwCdg42X9ovtSyyJBv27rNjwGbvOGZ9qP4zjB8XnK0eqmctwdYchaw62PzL6yEPOQ7oF7H2KNOxIgH5pn9NZmLTEmWPrG+bAyj+9KqyszKt4zs7uH9MNcbOZKWDfT7L9DinMjG0lFREZCxGhU++8Ees8DAPrMNhJGv0e9dID07ZmeI1UB80aLXiy8/NAB920pEeh561JhfaBmrlqHJEEEWbHHyWNHzyKbzzE3kfBjmyZfg7du3V3rSjN/AnBzjpYhj0bvA+XOXn/rh9mN0Wh+9RcwztQwszp2Gi9XahOcN1+PGseiFYGVYCnNW6TmiN6oui70aMj0u9ChHWt3V4sQwXP6j8CWdRlK43hynaq68Frx/2C8y3pshbr/mfC4wd9XKz2U0Qbdu3YycxFWrVlXLRyd75g9H8t3jd5ffef6X32Vy50YWv9/JsFnAcHKGxNLg5vx5X9mfGyy8xWJL0QhDz61nHCMLmINL4fcontV/Q5kz18vnmtUPmeHy9K4munp7KHNNiE7FYWDLM0DBG8DhdUBmEyDvKKDrw2ZIrK9UHAK2/AnIfxM4tKzqU/b1ZF/2WAjPse8nMyUpqynQaFjwyrzMz2ORqOKNQFYzr36QzVlL/8ACYPMTVT1mWW229ysAi0Ulo5TtNYsS0WNOYdvBHn8yCy4lk9jDmTPygDHbARb8lIRHwOih3BY44q1l0vk+oMuD4Y0h7ZgQkLEaE4wASvOBuUOA0h3miCxb3/XRWI0es3H4gsGKt9YuPV9+6D2h5zDa8Dt7LhtfOs844wzDMKvpBZQvevzHlyAahPxHA4/GoxX6aQHgizP/Zn85ZEXWUaNGRTx/fgno7bFapFieVIaaWkZrpBfAXj2UY3GeNHzrqnDTgSyt4jZcb6QFkeyMuBHy3nvvVV73SAo20QBgaLZ1nVlshx573p/hbkTU1evnGwrvVCWZG0TcLIhm08X3O1/TM8JtvO3zt56p1hy5mcJnX6Q5sqxKzorG1jPOXiiKhj37mtY2Lz4z2dPW2thgPjo34qLdlHLbdQ59Ph6zXZ1RYCjd3KROywpyuFd/zkDgsFntHB3vArrF4J2BhuSyC4E935jzYWhudlug31tA3hj/ObHa6bILgD1TTU8c9dl6pu9/TaPbV6i/9Hxg77fe9XqqNAZ/CzQZHzo2N2ouOQfY9aE5M1YDZoVmpnUlkyw6FdjzuTnjVpcBfd9Mptm7a66rJgDbvUXPeD8M+sJd80uR2chYjdWFZu+0RacA5fvNEfv/z3XhAvSc8GXdt6ojp8s+fdyxj/Rlgx5Sjm29WNEgYy5bNEKjYtmyZUaOW03VRCMxXjg3GjAshGR5g2m0cKx+/fpFzMK+ZhrWDIm18jfZX5ReiEg5R8Mz3sf6ei75ss5qpTRuYiFz5swxPHwUeqlpEITT5sTeBocbM5xbpEWfYrEeN45BryG9q4GE3laGusbqmrqRQbhz4n3PXH16/q3NNUaHHHfccWF7G+mtZV61taFinwvvdUYphBN2He5aQtXnmvl9tHpS03hmD+RIcslDPWed1Fv1S2A7C9/ANPJo7EUj9Kiu/AVQ8Jb/KDmdgEFTgfrdqj6jYcv+qOwp6Ss5nYHB3wA5Pvorfg7sfM9fn+HOI1dVHz+atdTWsbwevC4Usho6C8hqXluzCf+8hjewXZW3e9DXQNMTwh9HR5gEuCnD0HC2AGLUxOit8lLXwr0hYzVW0BkCtPznZpEByujtrmsoTY8qK2Q6SbQ79vSCWqFqHJ8vVWz9Ea3wpYg3KcPOArWV4TkYgkbjJRyh54J5ePZ2O3369MGwYcPCGaZGXbbuYHi0ZcjzZZ/hlXVN+ILNDQtuAFD44sp81ViJb+sZ5kGzGmkowlxLXmvrGgwYMACDBg0K5dCU0glWZIxRDfTqpVILpnAuPotH2fOhW7dubXigwxF75Wvf46KphB3OHELVZaXlDz74oFKdkQqs+i0Jg0D+68AKb+gve2GOPRhdFV1WJ2a7jSOFzpNIz/EJ0fUA5Yer3lt8jwpXv+tDQKd7wgDgQlX2wp3WzJwYvcyGAZ5E0VD0qC/yPncymwGjtySfZ9hNtwVDgGf3A9h3lTLgQ6D5WW6aYUrMRcZqrC7zmhuBrX82R2s0GBi+IFYjx2wcFj+yDAnfQbkzfsEFF0QUSkuvKg0By6sQD0OAuWF8MWI4qJNw/hdeeGHI4XEcjy/mDLmzhBVNGQ4d68Il5ELvrVWchl4XFvOJ9XlidqNEOBDzfn/88UfDIKTnOFj7k0hOQe86OVqbC/RS8+W4Ju8qrzWPsyozkz+9qvyvpDoBRgFYnJyeESzsI2PV+a7hs4n9SK1KudRiigIjTGq6R60R//e//wWsVh1u+6xE3NuMfGH+rrUJRO8qq7fHU7jJyPQKenWZdsDnKIuu8XfHDV7nsNbOnM/5xwD0iFKGTAMaO4TqhjooI7xorFaUhHpEbPVaXQH0fT22Y9bGaMxbpeFP6f4noIO3ImxtzCXcc9KzvuP/zKMajwMGf528OcThrj0e+sxJZ9SkVY+m9ZVAn3/F40waMwgBGauxuj3mHQXsn2WO1uleoKtDdcBYnSvCcXy9n/Zh+OLO/pXh5kLRgKARaeUuxbNFC1s3WMWKnBDwRYU5iDV5dPlitWDBgmptdhjeSAMmXrmL7DPJnF4KDbkxY8bE/aUuwtsk4sOYq0rvJ6Vt27ZGu5pYC19QuclA4cs7PVc0WoMJ7xkWfbJeqOlR5YutxJ/ArFmzAraWYY4qIyYizcVMBd68x2jwM5zaEqYUMMWiJmGqAEOwA/UBZvQLNwvcJNwI4nppNFJ4b9D7Hs97hM8AhiDbc3l5bob0cxMwqYQFjRYeV9WbPdrWNQeXmONZBWESDaPzRKDLA4k+a+zPt/JaYMfL5rhNTjANvmQQblJMbwOwUBSl/e+BHs8mX4EoV7H2AKuvB7a9YM4quw3AlkYZ2uxO5GWSsRoL2ixzzgcECywwbGToTCB3RCxGjtkYvr0vfQd26qsYysmZQ8gXB0vi2Z6FL4D0kAXyrnIONGDozWD14UBGDF922MLE8gTTU8T8snCry4bCx9KhUc82PVbLDnoCaBzXFaHXmLl2FBr89FDHw8NCjowQsHql8jqzKm0g4b1CA8CKKOBGBj2+0RYTqyvXzXcdNDoYJeGUM8nWTfQShruhVVdZBVoXN2z4nLJqA5AXUwtYaMwpV53PNebl01sYLDefdQWGDh3qOpwrVqwwnqcUro9rDTU8P9zF8PvMVAPLOPY9PhnaH1WbM2tcLDoJKJpp/pldBFjQh0WaIhGOt/xyYNdH/kdntQTaXOM/9t6pVRvt9qOyWnn7pfrMZe83wH5zw7CaZLcCBn0DNOwfyczddcy2F00Dxegdmw2MKTD7bLpd2Gpl/migwhuB1udloDWvuSQqAjteMXO7KRm5wJBvzYrZkoQRkLEaC9SF75nV9Cj12pu90vigd5EEa2bPafIlg+076AUIR6ZMmVLZc5C76eecc05cX2btL0bWPDl33112GkzMC+XLnT0Ejy+E9DBb+jRamOuaiJBQu0HHuUfbfzSc6xRPXbJk+C/DgClkSYMwXuGiLGbD+9m6bxm+znxKJ6EHnaGKFN4T3JRgbp0kMAHmnjMKwF6Jm14rhlwH4iye1QlwM4X9WOl5tO5T35Y2NEyZ58o6AoG8qdao3Nxi39tQw4kTeT14n7APrGWc0wN/7rnnxryIHA1VRqjwOx2IFyNkWMAuqWTZxVUFjhoOBIZ8bxZyiVSYW8ewRYYYW0JDq9/bZnVbXyktABb76jcB+r9rehX99PO9+gtt4zcF+r+f/JWArRXRgF9yJlDuDc8e9BXQNLz880gvX1TH5b9mGlUeb+2UEUuBhuG900V1/rp68KGVwOw+5upYSIxhwKyyLEkYARmrsUDN6nj53hh25ggM/MQ1IQI0JFj0w/4DT2OCu/z8wWfOpr3BPT2j9FaFUq3WbgDT6OPLLF8W4i30RLDYEl8E6Snjixw9E/xnXwvnwdA5hiZbPR25ZuslPJ4eQCcGfDml18oKESRjGnT0ajMsNVkrrLLQCkMBQ/V2Rnt/+LagCRRmyXuB3l5rXlarGje+8EfLJNbH0zvI+5Th/fz+MJ9bHtXwKPPZyhxWS/h953OSzyzeizS8rCrklg5TGfj85eYAvYfWM478Q3kmhzfD2GmzFyzTNKxnK3vmsgBaKHP2zUHlhgif6fTk8/7js57/eE/6tjLzXQHbsNGoTyrZ8iyw1psTmd3OrMDbILTCcQHXufFBYMMk82MWB2J3AsPjGaBfKMNG93wBHFoFZLcE8sYG95CyCJGhvxqgR9XQr0NGUfEmYN6IqkJVTOtiepfbxV47hY6TozZGV7DL7etN2Pw8wKzewOHV5hk73Ax0fzphZ9eJYGyG0iGStmnTJk+0jcxTEiiTr2f1AUo2mctv8wugN0vRu6OJNC8uPYnWTjSLUTCnyOqRyGI1NKCsz2nAMdeQlSyDCY0/hrVaHkqGfDIPM5SXk3jdJ1wDjXJ6X0MRhqux+m8ixe7ps5+XIci8Lsko3CRgriOF159elWh6cNbEgNeZL8bbt283VGnkM6TaN0+OoYn2e4F9IGvKb63p3PpcBMIhYP9u1HQcN10Y3VKbz9Ca5hjoc34nmRduFZfihhDzyUNpDUVGzEP3jY5xipipaX5JWWmdIcDzjzaXxuq7g74EGo+taanBP18wrqogjF6sI2PJHrjMAaa0vBDo+2/3FyqaPwZgkS1Kx1uAbk9FtnYd5U9g/d3AJm8f5NyRwDBvjRqxSggBGavRYj60HJg/FijbbY7U63mg7a+jHTUmx9MzwvBMy7MUyJPIAjTsQWnlqXH3n1UduUsdSOw9K6nD0KtEeFVDAcMdeObS0nPh+wJkHV8bxUroWWW+ldVz1XctyVj4h2v65JNPKj1EXbt2NfJV4y28Z2mwUujxY4il/X7lvU+vqt3Tw6gBiQgkksCiRYuwZIn3hdfhxHwm04PIHM+aCsMlct6RnIubR1OnTq08lN7Vmr5zfAHhZqmVy1/TeRkVxI09PuOt3zX7McxZZW5vUhn8LIrzUyug3Gz5hZ7PA+2ieIegl3R6a2/eYrqZA8tcWEl4BNbfA2x6xDyG+YlDpgIZsekZHt5EQtRmz1xed/6XOc/D5wCN3JfjHuJq3Ke2fy4w/yjAUw6wzRTbU2ZG357RfQt154xkrEZ7XXZNAZZdWJXQzpY1bF1Ty8IQSFZntRfsoOeTL0ZOQsOOBqhl3NEDy8qTTjlqDF1jkRvLG1tTkZvaQvH+++9X5lH5zqE22kBwM4C5XYGKqCSjd5X5duzfS6HRyJzQmrzysbofmBNoveTaw/9ooPKl2WpxQy8vPa/coJCIQCIJBGtFQ0OVOf7xjEJI5Fp5Lt8+sUxzsEKb7QXXaGguXboUa9eurTFfl15a/m4xdYXPSBqizF9llAprEDBU2vrd4jOItQBYjTypZOEJAPMkKa2vAvq8Fvn0d30ILDnHPD6rhVkMpkEdKHoUOZHIjmR3B3Z5oGTmASNXmpVg3Sr5bwArrjRnV68jMGqV6amXxIYAQ9/nDquq3N37ZW/BstgMr1GCE5CxGu0dwrAAhgcYPwwtgdFbgbSsaEeN6nj+kPOlwerrycG428xd50A7zvyxZ8gkPQH2KrnM/7Hv+PPFgN5Bq0UJDQC2C3BjHuBnn30W0IvJF8TzzjsvKs7hHsz8KxpYTpVWORbz2Jj3myzC+4Shf/ZwXBZWSlT/WBrKLARk9XXlfch7laGIjCiwNgWSObwyWe4FzdOZAFMlmG/pJAxbP//88+sUOm6S8vfBKrZkLY6/OzQ4uWb+LgWKLvGFwY0vboAFy5f2/b7T+0qDNak81b45pmyNEams+R2w9a/m0Q0HAIOnmkarJDwCnjJgenuABasoA6a420O9+HRg96fmXJudas43LTO8NUs7MAF2+1hyLrDnc1OHxcoGfSFiCSIgYzVa0EvOA3b9zxyl9RVAn9ptiE0Dgi8L9hck/uDTCAolNGrx4sXgP0v4g89cP6v/qL1fKHXc3CrA3pPT9zLXRiEOX4+f75wGDhwI/ksW4YspX8atVkKJvhdY2In3Ov9L4cswowfo9bda1dCzc/bZZ8etf26yXCvNs3YI0HPIiBUnYdEkGmJ1SWp6xoW7VrZK6t69e42HbdmyxdigtTysNFj5uxXPfq81TiocBbaDWWirNjt6G5AdgXeYL9Tss2q1wml2OjCQbWzcUUMjHCSu0LUbgG0nAL1Yj8SFUlYEzGjnDQFmvuqdQLfHXDjRJJ/SutuAzd48YDqnRi4HsoL3eU/yFbtm+jJWo7oUFcD0tgBLv1NY6r1F7e6Us6gMq/9aP9o0VOkdDbWvJD2nHIMvWZawWi1zWOmNpHFi7YrTEKA3y60vBGTAapxsxWEXeoO5nlCKf0R1ezgcXFhYaMzJMrDsKuTJ4lasvpoMsnDhQiOUj8J74Mwzz0xoaxNeXxoC3ECh8AWVBgA3KSj0xrDgSjz6vSbD9dEc3UGAYfKMArAL71XmWde1gl81RY9YDLhxypBe/j7xucffLPszkZ/TSB01alRIF9GpuB6/98yftzZaQxqotpQOrQBYFOlIoTmDfv8BWl4c/myKN5rGavEG89juTwEdbgl/HB1hErB7vI3IuW3u9Fbu+9Hc7PB4+6u64F20Tt5CO/8HLPVG5GU0BAZ+Fn0xtDoJKvaLkrEaDdMD880YduPNuBEwcoXZZzVK4S4xe0nyx5sVmumxChYGxYq/1Gf+ntXXj1OggUoDIpJ+l6wgbDfyeH7+6NvHd1NRpWDI+SJE45vht3yBYRXgULzMUV7GgIczPJVtf5hvRYPL8kzyAG4MMJTWzWLli7GKpyUMM2dP20QLN04Y7u0k3IxgRVI3hqgnmpPOV7sEWPCNzyDmavIZFGpbl9qddfhnrykvn78hLMLGVl323tb8XbFyUJnjyvzUUDyq9hnyWcpiTfb0F7fWU/AjW7oDYN4qCzZSWGCJhZbCFeZZLjgeqPD2B3VJDY1wl+EafRon7IPrMfslY8RiM7TabbLteWD1bwF4zJmxZU1OJ7fNMvnnw+8pHVSGpJme9ra/SP51JcEKZKxGc5E23A9sfMAcoeEgYMh30TXzBgyvpt0zyqH5400PEXvP+QqbyvNFyLfqbbR5O7wxaLBaRWp8z8swWuYF1abRF82lc8ux9AjwGtLws7cBokfBjUYWXwTpzfTtD8mXy1C9ILFkz3xZVgW2in3Zx6aXOukKrcQSjsYSgQQT8K1p4Hv6QD2RYzVNGsvffvttZfQPN1lHjhyJbt26xeoU8RmHHrFFpwN7vzbHzxsNDP4WSM8O73yG0XK9eQx7th69SX02wyNYXfvgYtPjzQrLlN7/BNpcG82I8Tl21XXA9n+YYzccCIxYqNDv+JA220xZYfZuDg2P1/praVzXGqt8cbcbYDSKLMPI/lmthvjMGQwcXGReOob/9nsrquJK9JAy7yYWwvAqvqxHw4eePxaqcRIaAcy3krEa/dVinhdfsCyPAJlaLRiiHz12I9Cjyiq7gQrGMKyxU6fE7eYy5JDtafbu9b5I+CyVmykdOnSIHQCNJAIiUCOBQLUCmH7BSJ94/2YwwojttOwVgpm/yrBjV8vam4Etz5hTrN8dGPxd+JFa7ExQ+K45hgtqaLiadyiTqzgMzOoJlGw1tdteB/R60X2G4JwBwEEzJQfdngA63h7K6qQTCYEtzwJrbzKPbNDLrBItiTsB1xqrU6ZMMRqFM2STwtAphhmyv+Irr7yC/v37G6GvDCm64IILEu+FKtkCzBsBlOabF6nzJKDL/Y4XjMVe6KHkrjPzEVn11TIi+YPKl20aKr55O9FcfVZkZWGZaLxzX375JZhj6STMUTz33HOjMoajWV9dO5b3CA1Wy2PJEG560xNh/NErSQ8l58BWReyXa8+bpZHK+5NVNzds2FBZLdr3GnCuNFgTJfze8B61h6bbz80wQhZokYiACCSOAJ8nzNFltAgNR/4G8ZnC4nGJMhj5nsBcYSvFgpFGfGfgs8LpGZc4OkHOVPgOsOwiU4H9Gwd/AzQaEvrUKkqB6W0Attig9HkVaP3z0I+XpjOB5ZcCBf8xP2tyPDDwYyC9vnto8R10RgeA1YtZ/Zcta3K6umd+AWbC32++XzItis+FmqKg+K68Y8cO432ZzxTm+9dKxe/Dq4E5AwH2R05LB1i5Owl4u/6GqGGCrjZW6cG55pprqi3hiSeewKWXXlr5En/nnXfi9ttvN34MEyr7fgAWn1ZVfY2J1s1O8ZsC808ZTmu1g6ECjVUWfuAXjwVqrMqlsZw/w5/YFiFjoCqYAAAgAElEQVQaY5UbBqz46iQc/6KLLpKxGsOLRkOV+ZfWCxavHXMu41kIii9v9J5b7WeM96TMTKOqLg1W3p988fQNM3daNr35nG+ihPmqNFbt3y37uelVpXdVIgIikHoEfCvb2wnwGccie0xncY1wA3xGR+900swqvqzmG6owNJEhipSMXGDIVKDR8FCPll4gAgVvAcsvMz/N6QwMm+uuCrBb/wKs+b05vwZ9geHzgfR6rr6eTlXS+XvN9w6nYqA0aFmYku/TljBCg5vRCQ/xL9sHzB9dlV/e7Y9Ax9tczbsuTM7Vxip7KFqtPM444wwwjIjG6c0332wYfJT7778fEyZMSHy4H/MDVv0KQAWQlg2M2Q5kNqt2T9AIZZiib885KtGz6pRnF+im4s4wPUX2ECr2OmWorpNwx4kFkIIVZqrpBmbP1SVLljiq0YBiaFW8Q7pqmmNd+pwGodU71FoXOTPcOh4Vl2nkzZkzp1rlZ+u84d6fPK62W9f43gssYtO7d++6dItoLSIgAiES4O+r9Xxz2mzjM5Ut3RLl7Q1p2jO7A8VmdXN0vg/o8mBIhxlKrJ/BOhqU+j3N/qoxKPgY+gTqqCY91fRY03OdlgEMmw00SnwxQWe6HmDeSGD/XPPjlhcCfZmOluHai8FNZqYTMY3HVxj9MHjw4Gp/5neXxdcYSekrjCDk+1FCq6qz2NayS4Cd75vTyR0JDJ1helklcSPgWmPVvmJ6U1k4gYbqfffdZ3hSWTWV8vjjj+Pyyy83quaGKqF4iYKPVYE0FjHY/pKh5mExhCHT/A6xt9WoaW5WKX+u08m4ZQh0nz59/Ib59NNPHXP2+KLeq1evmk5b4+fM/WEol6+waAWL6khiT4AeAfsmgVXVlgaktTlQ0yaBldcdTJ+VSb/44gvH+813VRyHGx8s9uWUI0ov7GmnnZbwzQtfVta8+QLKtko1cYr91dOIIiACbiHAivr2aBXfebFa8IgRI9wyXWDVL5C242VzPk1OgGfQV6HNzVOOtMWn2go0HQPPoK/DL9AU2tlSTiuNKV8H5pnr7jIZHvYxZchtUKlAmqfcqNDrQXp89OmNn92vsvqzh5sbne519fX5/vvvjXS+WAnf/ROZfmTMe+MDSLOKq7LP6tBZ8BjVl2vYJPCUIY0OLqTBYxi3wfQ9AL/XlfrUDWYQ16yfzO9DSWGs0kM5ceJE4x+N02g8qwxrtYc8hvuFyS5bj+YHnkOj4q+R5ik2Dj+Yczy2NXkWnrTqoRdW+5lA52CYJ73FeXl5Rhl/9jGlscrcQIaEMvSBf6Nhzp0jpxuNF5D6/FEORT/c9TqNz6rENKCS+cYPl0Mi9ekRYG6o1c+W52aeFT2hNBh5rzB8zcnbSiN1586dRi4Idy599Rn2y3uF9xf/GyjMm+fk9WXbI96fNFL5jwYzx+c/3hsM2eE9zP6m3OVMtHC9XCtTBqz5cL6cD5lJREAEUpcAn4FMZQgUxcRnmtMmcG0Ra3zoHbTed49x+oq0Rljbejo8jNyqQTIrCtFh11Xg+wlld6NfYmfurTUdps9DJNB63yQ0PvSWVzsDxVl9UNTgIuyrf4Hj9ckuW4Pm+/+C+kfmIb3iAEozu3r1zw+gv8qrv8Cr3w37GlyMovrnOurXO7ISzQ/8BfVL5yGjYmflKrY2ewkH640PcVW1o8aIPXu7vmhnwd/5QYMGRTtMWMc3LPkR7XdbLWvSUJbeAsXZQ7Ar9waUZPo7idI8R5B3+D00PvQ2ssvWoSI9F8VZg7Er9/coyezpd25T/12v/npD/3AWx/89SjP9nUSm/tvg8yO7bAMq0vNwOGuoV9+shM73s2TuOe9aY5WGF1+0+cLMUJ63334b99xzD1588UVceOGFRmEl6vBvCctZ5S7Z/KOqQi7st5hDBbZZ/5+9qwCTq8i6p3VmukczcXcnSkJIiANREha3AEtw90UWWBaXH2dZloTFJSwaEogSJSQh7u4y0XFr+79Tb15PT8/rntbpnpm638cHTNerV3Xq9eu6dc89d8UKITKhZXRCx44dG5MNflDfStk4JgjQqWRUmw6lljGSyefH+8CAIl0sheNtfN64MaOTGSizgLkgFHmSJhGQCEgEaiICKnuE/9ayuKvDSjrn2nMAp3IQjj7LgZT+VUPPqgRrh5WLK/WYBWScX/V1skXVCHDfR6pt/prKbdu9BjS/r+LfRXtGYtdWbt/+TaDZ3Rrt+wD5ZZUlPD/t8C7QtKwUkfp39r+qN8CyOt7W4R2gKeutxq8xsuqZexruSBlZHTx4cLjdBHe9Z56w55XWrkDfdZWj6IfeBnZ6rTuvY81e5hh7R+mpCk51cG9jWSLR3jMi6wIO/h+wS0MBOrkH0Gd1XNPCAwU+bp3VL7/8UkQZeRrADTjFgshl37x5Mz777DNRVJwnppTCZ33HcHIzAwULB14Bdj+s3dzSFei9uELeKnNKSUHScg6Yf0oqbTilZQIet2xYIxHg80MBIR7KaBmjh56qvYwesPyRr41ZMCDEZT5XMBOQbSUCEoE6j4C/vPy4fMcV71GczpIyLYq2rwItAoiQHp8GbL5CUE6FuNLZRwCDtc6vf0QA2P8isOdR7a6YE9zg0oolC6kWe+IHH+1bKHmlns5J4Xbg5I8+2rcsa+/hnPhrn9wH6L0srunf/vY1jPxpCUqSOaWlz8J9/3nnnRdVEcpKC+PIU2rvah1GsDFF0azdyi9jjivLSZUc0F7jeuMAOrmqMTf6BNuXi0lVuDBzvCKk5W5fAlBJvPSwdv9tXgBaPhKRr0IsO4lbZzWWoPi895pBQO7v2h/rE4H+O4CE8rqOWmqEdE6pXDx06NCwlHrjEh85qIgiwC8nFZl9Oauh3kzNfaVIGX8cqMxHKi2dXUZqSU+nWnVcKWWGOll5nURAIlCnESBLhdEc9R2ngqEl5hJzoKg0uv5cIO9PZSj1JwLdfDg+noPdcQdw+F/KXzLOA3rMjvlUas0AVpNNt6JmTIcldQadAPSWuB0vv4c8hPc07km4H2HuqS81YFYtYAUNT0o/9yvnnnuuW8OmWiZtOwYsb1teCaRabhrGTdIGAb2WhNFBfFwqndVg1sGz4Lb3daZ6wJkbAXMT8QlFiebOnetWPKOD2rp1a5HfxxIfMqIaDPB1sy2ZBaQC89+RMNKASXvjySUFiNQcU0Yf+APC/FU6qlSS9ozYRuLesg+JgERAIhArBNR33I4dOwT7hMbIKlMpoqG0Hvo8nYrSKCMlNGsPoNciwJjmv0tPFeF2rwLNA4jGhj7IunXlpguBEz4in/GGhLkhcNbe+KoD64ER9xgUdVSVgKm/0aVLF7Hf4L7Yn5GheOzYMTAyu3XrVjeDjClOdFi5t64Ws50E/uwGsL5tTbAGFwNdy94nNWG8PsYondVgFu/Ed8AmFu2mmpeXpQ4EevyqUHAArFmzxi21zdOf4cOHu8vtBHNL2bbuIsCI6sKFC5GVVfmlyGdK6wSSp45adUfZntFSHphIkwhIBCQCdREBagBQQV8VeIm7nFUuyoFXgd1l+WdkarEETZIf5f2iXcCKss91JqDXAoD7EWmRQYAHB1uuEMqslYz1TL2ENUUbZz7g0tgnkoGnJZgVqfbMU2Z9Xj4HcWgsR7l7d1lpJkAocYdStYLipdxjq8Y+qk3V21kEbLigXHm7As56wJBcGXlXaXkeuuenVATWR7l958+BhkwRqNkmndVg149Fu7255AktgC6fAWlDRG8s7UGaA+lHNOanMq9WqucGC7ZsT0EkFsOmeq9qfI74cmZ5Im9jhHTZsmUV2jOKz/Z9+vSRgEoEJAISgTqLAA/z+D5V89+qPSoTCPK5y4A1Zc4maZ095wEsj+fLDv8b2HGb8in3Ij0XAEmKAqi0CCGw6wHg0FuAy0M/IqFl2b5PQ9yH4jgU1fF0cBNbAV0+B1IHVR7UznuAw+9qtP9Se+133gkcfq+iQ5zYWqmxmnpWhCYd2W5YtYJUXjWtiZHUIUOGhJQOx701D/IZaaUxd5UU4mpLXcpdDmy9Cigqd7xFHnLTWwGKaHmXmOF3esvVAHPS3Rs5tr8daP965fY5S4Gtk7zam4BmdwJkTnj3n7MY2HotULzXo3+2vxto94oolVPTTTqrwawg81WZtypMDyQ0BepfKOpuwZgu/sofQ9Ic1LIjUvU3GIBlWy0E+HKn3DsV9EiboUov1bB9GV/kbM9aZmzPwxIZUZXPlkRAIiARgEh5YIqOKnzIQ7x4Kl8DCrIstkL8m9bxA6DJjb6XbvOl5bThlDOVSKxWdEcufngIZH0BZH2oOAQUxRH7vlTffWZ9BrBmbsk+oN54oM2z/tfl6CdA1keKuFbmBUDr5wCDn9zTox8BWR8rwj2ZE4E2zwGM3MahkdHw008/ub9zpN5PmDBBkx0W6PDJjvj555/daVJMYRo3bpwot1ct5igE9j6hiGPxkKjRX4HGk3w7ho78svbTAR50NL4BaHS1n/a5wJ4ngVM/AwmtgMaTgUZX+m5vzwb2PgWcmgHw4KLxjUDDy2uFo8r1lM5qoE81fzg2jAFOz1OuSO6t/Ch45ZIwH4YntyoVkyIOrAElo6qBAi3bSQQkAhIBiYBEIHoILF26FPv27RM34OaWuatxVZd53XAge4ECADe1naZqg2E/DbBt/rqq20YPTtmzRMAvAsuXLxdCjqqFSv/1vglzV1evXu3+c1zS+uWzEREEpLMaKIyssbVuBMDTC1qLh4G2L1W4mie1pP+SuknjSc/EiRPj60cw0PnKdhIBiYBEQCIgEaiFCFAAcdasWW5K4hlnnAH+Eze25+/A/ueU4Vg6Af22ag+taJtS6qb0qPI5aaYNr4qbaciBSARI1SWTQTUKOI4aNSoiIqNkMvJ7TNElGoNCI0aMqFKsSa5KzUNAOquBrtn+FwD+gFBcidz0MzcBlo4VrvY85WGe4KBBg8CCxdIkAhIBiYBEQCIgEYgPBMh8Yv4cUyVoTJegoij/HRd2ehawfmzZfkMPDDgMmDXUUk/PVRhfzKXUGYABBwFz47iYghyERCA3N1cEcDzVf1kXNZJUXVKM6Qzz37S4zEOXj0LYCEhnNRAImSS/sgvAYs808sw7f1bhSgrg8IRH/VIyeZy1VLUUWwO5pWwjEZAISAQkAhIBiUB0EDhy5Ah+++03d+cUQWzf3o/qbnSGod1rwSZg7WCANF9a16+BBpdVbssctX3/VP7O1KS+5ZTI6hyuvFd8I8DDmb1794Klm7jpb968OXr27Bl11l+k1H+rQtdbHbg66MAsKbhhwwahJULnm9og1BORZSmrWq3QPpfOaiC4HftCUfKiGaxKgd3kXhWupKDNpk2b3AnkdFSrTZkskDnINhIBiYBEQCIgEZAICASYtkNn9ehRhULLOo3MXaWyaMyNtF7mohaW0X+b3we0e63ysNacDeT+ofxdIzUp5vOQA4gLBLydRg6KLAKWs2vYsGFUxkjWAtkLqn5LOOq/VQ2QopKLFi1yl/njd5jMRjrl0TBSm1l1QY3m8h6kIFP4csCAAdG4ZZ3vUzqrVT0CzhJgVW+gcIvSMn0Y0P1nxWktM4I4ffp0d/4LvyCU5JYmEZAISAQkAhIBiUB8IkDVftIU1Q113CgDc9+x/nwgZ5ECXOoAoNdiJQVJNepnLM0o+z8dcMYvQL1R8Qm0HFXMENizZ49wrLSscePGGDZsWMSjgdFQ/60KQC11YB4+RZraz3fFggUL3I6x97jOOussEWWVFlkEpLNaFZ78sdgwFnAofHi0ex1ofq/7Kj64ixcvBmtI0SRfvipA5ecSAYmAREAiIBGIPQIsC8bfb1KCaYyuMneVv+Mxt513AYfeUYaR1BHotbBiPuqJ74FNFymfmxoAvRYAlq4xH7YcQHwhwFKKquin98gYgWzVqhWaNm0q/vFMW+NBDlkHdAIzMzOr1F9R2zPKyf9Wv1O8Z79+/UBqbrTNWx2Y7Ma0tDQkJCSICDLnEa4x1Y/BKeKiZYwgjxw5MtzbBH09fRFSkik2xdJAHAfFrGqLSWe1qpXcdT9wkEV7WVrVAgw4AJjqua/iF5L0A/VktmPHjujbt68sVVMVrvJziYBEQCIgEZAIxBiB/fv3C7oijVQ+UiPjoi61Z/qRKRPoOR+w9ihHa8dtwOF/K/9v7Q70XACwnTSJgAcCM2bMANWvqzI++8y57NSpk6hFvHLlygqXMApLai0dP29jLqx3e7VNvXr1cP7550c8eqs1H6oD0zmns+xtzCVlyZxQ89KZNpCXlwdSqn05/7wn5zt69Oiq4I7o53Sg+Q7Lyspy98uDB0Z5eRhRG0w6q/5W0Z4LrOwIlJY9AC0fUwove9j8+fPdOS/8EvMhjTTtoDY8aHIOEgGJgERAIiARiDcEuMGdN2+e2KDTGI3g73jMa6MX7wOWt1bgotIv04/qlW2CHYXA+nOB3DJ6Z+ZEoNt3gE4fb/DK8cQYgY0bN4KaKsEYHTt+L7yNwRg6fJ528uRJkfutFWnknphU3OpkKniLnXqOlbWUqSfToEGDYOAQolQUcaJIFYWV/FmPHj3QvXv3oPoPpzEDZaxjy7F5G/EnzTsSEeVwxhiJa6Wz6g/F/c8Dex5XWvDEsu86IKGZiKKSPsQEcp6yiN8SnU6cYvBkSppEQCIgEZAISAQkAjUDAUZKWP5C3aBXF22xSnSWtwGKyzahrf4BtH5KuYR/WzcMoENLa/8W0OyuKruTDeoeAowIfvvtt5WcSTqkdGLo3NHRVNmBkUQoOTkZEyZMiGSXVfbFvTmjyZ7iR54XsZzk4MGDNfshhZk4cD+vUqLpjGuJKbGNt0NvMplw8cUXV0sUWZ1AYWGhqERCZ07LGEmm0nlNN+ms+lpB2wmASntFO5UWmRcAXb9Bdm4R1q1bBz7ADL3zRUCrX78+hg8fDj6s0iQCEgGJgERAIiARqBkIcJNK0RQ1upqamgrWg9SiPFbrjFiFgHRgWsYooMevyn/nLlfUgp1lG9QzNwLWbtU6NHmzmoHAzp07BUVX3avSCSNVtXPnziJPlc4ZabM8sGEAxh/FNdgZ816XXaZRcinYjoJoz+/y999/7xY89b6UY2JQiTmdzGPld5xOJ6nMu3btEs472zDXlf+mHo2KHftinm+XLl3AdwTbEy9PR7+6D7pITZ45c6bPwwZGkfkuq+kmnVVfK3hyOrD5UoCqfLQuX8KReangwzOB2duYPE56RMypQzX9iZTjlwhIBCQCEgGJQDUjsHv3bjdTilGnc845J2qlLwKe2pEPgO03K80NKcCg0wol+NDbwM67lb8ntAAG7A+4S9mw7iDAqBvFgFRnipFUOi7+aoFScOzAgQMRAYkO3fjx4yPSV6CdcK6//PILcnNzq7yEONCZoyDRvn1lLAUfV3FvT/yY004hNtXoHDONQM2TpfM7ZswYUXu1Ooz5yFQ09yX4pEXdro5xRfoe0ln1hejWSUDWZ8qnia2BMzdg45a9Prn//FIyiZyceGkSAYmAREAiIBGQCNQcBLjJ5aZP3XSSLcWNfUwPoEUEdRjgLMuT67saSO4NbLwQOPmjAm6j64DOH9UcoOVIqw0B73xV1gCtKlWNkTpS4rVopbxWqy7r2rVrNXM5mbvJHM7qNEZBmaO7adOmiN2W+/tu3bqJwyst9iSj1ytWrBD34/uiZ8+e6No1+srcjOryvtnZ2ZpzrU3VSaSzqrXELMj9RwvAZeejB3R8H2hyk/ghU2lC3peRGnDBBRdU22lKxL6FsiOJgERAIiARkAhIBES5DdKBVdofN/dqSQ/Psh7VBlXxbmDtUKDkoHLL9m8ATe8AlqaXl9Pr8jnQ8KpqG1J13YiHB4xakaLJ/RUDATE9OKiuiUfoPszd/Omnn9xOJPNHx40bJ7CsyijWs2rVKoE/vwt89qkGzKii1veAtVzZnvdU2zdp0kS0D+R+VY0n2M85DooOkcLL/+Zzw+enZcuWYLSZaXxqfqonxVfrPoy6Ejd/KQF8RknFVaO5vIb+QDTTAsnw5LvK81CBWHMsnC/HQB0drkNtMOmsaq3i9puAI1OUTxhV7b1M1DejNDRl7rUsFqpnteEBlHOQCEgEJAISAYlAPCBAKh0V/tXoKjd9/G1njl+vXr2Qnp5evcO0ZwPrRgD5a5T7NrgYaHYvsLZMIMaQCvT6DUjuU73jivLdSG1ktI5OBZ0NUipZToi5grFwfqI83ah0//vvv7sVYulgsn4wn+NAjY4Xo6zEnxUuyDTwZ57t6RjHWoGWTii/x2oOKqm7jJDSqOjLuTEiyVqyzNXVUj9mWzp71KOpyhjl5LuDeNHatGkDHnZF+oCF8+JhwurVq4Vujmr8fvCefIfRSeZcuQ61xaSz6r2SVNdbMwBgdJXWaBLQ6b8iT4QPCF8AWsZkbUpix+T0tbY8jXIeEgGJgERAIiARiBEC3AgyIsP8VW+j4MqoUaOq+TfeBWycCFBDg0YKcPpQ4OAbyv8ndVDqqyY0jRFikb8tI6q+tEFIxSStNNIOQORnEdseyQBkHqXqgLHW5sCBAyVuGstCjJinS4fV25jTSoczkLrL7Gfp0qXufF86jHRyq3Lyg3lSeA8GzPiOUvOQOUZq5vTt2zeYrmpcW+msei9Z1qfAthvKKMAAes4D0keI0xI+0KQJeRtPL1gsOdYnSTXu6ZMDlghIBCQCEgGJQJwgwA0R8/UYddGy6q6hKMZw4EVg96PKcMxNAIMFKNql/H/aEKDnXEBXe6oQbN68WURVtYx7LeYRV2fdzjh5NIMaBkutkJqrGqOqWrmmQXVaixszwkrmpKcoEw9EqJjcu3fvgGfOQwKmC6rGHF86u5EwOqcbNmzA1q1b3YcQdFTJ+GB5mtoeKJPOaoWnyKUU2j49X/krqTV9V4n/ZFSVNVXVkyrSUsgJJ4+fp33R5KZH4kGXfUgEJAISAYmAREAi4BsBblapJOqr5iQZVCNHjqxeCLMXAeuGat+z5eNAm2fDGg+jydysU5CGm206hNz8Mr8vFpRbUilJzdQybs6ZP+ipxhrW5GvhxXyGWWdUzcVkVJBRVWn+EeB3ngclzHPlYQif/0Aiqt690k9QmRl0eEePHo2MjIyg4Ofakb7M7yQDZPQ36IxmZWW5+6HPwTI5oYwxqMHESWPprHouBJX3mAvisiny8N1/AuqNFQnMpKWoRYaZqE06kHxhxslTLIchEZAISAQkAhKBMBHgBnHWrFkVcsE8u4zJxt9RCPyeWa4I7DmgnvOB9Krz6fzBoua/MY9PNTqpjApxM1zd5q90CvdeLAvCHEpplRGgaBAje6o6LJ0cOksMrEirHgToJ3ANKOREY54wD7iCCWjRYSbVV0uRmX1yXSmexGBZXaHES2dVfX5dDmDjBODUTOUv1jNELohDn4aFCxe6T/ripv5a9Xzv5F0kAhIBiYBEQCJQJxDgZp+/98eOHas0X24KBw8eHJvaq2sHATleehmGZGDQqbAowNxQk/ZMJ13LON8WLVpU29rTYeZ4fNXIZP4f8wCD2fhX2+Dj4EY8eCAFWI2qkvXHMirSqg8BYr9mzRpB16XRZ2Bkm5HaQIzvoN9++w0UbNIyCr7xOxCMWFYg9433NtJZVVeoYKNSz8x2UvlL8weAdi9j9+69oo6RSv/lAxcrOe54f5jk+CQCEgGJgERAIlCTEaCCKIVSvPNWuekcP358bBQ29zwK7H+xIqz1xgJnzAgLam8FU+/O2rVrJyI41WHc5NPR2rdvn9vZ8r4v91/UB6kr0aRgcScrgArKNNJGSZmWUehgUQy/PQ+BWMqGyrw06tmcf/75AT233td6j6ZBgwYib7uumXRWHQXAsS+Ag68DhVvK1l8H9F2NElMX8cCpoXie5pGCUpvkoOvaAy/nKxGQCEgEJAISAX8IcJPJyAjpeCyjouawNmvWTERX6bhWnzmBox8B2yZXvGXbV4EWD4Q1DOaoMkfUV44uVWTpHEbbGAygeAxz9FRjnh9TrRjlVinKzCWkWJBMwaq8Ijt37hSBFRqdeVK4mXssLTYI7Nq1S6yHGuXmelC115+xLQ8byC7wVUqHQln8DtQ1k84qfwCyPilX/xXfdD3sHT7H4q2N3Oq/zOHgS7t58+Z17RmR85UISAQkAhIBiUCdQ4Abxj///BN0BGiMVg0ZMkTkilWbHf8a2HE3YPOiJje8CujyeVjDYG4jS5x41mv07JBRHJbkY65oNI30Vc9yHKxnO2zYMJGbd/r0aaEZojrUrCVJdpu0cgS8c61Jl6ZDU72HKnJFPBEgnZcHQWqkm88y18RXsIsHZBs3bhQqzr6+j+yf6sSsN1zXLO6dVZ6ocbH58lLpDDwNVBeTL1NyuEOyY18DW67QvDTX2Q5zjj2KEkeS+FzSf0NCWF4kEZAISAQkAhKBGosAN0lUV1UpfXRU6UhViyPAeu/rhgOFSv5bJevyJdBQew9TFeDcW5F2q1WOz/PaJk2aCOcwWiI9dEYpSMPygDQy2EaMGFGhFODKlSuxY8cO97D4ebUeGFQFZow/Z1Sa/6hG6jYp3NJii4B3tJv5w127dq0wKB7CUOXXn6ASL2C0XD2EqIs0+Lh3Vj/++GNxOnHdddeJFxhD61999ZXgbDPEzhM/fhaSw0pBJbXYttczbXMlYWbWiyhw1Bf3kOq/sf3Sy7tLBCQCEgGJgEQgFgiwFAU3kyql78wzz0THjh2jP5T8tUqFAoe2ABIaXQ10/izocVDA6Pfffwfzc1VTRYtItaXjqKqZ8nPm3NFhTU1NDfpe/i5gXjAFrVRBJY6B9/FmsNGh5T5QDVI0bdoU55xzTq2vLekPO+YbHzp0SGBy8OBBN1Wa9Gnuj2t73c2IPohR6oyOKCm9anSVBz58tvlvHgJxjdavXy+cVfWwhkPh30kZ5nPPa+nf8Jmno8sIbV20uHZWKWFOh5R5I0wUp7P64osv4jOuqcgAACAASURBVOqrr3Yr1D366KO4//77wQhr0LZ+FHB6tuZldlcCZmS9hCJXI/FSlPTfoNGVF0gEJAISAYmARKDGI8Co6oIFC9wKnWR5kdIXdfGa/NXAmsGAUymDUckaXAJ0/SZgfOlsMweXc/F0RhmxYS4uHVUaP+P+S91k82/8jJRgOkORiOxwc75kyRKxv6OxT9IbGX3S6p97QZWOzag294PM36uLtn37dqxataqSEBXT1RhYIRNRWnwgwO8Qqfaezqj6vPM598xN5XPN7xcj43INK65f3DqrPDV6/fXXce+99+K1114TJ0V8OT300EN44IEH3BSQp556CjfddFNozuTh94Adt2s+0Tn25ph7/Ak0at5Vqv/Gx3dejkIiIBGQCEgEJAIxQYDRq0WLFrkdqzPOOAPdu3eP7lhKDig04KJd2vfp+D7Q5OaAx8BIHJ0+VTSSm2WKKDEPTnVU1c7YZu3atWA+qRpRZhtupBnlCccYceI4mJ+nGsWA+vbtCzpcWsYI4i+//OJ2srmZp8JqXYsgcm/M0ibMifQ2masazlMZnWu9c1d93YXfrV69eolAXF17pgNBPm6d1WnTpomTBb6MGD31dFYffvhhdyT1hRdewDXXXBNwLTCeYnh+yfWbxsGU9xsApxsvh8uM1TlXYU/xaIz0kxAdCMCyjURAIiARkAhIBCQCNR8BRgJJ2aPRqRo9enTUcjlVtHSH3oLp4JPQuYo9ANTDljIMzq4/C0FIb6NzyX0O9zt0SDlWjtuzDB//TqeTlGZfm2NGg5gvyrxW1WHldXRY6Rjxb/x/Xu/LyVTHRgeV/fGao0ePilqUalSJ0SQy2KoScmJklbRJdSx0stu2bVvzH6wgZvDHH38I+q+WkSLKPXNVaxHE7WTTMBHgIQsjq+oBkXd3/P5QZZwHNdF0Unmfqr5fYU41qpfHrbN6yy23oHXr1oKrvXnzZuGcTpo0CZ9++inuueced2T16aefxo033igWOxBjjoSnoEBp3l6Yj72DxuY/kWTIxqnSdtiaPwpHS3uhTduOMhQfCKiyjURAIiARkAhIBGo5AtwwkYKpHngzh5MRwWiKLelgg7V4AdILP0Vi6SbYDQ2Rn3geTluvg0OfWQlxOoCk1jIflc4hx8ZNKgWVVOeQf6OjShptVWPnNSwfwz49r6dDRAeU15MOTRFKX9oh6kaT9GL2QWdTdTg5Nub/BiLgRNxZUkjNXWU0qlOnTlHd5MfbI83yPr4cH64Fo3NVrWm8zak2j4fPLMWvfJWi4TPMXNRIUOv94cjvJlkUNdXi1ln1BNQzsvrWW28J6Xh+IfkyfuWVV8BIK0/mgjU+RFSho3y7tzVq1EjkZ0TzpCPY8cr2EgGJgERAIiARkAjEBgE6WCxloyrTcn/AXE+KpcSDcXyrV6/Gtm3bfA6HIkakL3fu3DngDTL7ZZ/cdGvRT3kzMuHIgFOFmtQBsD1FZigW423Eb/jw4UFpjnjXr6w2sat4WGBARMfV3F3vIfHwZMyYMTKyGidrxWHwYIWllxgo0zIe1PAZluYfgRrnrDJ/4r333hMnggcOHMDtt98e8smmt9y3J1QsOs0XbyCnffIhkwhIBCQCEgGJgESg9iPACCVzJ9XoVjzlCXJDTMfQV+SN0RVSeEMVjKSjSFqwrygRsfCOrnKzzjxLLVNpq8EonPLezNlU6dh1rVoDo9MspaR1aNCtWzf06NEj4EOI2v9tjf0MedCzbt06wRD1NkZVSduOulBb7GEIewQ1wlkNe5Y+OuBLnfQWLSPFhQrEvgr4RmtMst+ah4CrMAfOglOA0wGdJQ36lBCUqWvetOWIJQISAYlAnURg3759okap6rQxd5JKtrE2OoXc1/hyJpkuRcZYqEYHkY6ir/6D7Zd0VUYC09LSgrqUlGSqFZOGTCMVu1+/flF10qgIrVKp6SDT0Yg2dVMLFOarstyPamouImnd/fv3l1HVoJ6k6mlMOj4ZGVw7Pkf0L/j8MKIaL6yM6kEi9LvUaWeVPzaeanSeMPJ0kC/RYE78Ql8GeWXNRMAF2/alKJz7DpynDwNOO/SpDWDuexESz74SOoO5Zk5LjloiIBGQCEgEfCLAqBbLvxw/fly0YWRk5MiRMT/cJtWWYi7cEGtZuJRDluFgvVNfVOBgHxk6fRSpCjYowM0/HTY1ukoGHCNUwfYT6Hg5b9KrWfaHDjLvx/w/KkJXp5gR69HyMIJOM43zpTAPnz86/LFwngPFsK63U8tGce34zHDNpH8R+FNRp51Vvuj4wvOuf0T4GjduLHJjZc5q4A9TXWvpzD6M3CmT4cjNgs5z8gYjrBOfREKv8XUNEjlfiYBEQCJQJxBglISlbFShIFIwWSM0lkbKLfc0WrRbbpCHDRsG6nGEatxo00mnXoi3ca/kK0JKJ09rn8V0Lu6zQlEppWPOXEA1ukrnceDAgRF32Oj4U9uEc/A2tXxRdTmJy5cvB6nYqtW1fN1Qn1t5Xc1HoE47q1y+LVu2CCl09YXHvzFflaIJsihvzX/AozmDgu//gZI1P2newtiiB1Jv+iiat5d9SwQkAhIBiUCMEKCTSudh9+7dYgR01s4991zUq1cvRiNSbsuyMIx+ehrHRqpyhw4dwh4bo4xLly5Ffn6+uy/2zwhfu3btNPunOBNrtnrusxgV5D4rFHFM9SakVlKdmUaHkRTncGvAek6AdGfm6Ho6iJ6fc684atSokJztYBeC1HOWrVEx5DxZ7kcGVIJFUraviQjUeWeVi8ZSNvv37xfFplkih1Lo3op2NXFx5Ziji0D2K6PgzFNoYN6mMych4+9LozsA2btEQCIgEZAIxAwBOmyMuqmCRszB5CE3y+7RcavufYS3mAujqS1atBBjCSei6g0w50tFWkZwSWfkfBkl9Wd0ornPKigoEDVauc8KJaLqeQ9GV+mYq6Vs1DI93Mcx0k1HWCvqyWgpDxmYBsa5cOwsH8K1I8WZY2ReLNt4OuVa8+M9VHxJ6+Sas386uOyf0Whir/YfShSWwlkU9VKj07wP09R8lQqK2RdC3lgiECUEpLMaJWBlt7Ufgbypk2Hbt0ZzovqMZki/b3rtB0HOUCIgEZAI1FEE6Bz+/vvvYNTL0+g00UkcNGhQtSLDA3fmrKplMugUjhgxotZG34j/qlWr3NFVT7DpCJMmS0fa29Q1Uync/JyOX2Zmpgha0EHVoi37W0zej5FWOr4sh0jn3Lt/CiDxuQjWGFFVI/i8VtJ/g0VQtq/pCEhntaavoBx/zBAoXf8L8r97UqgAe1tCz3GwXvxMzMYmbywRkAhIBCQC0UWAET06h1q12nnnAQMGoG3bttEdhEfvdGhITaaTxAgeneWWLVtW2/1jcSNGMDlnLWMOLenJnlRZimKtWaN9yKzVB6PTxFNLAZkYezqkVc0/lMODgwcPitxo1egM8wCCByLSJAJ1BQHprNaVlZbzjDgCjlMHkfv2xXA5bJX6NrXtj5Tr/x3xe8oOJQISAYmARCA+EKA666xZs3yq47KeKQWEqsOYy8j6myptlVFC1oqv7U4NBZ9I2Y20kd5M0SaW+6EY58aNGys4rKmpqUINmJ8dOHDATUX2Nw5ShCdOnBgw/ZmiTjwM8VT/5Zqy7Ik0iUBdQkA6q3VpteVcI4eAw4a8z+6Bbdcfok9dghWGRu1hP7AecLnE31InT4GxVZ/I3VP2JBGIQwRcRbkoWfU9StbNhCv/JIyt+yBx8PUwNu4E6A1xOOLaNSRn/kmUrJiG0o1z4CrOg6ndACQOnQxDZktAJ6Mv0VxtOhN0Vn1RRqvTWaXQEAWHaHRQKb7D+9d2i6SzqtK3GQ1nRQjP/FI6xIxykibM6CbLAKkRW64/1aFJB6fz6qu0D6O0zDWloxuISfpvICjJNnUBAems1oVVlnOMOAKlm+ch/6uHASiOaeKga5E09EbkfnAdHMf3iL8ZGndA6k0fQ2dKjPj9ZYcSgXhBIP/rv4HfB7ic7iHpklJhnfA4zN3Oi5dh1s5xOOzI++xulO76o0L5LH1KfVgvfQGm1n1r57zjZFaMeDHypVXWhEOsrtxC0pEpNETBIRqFglj3tS4I8FDoacWKFRF5IogbFZ1DFX4iJZgVJqh87MvoqFJsqU2bNn7L7NDxXbZsmTuaS/VfqidXZ13XiIAqO5EIRAAB6axGAETZRd1CwGUvRf5nd8O2W/mB5MY8dfJUGBq0RdG8d1G06EPl70Yzkq98DaYOA+sWQHK2dQYBlm5iCSctMzbrhpS/vg+d2VJn8KjuiRYv/RSFs17XvK2pwyCkTHq7uodU5+7HnMnVq1drRtPolLD2aigKsMEAyaje4sWL3Y5Nnz590Llz52C6qNFtmdNJDDzzR/2V0/HVnocLkcgxZrSXVSb85bPS+SSNmKWOvJ8PCmT9+uuv7meKlOTRo0fXicOHGv0gysFHDQHprEYNWtlxbUXAtnUB8r5+GHDYxRQZUU0acRsLvcGZfRg5b14IV9ln5h5jkHzJc7UVCjmvOo5A3n9vgW3PSk0USI1Pu/dH6K2xrTsZyBLZ964SNFpnwWmY2vZDwpkX1QgKbc5bF8FxYq82/okpyHhsYSDTr7qNw46S1T+KAzp9ciZMnYfC1O6sqq+rAy3okBw7dkxE1CjeQ0qo6qQwQjds2DBRqiWaNnv2bFFGhkZFWlJN61L9TUaWWcuVuaOk6RJvHhSQrqt1UMD2W7duddN6WeqmS5cuPtsHu3aMuKv9c5PN/GFSg1mj1tP4fNBp5YEGy+WwtA+v5TV8llTr169fRGrkBjsP2V4iEC8ISGc1XlZCjqNGIMD8vJy3L4EzX9kYGOq3Rtpd/6uwsS2c8xaKF3+kzMdoRtodX8OQ2apGzE8OUiIQDAK5UyfD7qN8E+nvafdNF85NPBu/q4Vz36lAYzY27y5otIaMZvE8dPhzVsX7qWkXWMc8CGPLniE73zyAy//mcdgPrCvHwmBE0ojbkTT4+rjGJxaDY24jo5wUPKLRYaLDGi3nkQ4a70ejY8boYIcOHWIxdXnPKhAgZZlOLCOnnlFXUnvV58W7C+bO8vmp7UJZ8uGRCPhDQDqr8vmQCASMgAtFCz8UVF9hej2s4x5FQr+LK/RAwZPcf18NZ+4x8XcKnqRc+07Im8WAhycbSgSqEQFXaRFy/zMJjmO7te+qNyBp2M2CeUDWQTyafc+fyP38HqC0qNLwRPmpi/4Zt2PngAt/fQ3Fv3/mF1pdYgpICbaMuhf61IbBLYPDLmjexetnVsiJFY6RKRHJV7wq0xy8EKUTQuXYDRs2uD8hJbd3794RpwMzikvKKSO7tOTkZJFzabFI6n1wD3r1teame8+ePVi/fr1mORzPkTDnmFFyuZ7Vtz7yTvGJgHRW43Nd5KjiEAFGVXM/uN5Nu9PXa47Umz+B3pJecbROJwp+fgElf34r/q4zJSHl+vdgbNEjDmclhyQRCAUBF4oWTEHRgvcBZ7mwklZPiYMmIWnEreJ7EG+W9+ldsO1YqjksfVojpN83HdAb423YYjzO04eQO+UGOPPK6YLqQHXmJDC33rMGtD69iXBYTe3OFurlztMHwYM1sj/oxOqTvaiqTgdYnivvvzdr3oP3Ih045SrtnNm4BK2aBkUqJ53IU6dOiTuS7jl06FCQbhpJI1X0t99+c6sR0ylmvqq0+EeAJYZY75UKw75yW1mi5oILLohaVD7+UZIjlAgoCEhnVT4JEoEAEVDovR8rCsA6nYiWcuOnZfZDm5D7/qSyj3RIPPtKWMY8GOCdZDOJQHwjwPzFwhkvwWUrFgPVWdLFoQ3p8YYGbWA/vBVQ6w8bTDB3GAjrxc9Al5AcVxPLeWMiHKcOaI/JlIh6jy0CDHHorDodyPvifti2K/RPsQYJFuFYm9qehcRzrhX07KI5b7nz50UjvQGmlj2hr99GXMscXQrB6VMbwTL2QcECcZw+DNu2hbBtXyKwcZ465FY99waKa512l3IoJ60iAkePHhWOpOqIRKPuKem/pAHTWMOTjk1iolSfrynPIqm/M2fOFLRgLSM9+KKLLhJrK00iUJcRkM5qXV59OfeAEXBk7UDOv65057WZOw9FchURhYJpj6Bk42z3Zj797u/Epl6aRKAmI2Dfuxp5n98DV0mB4v+kNkTKde8JJ1U1295VKPj+KThPH3b/jarY1gufgj4lstGlcLAs/PlFFK+YptkF6bNpt3wKPeuVxpExYlo0920U//55ObYdByP58hcrRa8d2YdRNPMV2HYuUyKtfoyq5vr0pnAc3V4hf9ffNQn9L4N1/CNxhE58DWXdunXYvHmz22Gl6E+PHj0ikn/IqC0VY1Wjsiz/kVazEFi1apUQh9IylrmhCnC08p1rFlJytHUZAems1uXVl3MPDAGnAwU/PSvUMGmiJM3Vb4gohD9znjqInH9fBVdxvmiW0GcCrBdql/kIbCCylUQgtgi4CrMF9dRTgTb50hdg7n5+pdxOx5FtyP/qARGpU744OiFIlnz5KzA0bBvbiZTdvXTDLOR/86jPsejTGgs1b2Or3nExXrI6ipd9gcJfXnNHO01t+iH5qtcEtVfLmFtMcaTCGS/7VA4OZXI8pEilMx9Hhw+hzCOa13jXP42UOrDT6RSiSizXQiNdlHVV6dxIq1kI8BmZNWsWSAv2tu7du4sDiGiXPqpZiMnR1kUEpLNaF1ddzjkoBBwn9yH3/WvhKlaoOizZIOoXVpXL5rAj/3+PoXTTXGWvnpgscly5Ya9T5rTDcfIAXAWnAFMimDvnt5yJww7Hqf1wFZwGTEll7TNqLWSMeDlPHQAdQZgtMKQ3hc6SFtH5EktG2WArhs5aDwZGC/WGoO7hLDyN/C/ug33/euV5NpiROHQykobd5LMf5kTmT/ubohjscol2fP6tE58ADCbAXgJdcqYyHp3eTz+nRFmo8vatwhY+sh/cKPIxVSqzEIHSG6AzW+EqynGPhbmrFFoyte4bc5E0+/61yPv8XjB/nqZProfka96GsWmXKteSz1fh/PdQsvJb/5FTvUHkr3LeVBEmrZiR2dLN8+DMzXKvY0IvClA9U+V963oDb3Vg5q0OHz48rGhZdnY25s+fL8qc0Fq1aoWBAwdKp6aGPmykjLNWL8vXkBpMKnfz5s2FKBepwNIkAnUdAems1vUnQM7fPwIuF/Km3gjb/jVlDmeKyNHSpwRWN4/iLRRxUS7WwXLunUgc/Nc6g7rLXiIUS22b58NZlCui0nRMLOMfBcuDeJto/8ursG1ZUNY+AYb6LWG54DEYm3atdbjRUSqc/gJsO5bAWZwvFFYNDdvBeuETMNQvp9WGM3E6ZYXTnxf5h3SM9UmpMHUZLsR2dObAVUMLfn4RJSv/V06F7zEWyRc+KQR6/BnzWAt/fBal2xa5m4kooMsFl8MGfVIaTN1GwnL+3ZoiTFTsLZjxIpzZR5X2FrY/F5bz2D60/DxXaaEilpa10z2mpKGTBS7ss3j51yhZ8Y3HeC2wjLpfqb8aI7Mf3oy8T+5UDjVEjqoVqaRfa3yPfA2RUdacty+GM+eoZhMeJFjG/w2GjObQJdcrXw+XU+BfsuZHFC34QLk/SxPdOQ36jOYxQqTm3JbqwFR/Va1Tp05CCCnUiBkdG5ZAobGkybhx40R9VWk1FwEePPAfRs0ZgbdarSE/HzUXBTlyiYA2AtJZlU+GRMAPAqWb5iD/678pLXQ6JA6cJDb5AZvTgdwProP90GZxiYEKwndMC3mTHfB946Gh047CWW8I2qK3GTJbwDL24Up/L90wGyVrp2u0b4mUyVPjvmZnMLDTcSz88RmUrJtReb4N2yL1hilh5zgzoipqoZ7YW6n0SOLAa2A5/56qI6xOh3DcCn55xR1V48EBBcYCzsF2OVEw/QWUrP5BKNQyxupdzIb5j+ZOgythUTDjJaFK690+afgtSlTXT0RWaz0Y4c/77G73d5LRVPMZo5H8l6cqsCWK5v0LRayX7LQrX39jAiyj74O594Rq//4ylSCPUe29q8reRXpYxj6ExLMuD+aRE9izFI3WMydK0Vz+EkwdK6+BehOOI+e9K4USMc3U8RykXPlafIpQBYdMVFuT6kmxpUioA5MuOmPGDHddznbt2uGss86K6vhl5xIBiYBEIJYISGc1lujLe8c3AvZSsam17V6hbFbNSUi99fOgabz2I1uR+59rAYey6bWcd1ediK4yeiNKa/iI4gS7+Cx/wrqdtcWY05n78a1wFZZTTj3nxkhf0ojbgnbG3H2wRubPz6Nk1Q+akJGOLUovJWf6hdS2bTHyv3kEjMrRDPVbIWXSO9BnNAtqKRhFzvv4Ntj3rwvqOl+NDQ1aI/XWL4J2HAu+ewola39253yau4yA9dLnhDPqaTxMKN00D4U/PeNBFdYLB1Eoe1dX7ViHDXmf3wfbrmXlFNz+l8Iy+gHBVAjWnNlHkP/Vg7Af3lJ+KWvi0vkfOlnjGMHjDi4XCme97q7tyndiyvXva7Ikgh1XbW+flZUlqLvhqAPz2hUrVmDXrl0CLkbgSCmm0rA0iYBEQCJQWxGQzmptXVk5r5AQoGPFSKBt60I4i3LgKmKeqhIHShp2o+I8BGkuWwnyP7+n3Om11kPa7V/WemESx7FdyP33NSC1NxJm6jBIyRWuJVa6dQHyv3rYHbmrPC0dDA1awdx9NExt+4lDEkYymU9Z/Oe3oDiQM++EcBQSB14NU6s+cBZmw3F8r5JjuGl2BTVeLdio4GvuMRoU6TFktoLOmg5XQTaKV36D0o1zlDqctuLyEjVmC5IvfR6mTkNCWoWc966C44hCXwzbDCak3fF1wIdHdD6LF01101h5f0ODtuKZouPuy0o3/ApGdz0PFUytesNZcArOwhyRy5o4+HoYm3SuOkodwKSZF1q87EvYtpIKnwe9NQOO47vdVxL7lKvfCKAnP02cdhSv+h72vWugt6bD1H4QqNYciAPuOL4Huf++2v1MJA64UkR5pVWNAKnAmzZtcjusVHlNTk5Gy5Yt0aFDByQkVDwwYY90UJnTSMXYEydOwGazua9v0qQJhgwZIvMaq4ZetpAISARqMALSWa3BiyeHHlkE6FQx8mPbt7YS5dDQqL1QvvSOvgQ6AtIfC374p9Jcp4f1gsdimv8W6LjDaUfRIOYFspZjJCyh3yUCtxpvLhdKN89H0Zw3Bb01EGMEi6qrFLxhZMy2d3UFkRzW2DQ0bC+cS1f+CfCAJBhj7qrov1UvIfZUyu+Ay1mhC0bxrBc9DXO3ysq/gd4rf9qjKN04K9DmVbajk5k05AYk9P1LlRHo4hXfoHDmy4IKSxMR4uv/LWqM+jWXE/asHcj/8kE3/dWbxkzxtOSLnw3ZiXff3+VE3n9vQeneVZXeQWzDXPnUmz4SJWZiaUXz3kXRwqnK6yzBirS7v6v1h2+RwNtbHVjtk7mrzZo1E46nt+3cuRNr1qwRTqq3UQG4UaMqnt9IDFz2IRGQCEgEYoiAdFZjCL68dXwhULxwKgrnvas5KKEAfN17IQ+YFMjcdy5xl/FgNCz1xg+rVhQO+Y6xv9BxZAty/3urW0XZc0R0rlKufgvG1n3K9+kl+SLSaNv1h+bgzT3GIPmip2suZi6niHoWL/0EJetm+omoQogW6XT6cvppiMtJJ9TFnEutGpvM9fRySP3dhs5d6o0fhaVUzJxLoWZbVqPV837mbueKMjFCJbjMbHv+FArEWu3djXQ6mNr2R9LQG2Fs2ZuKM5WmYd+9EnlfPeAuI0XF3+QrXoKp/cCAkRUCRx/dpvk8sxNGWFNuUMSHQrXiJR+jcPab2pcbE5B262dCgCvWxgOo3H9dLiL7NKEM/JenqzwwiPW4Y31/brjmzZuH3FxFzdnbunXrhvr1y8X76KCyVitVYrVswIABaNs2PspAxRpbeX+JgESg9iIgndXau7ZyZkEikPPGRKGYqmW6pFRkPLogyB4rNi/dthD5X9yv5J3pdGJjTmGXWmkuJ3L/e0u5IIzHJCnkYhn7IBL6VlZWZZkgRrBIIfY2XWIKUq59t2bmx7mcKFr0IUqWf61Qaz3x0BvgKov28c+M0lkveBz6zBai7FHp2hlw5h0P6jHRpzdDQt+JMHceCtveVSia9WYFOrahYRtYRj8I267lKF03E1TsrcoY3U27+3uwvmY4Vrzsc8UhK8vhZl+GRu2QfNUbMGjkwdK5L5zztjsiKjBKSIKrRMmhVY0RPjqMFO7SZ5RHHpkjm/f5Pe5yL2RHJF/9GkxtBwREe/W8R/YbE0XkWfMdkZiMjMcW+s/5rAK4nDcvhOPkfu3+E6zIeHxxONBH7loKZqnq0Koy8Q0fwEAqtDSfCLDkzOzZs2G3K/oF4Rrpw+ecc0643cjrJQISAYlAXCMgndW4Xh45OG8EnDlHyvK5FopSH6bWvZF4zvVKncEg60Z6953z9iUVcsMqbIStGcj427ywFoTlMvI+vKlc2ERvEGVcqL7JnEPSMGuFuZwQESI6GDSdHqb2A6CzZIg5mjueA2Pr3j439axnW7J2BuyHNkFnMIrcTLUWprFlL5FjKEqfxKM5HSjdvhglf3wN+9FtMKQ2grFdf9j3rAIjc56mr9cMiWddBXPXEaDqtP3INhjSG8PUeRiMzbq5mzLX0r57hahzSbEj5kpqmsGEhJ5jYe45Dsyp9Pw+0GG1bV9SluPaDQm9JoDRbRrp73RaWV6odNtiuAq1aduC7nnXd9Cnhv+cUrTMtuN34bgbW/RAYu8JgKlyvp46T0bbmYfrzD8FU8ueSOg9ASUbfkXx758rBxseEWIKRjG/2X5gvcjhFerDZTWSeUiUNPJOJA2+PmhHlWPJfe9KsU5aRnwyHmd5Hm/d4sAf1Jx3LtU8qBFfI0saMh75LfDOotzScXQ7ct6fBDgUemriOdcp6tLSfCIQaWeV9VUHDRokEZcI1CgEyvdxi+Aszqt6H8dUuK7thAAAIABJREFUjIMbUbz0U3H4qrekixx7Ktrr0xrXqLnLwYaGgHRWQ8NNXhULBES07maRr+e5HdQlpSD5khcUgZAwLP/LB1C6RXszKEo0XPNWGL0LtwCFv7wGRpYqGGmMbfqJ/LnaYM6TB0S5FDVaJ1RnWXYmlB8Vl0tEJFlGRBG6AoSgS3WqsQaxKFxbjlVVztW8VG9EQr+LkTT4r8oBRaCqsi6nUPYt+OlZzW5JD0294YPAy8l498L+V36Lgp9f0O6/SWek/vU/IvIbL8bSPCXrZ6Jw1psVaNVapXGUZ+cKJJ1/b0gqurye4musA6y9rgZYJzyOhD4XhgxP/tcPi2i6lpnaDUDKdfwexIu5RB5+yeofxYAo/pV+/89B1e6Nl5lU1zhYR3Pu3Lk+acDBjkPSgINFTLaPOQIh7ONs2xYh/9u/u9M4lDnoxKE3S7xJq/0IxK2zyoGx6DXpMlTM692bkRjFqIqn5nx07txZFsOu/c+pmGHxko9QOFvbYWTOWsjOntOBoiUfo2juO9p70JQGSL7sBRhbledXhgI5HZi8j2+F7cAGzdgL67cmDro2lK7j5hqXrUjQeBkFE2Y0C+EZ5iOGasyPyxd1MTcpP1FJaUi56jUYGT2MI2PtydwPb4QzJ0t7VAajUIxl+R1FebVybmUg0+GPNqPNqlCQwCQxBZZxDyGh5/hAuvDbJv8biiDNqSjglJQC6/jHYD5jVNj9R6MDx+lD4pDAtmkuXGWRPu/78LAk7Z7vQxZJU/sjpZgRbl8mSlPxexwM04NshKWf+sxX1VnrKSrMbftHA76Q+6RyMRWeeWhAE2V9qAwc4rMd8kBq0IV79+7Fn3/+idLSUveoKbBESu/AgQPB//a0PXv2YNWqVRXa6/V60f7ss8+u1L4GQSGHWgcR8LeP8weHrwNIy7l3InHIDXUQybo15bh1VqdPny7U8Ro0aIC3334b/fv3xyWXXCJk33/44Qdce+21osj2sWPHcMcddyApKalurVwdnG3OGxfCccpHPpfZgoy/LwkeFYdNiQ5wc+4o2zzodGCOKs3U4RxYht+i1JQMNALmYxTc0GW/OdHrdLC8sd5aD4lDJyOh9wXQJZRHr0jTJK2UDiDzBekw+IsikzLL3Ejbzj+gT2P70TC1Pzt4bEK4omjhlLIoqHIx6c2WUfeHjZ193xrkfniT24Gi05dy8yeCJhysidIvy79WynZkNEVCr/F+HV9XYbbSft9akLor2rfsVX5bpx22PatQ/McXsG1f6lO0iGuWfOmLYUcmKTZUvPJblK6fKZSBRemUoZMVKnwEnARXST6Kl38DlmxhKSeWzaF4kaFxx4j0H+x6BdzeXgpBo/WVU5pgRfrDc4Kuy+p9fz4/Rb9/BtumeYLGTCq/epDCtlRNNlEsauITgFftVs25sB7uT88KvEn5Vo20X+a3k9JsGX6rePYisb4B4xlIQ6cDBT8+g5I1P4nWfG+SRREPIlCBDD8WbViK5tSpU2Ivw/2LxWJBmzZt0L59e5hM5eJi6tjY/uTJk9i8ebNob7Va3e15kB8Jq/IdF4mbyD4kAgD87eNCAYjl19Lu+jaUS+U1NQiBuHVWPTH89NNPRX2x++67D88//7xwVJs3by6aPPbYY7j33nvRsGF4oh81aM3q3lCdTth2/g7SdH1FTQgKRVos592jOGYBRDVcRbmifmLp+l/cmNIZtIy6LyoRJOYCZr95kaiT6deMZpHXae4yQtS9LJrzDuyetSkNJiQNu0k4EN7mOLYb+d8+DodnXp3RLKJ5LPERTXMc24m8T+6EM/eYuA038VRQ9lfDMpjxFM3/N4oWTXVHFBMHTYLl3LuAIBxWx+EtyP/uCRAn1ZhrmMRoWP/LKg2HeaYF3z4B1pYsb5+MpJG3wlC/jSJQtHmeu6SJv/kknHmxoIlKix4CLJXEXFUtoyOV/uCvYTurWn3zGSic+Yr72Wcb5g9bxv1NRL19GQ8eCme8jJK108vfQSn1kXT+fUjoOSZ6QEWwZx7ikFEg8oaZEzzidiQNnRzBO8iuoomAz3fc+Xcjsd8l0by17LsuIRDgPi5YSAyNO4m69dJqNwJx76weP34cL730EkaMGIGxY8figQcewEMPPYTGjZWk6ieffBI33XQTWrRoUbtXqo7OjpEjRh3s+9f6zwMsw4eKpSxfQafAn5NEhyrvs7vhyNrpjoTRaaF4T4WoWQRxV2jAt/ncTFe6lU4vojROW3El2jD/nnzFK0KcSTVGVPO//psQ+PGWeFHavwrm3kbFmIdC8ah9a9zdJ1/zFswdKf4RuuCM51h5+p/78e1wlDnuwaoD85Ag79O7YTtYmYatMyUg5Zq3YWxzZjmehdnI+/Qu2Cj05A2awaSUlrEHXs80+bIXYe5+flTgl50qCJSsmCZUarWMtPHU698P6nAjGFyF6vDHt4NUeGE6PQwN24p3ilYtV5Z9yfvsLjiO7ih/B5kSkDzpHREtrzHmcsJNHRe1YBsg7f4ZIbEeasyca8lA+U7N+/RO2A5trvybYUpEyqR3KpQXqyXTltOoZgQC3ccZW/eFdfwjFUdH5fHpL4g9oJZR1I3ibtJqNwJx66xSNe/bb78V9cUcDgdGjRoF5qc+/PDD4h81kvrcc8+JSGugzipzYDnpumz6wlMw5h4WtFenJRP2jJYRcyiIq6HwJAy5R8r6r1/Wv2/EDQUnYcgra2+tD3t6S+hL8mDYuwzFC6aAeVFuIxWXpV88zGVKgo4UXo/yH4yQMvpob302dPaSsv7tcFrrwwUd7L+8INTlVHNktoV54tPQZxKL6JltxxI4f30J+mKPOns6HewNO8GpN8OYcxBcn2iYoctI6Mc/GfmuXU7oVk1D6W9ldWh1Orh6TID5/Psjfi9GMl0/PSHWlEYlWf3FL4PPQJV2fCfsX93jk4Zd5fV+GriMiXCkNYMzpSFMh9dDV1peF9GlN8LZaTgSxz2uSYe2O4FjBS4U2ACzAahv0cFamQ1Y4e75pcCJQhdsTiDZDDSy6qD3cybg2T7FDDSson04WMT62pJvH4V+N3Omy98TzoRkGEY/CmO0DmvKJu08dRClPz4Jw4ny0kvG5mfAfN49yjPLdy7fQXqT8g7av678HVSvNcwT/wl9/VaxhjDo+zuzD8H+yc3QleSLa80DJ8E1qDLzI+iO5QXRRSBrG+xf+65jbOh3OfTDbo/uGGTvtQKBcPdxzqQ0GMY9WeHAWAXGvns5HDOerbhv4q7VlAjTHT8E9vtfK1AOfRLMc2cKQU21uHVWPQFdsmQJvv/+ezzxxBN45ZVXcNddd7kjq//85z8xefJkkd8aiOXl5eHIkSOBNK2VbUyH1yJl+RToinOhczngMiahpFV/FPS9Dq5A8quqQMV8cBWSV0wVmxbRv4n9D0BB32vhMpgrXW0+sBLJKz4Um3u1fWmTnjDkHIQxe38Fx9SlN6Cg/43Q5x9Dwv7lYg625r1ReMbFMGVtEfeF06N+nU4HR3IjsUnUlXI8TjEel05f4aVH5zh3xCNwWupFf81dLuE4W9b/D6bD6+C0ZKC09SAUdRolNrDCST+1G0lbZ8F8dENEx2Or3w45o5+LaJ/szJCXhbRZT0JfrNCbHdYGyBn1D3EQEnlzIWnjT7CuLaf9FHUchYJ+VZciMR7fgfQ5T1d8RsIcIOda3H4ESlv2hzMpAy5TAkwndiJp048wHtsGZ0oj8XlJ2yGaz7/N4cIP25zYne2CzQEY9ED9JB0u7GxAA6WyTCU7mOvCT9udyCl2weFSHNwOmXqMa68X/+1tB3KU9rkl5e07Zuox1kf7MCGJ+eU6WyESt/6KhH2/Q194GramPVHU81LYkxuHnTsdyOT0hSeRuvBVGE+WU8fFYYrT4X7HuXQG9/eFfdpTmyJ35ONwWqPxnQlk1GG2cTqQsuQt8V6mORNSkDPmWfH+lRa/CJiObUXa3Gd9vhNLWp2NvMGyHFH8rmB8jCwi+7iel8Fhqa/9jua+qeA4LOumwXRwFfQqewVAUeexKDizZgtTVscqJiQkgKWuaqrFrbO6a9cu4YAmJiZi2bJlQlTp8ccfxxdffIGuXbtiyJAhoErelClTRKQ1LS2tpq5BtY2bKqW5U2+AI/tIJcqPyIEcfmtYmzmKseR+8Fc4crMq9z+SeUwVT9pJDcmdwvbH/BNFmcPZ/TxQ9U2LTqcCSGpv0Zy3RQ6hWpeTn/lSkWN+FVVqrRc9E3Ipi2guHvMkSdEiTpEw5uxZRtwOU7eRYC3KSBipzcwlZh1MYaQbX/q8yLeNlmmqA1/5f77pag6boF5TbZUUae/IfKjjZH1fy8jbQ6aVltqd+M+iw/hjt0eUvWwwTdLMeHxca6RbKgqoZBfa8ezPe3E0l5HliqHUc7tk4JqzG8PoEWI9XdY+S6P9+d3q4eqzGsHgLyQbKjh1/DrSwwu+/4ei2uzvHcQoZNcRsF7yfFy+g4JZRr4D8j65Q/l+6fQQ6uYDrwmmC9m2mhFwnNgran9TKEzLEodMhuXcO6p5VPJ2NQmBSO/jqpy70468L+5TxAzLBO1Sb/kUhkYdqrxUNqi5CMSts7pixQp89dVXQpadlOCXX34Z9erVA3NY+d9UyGP5GuazZmRkSPn2AJ7Bgp+eQ8mf2qpphvqtkXr7V2FtmLg5U1UhvYfDXFJ9SkURLFdpAZi35c/4Akq+mNS4NoGNzV4K+7FdYqPoyNrht++E/pfCwpqL5gAopAHgG/Emosbo1Arquuo9qGLLHEvoK5Y/KVn9E4oX/9f3UPQGGNKbIuncO8UBQLhW9Nt/UPRbeX3YxIGTxCY1XOXkqsZF+iRruQpRF0Z3G3dE6i2fVcqTY/HxwhmvwLZ7ud+cZ0P9Vki+8nV4c2mLl3wsapt6m6FBa6Te/CmY5xyq7T1RjBd+2YeCEodmF/WsJpiNFR3SErsLp8kX1jCTQQde4ylaXWJzgg6rltVPNuHpiW2QlhQZRdFQcait1/EgJ/dfV/hUJ+a8E/peBMuY+2tHbVKno2wTqaiy8z2Tdu9Pld5RtXW9a+S8qOb88/Mo+fN7zeEbm3cXOdcsFyZNIqCFQMF3T6Bk7Qy/4AS9j6sCatZdzfv8XnerhLMuh3Xc3+QC1WIE4tZZrcWYx2xqOW9dDMeJcmpahYGYEpDxyG9hKWVmv3YBmLsUEdPpkTT0BiSefY27jEww/bqKc5H9f+NAtU3tX2Ez6j1ZFg0MpuNqbssIMZ3PElFGJEs41oYGbUFRAeZreptov2gqSjbMFrm+6iGBM/twJSxYEoOlZSgo5Ti+u6x/C+i4sSalT3PYYT+6HY6j21E0/z04844rm9P6rZBy7b8ipv5bFdTCUV74gTtXOaHPhTD3GC3GAbsNJet/QfGyz0HVZ7fpdEKl2GW3wZl/QjibLINjGfOAwLUSnowcz3kXOevnwVx8CnajRZSIyZz4MHjAo2Wldhf2nyoGo6BJZj2apSe4I6QMOp3It+FoTgn+3JeH+VtPRyrQWxVclT6nc/vyJe3RIKWKBNmge478BSfzbTicXQI665nJJrTKTPSboxv5EYTWY/arYyrm3Ht2Y4zdO4jPIZ/R43k2JBh1aJyWEJHngIJ1uR9c5z4Y4uGVqcPZ4junT28aGohaVzn5DtohSivpzJay/pv4f2dlbQ/8HRe5kcZ3T04HCn99DcV/qGkVOlBsrpyZpENCn4mwjHs4rL1BfIMgRxcOAn7fcWHu43yOy+VUxA/L6rnzdzztti+gryeFVsNZy3i+Vjqr8bw6ER4bywvY967W7JXOSdo930MXRt5q/uf3onTbooiMmpHD9Pt+DqsvUtLUl5l3R3yppd/7Y1j9V9vFLhechdlAaSGgN4o6nX4jei4nnIU5SnuDETpTEhzZh0SE0VtRj86sLqU+WAOWkSAd+09tAOvEJ2Bq06+y82YrRuH051C6dSFcJYUVaoqmXPtutdVz5cBchTnI/fg2tzowabE6kxm6xFQxLmc+harKRXaIG518UpRdjMjaigGq+iam+Iyul5Cqu+AAtu85Ar2jBE69ESlp6bj53HZonZlYCR+2f3/hYWw4mI9Sh0tQbBulmnFF/4Y4dLoEf+zKwckCOwpLHWC+aiyNEdVnL2yLDGt8R1Y3HMrHlEVHkFtsh9MFJBj1OLN1Cq4b2Fj8dzyb2FDtUOhqld5BGc2Qfl95yZrqmgefu0+XHcXy3bkotjuF05+SaMT1gxqjT0vfZXYCGp/DhvyvHkTptsVlzXWCEaOzZgiFdh6QhWukWBdOfwGlW36Dq7RQeWel1FfeWW37a7yz2P55lG5l+6rfceGOryZdL1JN/nuLOLijET/LhMdR8M2jsB/arExFp0NC/8thHfNAQCXhatL85VjDQ8BVnI+cty5yPz+V33Hh7+N8jZBpXznvXu4uBWhs1g2pN30smRzhLWncXi2d1bhdmsgOrGTV90pJB4cPCmGbfki57l3hDIVqWavnw/TDg5qX701oj+PGytG6M4pWIdFZWZ05v8tEtLzyqVCHIq6jo5r/1UNiQ1PBdDoknnUFLGMfCqv/Gnexw4aSdTNRsuIb2I9uq6CeXOlHJr0JkpiP6WXMEynd8Gulv+sSLEi745tqi6pyAC57KQqmPYzSrf4PSPTWDJi6nYekQdeChyCBGp3NqYsPY+nOynVx6YD+pU+DSl3RAVizPy/QW/hsl5xgQM8WyZq53GsP5CNfgzrcol4CWtZLrHSNr/Z9WqXgjuHN4trhY0T1mZ/34gTljL1mNqFnfVxyZsO4jrDa9/6JvM+11VYT+l0C6wWPhf2sBNMBI6rfrzmO71YrbAhPy7AY8ffxrcXhSshGWun058Hfm0rvlNRGSJ08BfqMwMQQNcfgtKNwztsi/7xS/2mNkaSRX2nbsQyl62dWbp/eBKk3TKnWd1bIuEbpQjr9xSu/Eb1TWTXlr++D6tWOY7uQ98X9cJ464P7MMvZBQVuXJhHgQbVt5+8o+u198az4sqi+41xOUaO6eMU05fZ6I5KveBnmzsPkAtVCBKSzWgsXtcKUXC7x417yx5d+a0Lyh8rKOpCdhoSGiMOGPe/ehLQT6ytdv9/cBu83eBB5hsp5L+fl/oQLssteNmVX7jO3xcyOj+Pxy3qHNhb1KuZ8LvwARfPLcyr5kbFVLyRf8X+gE1MXzVWch9KNs1H46+uVHfkwAGGtM0Yuq8scJ/cjb+qNPk91KfJi7jpS5NCylBH0GlK5fgZ74FQxnp+5D3nF2jml4c7TYtYLh3THsSKcyCs/RLImGHDbsGbo1SJZ8xaLd2Tjv0uPggJNqjXPSMCDo1qCeajetmh7Nj5aekREej3t2oGNcX7XalDADgOoD5ccEVRpLeNcX7q4HRJM8R1dLVr8IYrmvFNhCsbm3ZB81ZvQJ1cv/nxm/v7DHkGp1rKhHTNw0xA/dNoq1pLvltz3J4HfTS0Ld/PqLDiF3P9cB+fpyKSbUADKMjryJbbCeOSr7VLWxM796BbAoeS0C8G48+8qOxRywX54K/Km/FUcCtLIurJe/CzM3UZW2xjljeIPAUbhC/73BGx7V/lV1q+Od5zz5H5kv3mhGyRT+7NBhpe02oeAdFajvKbMGyz+/QswIdxZeBrGpl2ROOAKmNoPDFlFNNAhky5VNPcdFC/7srzovCUdCWdeDJ3eIDb5pZvmunP6SNdKvvoNmNoNCPQW7nZF8/6FooVT3bTLvQntsN/UFvsS2mGVdSCc8L2h7Fi8Ee1LtsLiKChrPwgmowFTr+8c9Di0LrDt/AO2favgKi6AqcUZMJ8xSqhV1nVjzmnO+5N8RtuDxcfY+kyk3vCfYC8LuT1panlTb3Bvprw7MrY7C6mT3qngpDqcLvy5Nw9zt5zC/lMlSE8yom/rFIzuVk9QIU8V2LD3ZDE2Hy7Aqn15Ir80UmY1G9C+UZKgD3dvlox2DZNgNugEvXXlnjwcPF2MDIsJPVoka1KMPcex81gRNh4qQE6RDa0yk3BW21Qk+XHadhwrxPqDBZi3+bS4H61jIwseGt3S73WRmnuo/Tz63W7w0MCXJZoUh79HcwWzZhkJIld45oaTWFcWgW7XIAljumeia1OLpvIx8zZF+4P5QuyqPdufkYkuTbTbhzIX1ge271sFZ1EeKFqT0GNMTN5BRTYn7vpiO4pZoFfDGqea8epl7UOZoriGzmTO6xf4FDPT12+N9Du+FvR71Zwul3g2Z206hd3Hi5CSaBDrOe6MTJGfrBp/z0o3zUPB90/5ZYUEM3jm66fe+GEwl9SKttRyyPvsbtBhpelFlPmDSnnFpRvnoODHp5WUD7ZLa4TkK14FKZfSai8CPAwie8G243c4i3NFtJ37Vh5gFC+cUjHwodPB1HGwSK9xZh+s9necW4RSqJDrxPNp7jK89i5OHZ2ZdFajvPB5H92G0j0roOMXqcx4QmkZ/4gQLoiWMZeANB77/jXlP+x6PZIv5xd5qJtSV7LyGxT8/JLbmdWnNUHa7V8GJWpUtHEuir/7u9tpKDCk4KXGzyHbEHrUIDXJiH9d3TFa8Mh+ubHMzULu+9e6BZLCBSXhzL/AOuGJcLsJ+HqKQuVOvREu5vNqWOLZV8EypiItnU7JN38eq5Avypy91vWTkJZkwO7jxSgodcAehXzScT0ycUnfhqCwUaxswbZsTFl8WNl46iAiuGe3i1+lT6olbzrkQyTNA0QqICeZDMLRofNzPK8ibdhs1OOmwU0050qa8bajvEf5urD9LUOaikOA2mR0Uh+YthM5RdoK0aSG339e6CIlFDPL+dcVQvhI0/QGmHuOhXX8o27BniU7cvDh0sOgMJn7N5KHKY0teGK8ImLGclV0Uu27V/g8nAplnRL6TID1wn+EcmmNvoY5xcwtVtOCkobdjKTht1RWcXc6ULTkExTNfds9X7JUUm/9DPrk+jUaAzl43wiwpKBt/7qKiRdGsxKFL1PgF78h1Lf4yz9gbNlHCHPFwpjmRbaFSkfWW+sh9c5v6ixzLhZrUB33lM5qFFEuWT4NBTNe1LyDoUknkS8TTukLX0PnRoF5Q0odKmUDYMhsBetfnhLKrxXMYUPh7LdQvPxrN6XD0KANUq55q8rcIorJ7F/7OzJ+vg96p0KVPG3IxHsNH8ZRU8W8pBGdM3DDORXpZVuPFuL/Zu9HUWnlU369TofL+zcUES9ZBzI6DykVHwu+ewqlm+ZUugHFiFgax9iyp/szipNQpr5083zt9pPe0VQojs7oAVdJPvKnPSJOf71Nl5QilIk9IwCMkj43Y69QQA3U+OwxGuttzCn925hWaFO/XGSJUbk35h7EliOVnSu2f2RMK7T2aB/oGCLZjo7cizP3Y3PZGHko9Fyciiwxwv38jH1CjErLfK2NL7xIlR7dPbNCjisPJxhl17IOjegstQLfRbXBuPa/bDiFr1YeE6XftOyuEc3Dc9AdNhT8+AxK1voXx6OgH50jR6dz8cKcY9hzgpG7yjhP6m3B0NKlKF44VRGZ82PinXX1mzC2Kk8f8feOY1dsb+o0uDYsb8BzYFSVZb/IrKGJsnW3fua3fFLhTOYG/s+9RzC27oPky18GHQNptQuB4iUfiT2h3++aJV2k2CQNney/ckA1QVO87AsU/vKqcjfWeB59P3hYLa32ICCd1SiuZe6UGyqpr7pvZzQj7aaPYGgSGaqr2q/j2G5B72GpEtX0yZlImTxFOKya5rSj4KfnUbK6vJ6kqeMgpFz1hs88v30ni/Gfebtx/Y6HkVlSfq9PG9yBlUlnV7hN2wZJePD8FuDG2Nt+Xn8CX604pjksbkZvHdo0riM/UXx8qqVrKurlf3Ef7Ie3uO8nIv8XPIqE3hMqjYHR2PzP74P9yNby9qZEWC54DAm9xlfLmD1vwoLkeV/cC8fR8pq6FHtitMTc7dwK4yF1ls5qICq8LOcysnM9dGtmEeq+B0+X5/gx1/TWYc00lVPpCL86e79Q/lXNYjbg9uG+c1CrG7T1B/OFU63mvI7qVg/XDGgc7dK4QU3T6XThH9P3ClqoltHpv2lwU2w+Uojftp72mYMZ1E29GpNi/P6kTrXmsIy5zlMWH9E8fFGnTvotc58ZdQ/VWDs7/8v7YT+40aMLnRLKd3ocTBqMKE1rhbctN2OfvrLoUoeSLbg+ZwpSSk9UoP3qEpKFurAq/sObMIVFYSuV56+pN9d6x6mfmXuMQfLFz8SEkh0qvuFeVzT/XyhaMEXpxmBCylWvVanSLGjDXz4gItvCqAfQZTiSr3gl3OHI6+MMgZw3/wLHyX0+R2Vs3AHWv/wThsYd4uZ7w4P0nDcmwJl/UoybtPb0e6dLZeA4e7bCGY50VsNBr4pr8z65Uyim+TPWdjS17SciUoaGbQGDGSUr/wfb9iVwFuWImo4JZ10BMyX/DZWdPTql7tyCohxx8qnml/C+prZnwXrp825KBOlxM9afAjespDu2rZ+EUd3roVtaMYqmPVzBuabyX8GgOzFjW7EoxSHaN0hCm8xE/LFxD646/Draliinsw6dEce7X4OUkTcLpVJGTRlpYv8D2qX6jU4wP3BbltKeVD5SNRm1pTFn6aFRLcGoiLToIMDoA3OXHUe2ik0gS9YYW5yhGengCPjDULqZ7bdBZ61X1r67ZntGJZn7OWfzaVHXMTXRgF4tUjD2jEzNkineOaWpiUb0bpkscgipVqplpLyXbp4HR9YO6JIzxTNvbNa1UtM9J4qFs+orX48O6llt04SwUYeGSW4nhc8z81yZU8ocV+ab+ouQ5hc7RA1V0d5iwhnNrKIuaLxYqcOJN+YcFO8AWj2rCY+NawXmK8aDMZLKAwI+N2LjodNhcIc0UQeUa0HK9lltUt10akYM950sEfOZu+U0ThcEHjn3N1/e955zm4v8yVhStyOxJsz7fXX2AVBdmcYDFL73i0od2J5V5D4U4AEh6c8D24dJDafy+MY5cBzeDJ1zl8XwAAAgAElEQVQlHabWfQBToqgZTcZPeR1PoEifhOXWoWhiO4gWpXtQoE/BKWN9tCnZAbOr/NCnWJ+ErCaD0GzsbThkS8Hm36bDcnoHSkxpMLbui2Ejh6B+svYzrL7jeChn37MSrAdLY43W5EtfqDPRVeepg8j9781umjbf9clXvRYQw4ulwvI+vxf2A+vcjyTLoukzmggF1oSzr5bUy0h8WWPcBwXS7Ic2aY5Cl5SKjL/NC1qssDqmRG0SHrwzt53GGvKWUfdXprZrDcbpENUjWG+Yc9cnpcHYth8SB18PQ0bz6hi+vEcVCEhnNYqPSMnqH1Hww9OB3UFvUHJ4dHo4i/Oh86gPCaNZlDjQinQxZ8+2b03F9mV3NHU8R/wQe1KN/zl9L7ZnVczP4kbsxsFNMbClSaEHHdlW1oMOSxv+BdMSL4TLSyDp0lMfY3B+OX3U1HsCLBOegMEQnOKqNzgkp9Ex/r/ZB9wRAEZkn5nYpoLYRmCgylaxRmDO5lP4YnlWhWgmWZVdGluFg+RtFFn5ckVWhZxRtu/axIpHx/pgBgQ4ydMFdjw7Yy+ychV1S29j/iY36WEElQIcSeybsdbrQ9N2go4r7ex2qbhjeHz8KLOsCsurqExVHlbcNaIFzMaqV2beltP479IjEQPYqNcJwSs+G/4ErCJ2wyh0dKrAjse/3+VWteb3iXmpPDTifx/KLgGFrBjNpjVIMeOVS9uBc4+4Oeyw7V6Bgu+eFGJMgdoJY0N8XP8OHE1sC5PJKA4zPRkSHKlnjqu/fvn7lvPvq925d2QcMcdNp3EYHOj4akq7wtlvonjJJ+70oNTJUyvQpquah+PEPuR9fFvlnGSdXtTYTplUnttaVV/y8/hEIP+bxzTL03G0rMObcn3F6gpxMwuHHXlf3i8CPTTWkE+5YYoI+FRlLMdX8P3TXhUzdDC26K7UbpUWcwSksxqtJWANSNabW/NTpTswn05vyYCD8vtluZ6RHgZpEGl3/k98YWmMPny/+oTYBPqz1qW7cNPx15DiUGpLluoSMK3e9VhpPQcu6KCHE+fkz8NFpz6DHkoumbFJZyQzxzUlcoILFMH5ca1SqJx2ZutU3DWiWa2h5EV6veOxP4q4PDdjX8Qomn8d1AQju4Rebog04DfmHhBqsZ7GTfnQTum4fmCTuKLCRntNp/15DNPXnXA7hWQwUFk3VkbndNmuHHyw+LDbEWmSZhaKxQ1TAo/6vvvbIfyxO8c9L84nLcmIW4c1xRnNKs/vnfkHwfq42lmcChrJiQZc2KsBhnZMR5K55iiJk+r9zvxDWF1W+5f+54W9G+AirxrBLG/04dIj7kOi/m1SRQoGhaaiYSV52fjz63fQ8uAcWJ15Anst17jYYMHclPH4LWUMbDrPskzaV1x9ViPBwqjKRI7b7DfcZVtIHyaNmHTi2mpkzuR88FegLPKUcOZFsE74e1DTJfU698ObhTifllkv+mdM0kGCmoRsrI0AS/0tmoqi+e+hwsuzrDXTycjSYzQ+Xo2OKtPgVEvofxms4x/xO1yKwvEAxnZ4i+Y7iPXmk4beGK9TrjPjks5qlJbatm0x8r5+CCirUcaCxcylM3UYBMuI26CzpAmFw9J1M4UYhWeOaSSGRCc1/aFZsButWL0vD7M3n8KuY0Wwa4jFeN+PdKwHjj7lpmCR4nvE1FxsKLKNmehatBYGl+KoGuq1UMQZElMiMWx3H4z4vDb7IDYeUqiKjACc0yEdNw9uGnWHYvnuPCzYflrQkvu1TsEFPSPnhEcUpDjvjHmbT/y4p0I90HCG3KdlCu4/PzSl0uwiO576cY+bBslxMFLXPCMRFP8a1D6txlM9g8WWEeanp+9FbpkybLemVoFvQpQclKrGJwTXZu0Hy6vQ0i1GPHVBG0H/DcbooM3ZchpLd+SIUkS9WqbgsjMbIMNq0tyMsD3fj0t35oDR994tU9CtqQWf/pEl3gGqkRacbjGICHR+iRPzt55CTpHj/9m7DvAoi639bkvvIZ1QpQooiFiwgCKComLvBfXXa0VsqFiuvRcs196w9woWmoCidERFOgFSIL333f2fdzbfZnezm+wmuyHlnP/3uSGZb7753pk5c86chtG9IzF1ZMfkEW/+moNfNhfZZU+6sN8yMb3JWue5QKV2dUapja8zXwAzRQcgGzIzbT+7IBP/ZJYisTYTt+29Bwar++zESBqEjJNfxdJtJaq8jWNtYXdrguWY7j3FlkG4OWIG0bL3b0J9xmrb+WIKQcT5TyvrYFckukaWvz9dWbVJ+sgERE57VSVX8oXqdq5G2XvXN8o1Lg8HHTwFEWc84EuX0rYjIGCuR/kXs1C7cbFT7VSGBdGgQjfvsBNuUGE/ARfA2oKH1aJiq+s2LbH1YjTB2KOvSgLFtemYx8JaXoDq3z+wyd/lhU5Zjh2HQM9EugOHjDnHSc7lnqr+9V3U/btElXQKGnmKlMxpy9y18KwoqwEAlzc1jAvRsu0pd4RLX242UyrLcFR8cS/qszf6ZUQ1xgjMHfsW1u2zoMTFkuTNCw4vX4pzC9+EocF66u4ZdcCf+wTobhwIomDy6A+7sXWfrcYbFdZLj0zGhCGByUDIeMn3ft+r4t4ciXUa6QaYHN11b90DMX8rd5YqAZhWfX8Q46XpCuyrOyYtvM8vzMTmvbZ1REF8wpDYDpdUyB8Y+drH3A0Fyu2axHCA64/riUN6+/fiyZsxUal86qc9Kq5Zm6OrGmInA+CM6s2QkFNSi+/W52PVrlKnjOUGnQ5mlzWdHheCa8elIT2uY8TWc3hUwMnPNBqUHIbbJ/XyeBnBpHn0hNCyL6fGBKvSMSwH5C8qqqxXpZNYA5cUZS7BnTkzEW6x/duVTP0PU2cnieNav6ccb/+aY7/QcG1PzwB6CHhD9Xs2oGzOdWDyILXmkgci6rJX1UVyVyNmTC//5HZQSSfZ4vlm+Jwgp373epS9e61TzLEjVsGHno3wU+7savB16e+xVpeh4vvHULvhB/t3UvkKm3RLkySFnQEIc3E2yliSzzXMQG9Q5SJpYKndsgz1u9Z7VFDdfqfBBFPf0UreZdmmqiWv22PfVXu9ESFjL0LYCY2W3c6AV2cZoyir/p4pqxXln85UCWs0Cp96H1jPzb2jU+MAti38FHFL3Je6qYgfjOSLn4IhqFEY2v7rXMQvf87tF+wIHogXE+9EvZPrlOeP5Y00BVVDg9cX3X3zP70X0dt/9vCQTimqQUOPC+hN257CGtz99Q57/CoVFd6cUzj0Ny3fVopXlmTCnfH56AExuPrYVH+/ssv298f2UuXOqSXKcvehdOsd3adRMWLynNkLMj26DdOF8fD+0co90ZdyIlRUV2WU2q1LTHg0fUI6mO21uxMvaGhd1bLuMj786XMO8PlCoC04UglhLL1jxmXtUmp/V43hRcv23Gq8sChTWWmbo0P7RKmETB2BqPQTUy2ZWJBBhwem9msxUd2qnWV4ftEeh70Sodyw/RG+mltWq5ThwvI6u8t1nKkWM0ufQmie+0va8FNnIXj0mXZIWebssR92YbuHLNFnjU7E1IO9t3LXrP4KFd89ZHd7DBp+IiLOethnJa4jzHlzYyh9+XzUN+SiYLhO9I1fK08vX4nZ10vfuhL8X3cUcswVCJtwna/dSvv9hIClLA9lb10Fc+Fu+x7QGU2InPZGQ5LF/TSwtrzWXIey925A7Y6VTT1peKC0+fJcBxgMsJrrm/avN6g8Ma6VCNryOfKsDQFRVv28Emr/XYyKz++Ctc6Wkcx0wJGIOP8pewH05l7HpEJD1z2FMRW/QYfGFP9lhih8EHc1NoY21rzU+rm44GWMrljulGCp1BCN9+OvxqaQEaoZazz2TQjF4OQwdciv213WJJ6LlsNhaeFOwyt7+2rU7VzldsiMu429faHbDMV+hhR/Z1XgxcWZYJZV9T0hBpwzOhFBBr2ydh6QaIvL9US0kDAbZq3ZqjKeumtP17T/frcTGfk2y44rMSvx7PMG+PvTulx/FO4XbSrGp6tym62PyeyuVxzV1KV7VUaZSpCjuaa6A4humpcdmdxiwq3aeisYl/nj37Z09iRal6Yf39NtGaUuNxlefhAV+f8tzrLHiWoxjf5QUDwNgSV+aMmjMsWaryyroskQxwyMUTWZA5Lgx0tMXJsxLGHeX4X4ak1eE6uq1pZxsUwalhQZBKPB2R68t6RWWY25Jr3hWb4O05HHEbd3l+fYEyqRX143Lg3De7Ycj0x34JcWZanLHRL7+r9jUpWbvC9EPsAY8dzSOnUpxLX0yepce0knLcnaVcemInrvalR8dR9Y8sZOej2Chk+yuZTqnC+V/swsx+tLs5vEnvNZ8ncq10leZramVbX8o1tRt2OFenVXyQ5M+cOc9TfMxTmqrFf18vds0BpMUJfnB53ky3Q6ta3Z8AMq5z0Jq5u6t6xuQEu4Piqh1f1rD1qK96oSaaynbYhJtSlPBt9CAto8iC7UATNB1+/drLL5G+LToTOFoeLbh1Cf+Zf9K1mXPPysh2GI9847oSPCo8rYzJ4KKuLNkk6nyjkaeg5TpW5q13zt/AyThvU/DMyAzDJcFuaY8YJoeY28qPk6tV50I01cEBBl1Z9LwmJB8QtnwuJQoyrqmo9gTBnU4lto4Zj5xQ7kF5djbPkiHFaxFLH1BdgYejC+jzkHxYZYleDIlYzWOhxVthBj2N5ciH9CR6r2JYYYpMaEqGQTtF4xDo1ufsyguGBjIZY1xHNR8D/30EREhxmb9F7y3GkwF+5xP3ZTCOLuWtouyioH8MNfBfhgRWNSBwo7RMNo0KsyFtPGJrtNBsI4tHd+y1GKqtVqVe2P6B+NS49IUu0pRP66tRh/7CxVWWI9XboFm/R481L/1sRtcVF0sgZcwx+vysXP/xQ61XKcNCwOpVVmVVqEmUbHD44BLdXuyoEQf87DF2vzVFboxKggVUqGygwVHCVQAkiNDcZdJ/VWiXM80S+bi5Xiy3GRekSacOfk3l4Lsp0M/lYPlzzhfoeLGl7MMPu2u7rIrX6Jw4NcB6/8kq1KYSkXcdv/K6Lr6f2n9u2QSYw41BmfbEV+Q/kXd1hQMWOs7eH9otQap9LE5E10fSUP4veaDHqM6ROFaUcl+yU+2JXH6eim3LDmyScvOSIZJwz1PnQiu7gWd365vXHfRJjw1NkHNFHAPa2FOrMFry/NUeWb+DO9IDgOXghqRE8exs6GBxuUpcNSlovKBS+BuR70Mckq8z0TALHmsyuxF1pnP1uTh/W7y5QnjOa6zLYsNUR3Z2+JylzJK+fba8CqPAw3fA5dJ1WMKKyXf3Yn6revgNVMnskNZsOedd2jpr0GXUjLFxce8bNaYc7dhqpfXkPdjtXQmYLBWrY20ql5o0W8LVS/ay3KP5sFS0WBmhfOhfGAw1VNXNbZFfINAWVE+eq/SlGF1WJLJKbT293C1dro0QeRV7wBPeNSOzHxAqr4yROdvs3pc/QGZfkMGXuJUsptSUh1ym24asELqFUxqIkIPvgU0K2dWcJZ+oqKfvWyd1G3ZVmz6BiSBiD6uk86MYIdc+iirPprXpj999uHVLC27VQwInzSLQg+7Nxm30DLAuN3WLKDsZn+ie4D0mKC8eDUvm3K5shsibY0903JkDII0Ve/3271tihQPzN/j1JgbKJto+LOn+j+dZqL+xfdCh+ZpyWQcWivAygsUYHaW1rjlVcI6xLePaU3egXA/dhfS3B/9sNENFQwWTpEE5QpiJ4/JgnjBsW0eWjZxTVK8WQSHu1CgZlirz42rYmlnH+nZYi1OjU3ZCq1145PA5MICTVFwLUGLZUbKjn+dsPNLavDw99noKCC5YOcL99am1CpPeeTF2a8OPOGiB2tqEzaVF1HrxDn72VGXtesvN7069jGE4/T2owfHKvm0dc6scsasgNr5WHo4nzNuJazA1MZ/2RVLhgL7fbc0OtAy/mlRyR7rfy2hAkvAV5fygzQja7+E4bG4YIxiV6ff6yvWPnTsw7ZgU9D2JQ7O112YFpUK755wCn+0BG/sCkzETKmeZmkJbyb/N1iRtmHLBnSIMTrdDZXyGETfe6KDyhX47f/D+ai7CYX6MGHTEX4yXeA5fyEvENAZXB+80qYy/I8lmWj+3v41P+qi4fOTkx8VPb6NGWVd0eUycNPntnqzzQXZqJ8znUeDTlMxiRxq62G1+ODoqz6CVPX7L90H4i44Nlm3X8pgL+6NFu5nmoCvqfhnHlIAk5gYiEX4yrjktiPK503Jgknj4hvU81Ia30tSl46B5aC3U36DzvpVoQcfoGf0POuG5YdWZ1R5rYx3dVcYxDp0qbFbHn3huZbUflifUK6kgo1IsA4shcW8SKhwn7ZQqs1rRuDksL8pvAwpvWFhZn4J9uWEIXEGOYZJ6RjqIMSSnfLx37YbXcl5ljo+rs/y7J0hvXy/h/77C7TdNucdXIfv691ZqddvMk5gZmGDa3uj5zer0NaVbUxUnm744vtHmv1+jLPvFB8/Kz+vjzSpC1jvDWXXdc/8oLm+fMHtKrcl9vswMemqXq8zRGt5fd8tROMT3VH/RNDce+UPq0aU3PvJW944sfd9thrJlG7bGwKxnt5UdY0O3AwIs5/FqYDDm/T/LT3w0zUWPbW/6lKA+4odNxVCD3uP34fFpNJlr57DawN7zUk9EXkZa+2qpxd5U/Pofo395fk+qhERF01B/xfIe8QqPjiHtT8OddjY5UU66Rbu5SLdfXKT1H5fdP8L64lHb1D0LWVFdXLP0Dlj8+4fTzizIcQ1AY3+9aNqes/JcqqH+bYWlXSkP13q+qNcS+Rl70MY8/h6t+0JmTkV6kMhqwXyJIZS7YUg7fXToXNdcDQFJvlhzfmVbVm5QbJeKFJw+Ld3o4zMQprku4qrEF1Q/ujBkTjxAPdt/f1c5kxsWrh/1C/byusNZXKbSJ45BQEjzm33W+db/xoa4tJTnz9Piq5tH6kx4agf2KIUnh/3VqCzOIaFV/GeF/HxCpx4SZcdHiScq32JcmPr+PqyO3pzreV8WhltSoWjXhtzG5UVIknM7nSeu1vqqy1qOy1dN3W9g7naMpB8YgMMYKZWlk7NKvhAodC61mHJOCk4fF+F5D9/W37uz/ynIfnZthjHXkpo7myDkwK9Qt+d365Q8WPuyNa/144f6CKSe/ItGVfJT5fnYfMIlvMbVJ0MI4eGI0BiWHYlluJHXnVKj51X0lts6XCaHk9vF+08gzoEx+CnnHBCA+yfTtjUBnTy4zo9CAY4LCX6MXAueLf6XbvqZwLQz/evKz1oQuu2YE5jpNH9EBYkF4luOO/SVQUMwtrkFFQpTJu0/3XUzhFr7hgPHJG2xR0T2sjo6Aaz/y8x86v6Q1z/XFpyi3YG2Lsnsp0q2UHThqAkMPPVzFrxuSB0Md1jORZzX0Lz2vWQYXZ/WWBachxiDz/KW/g8K2N1arKeFQueKHB5ViH4EPPQviUmT4nqyp75z/2EjtNBmEwIfr6zzp1TKVvwLa9dbPhXMYgxM1a1qUUVSJGQ0vNqs9Rs+4bmPN3q2RixqQBCD3+Or8kjlL9r/gENeu/g5nGHLrbNzA9lrqJOP8ZmPq1sR6tuR71mRtgLtij3PbpXtxsLLG5DvV7/lIWX9U+eaDKfNxVSJTVts4ks/9+fDtq/11o7yn89PsRPPIU9W/GZ738SxYqaiywwqoEPhpHHZVUtmMNwKuPScXgFJuAT4WAa5/ZeU1GfbMWUt6CO7b3eyF3cx2s9dyMFuXezJI1+4Oe+mm3Kl3gDyJGpx4Uj7EHxCA61KBiWbWEMsSSmBJ/CpRfrMnDDw5JeihUX3xEsqrP2d2IgvFLi7PAJCeaN4CjYBqIcheuGHN+Plvj7Gro6K6qjYf77LSRNlfLQCYL6iprgM71n63Kxbd/Nia6Ia7kWRT4mYTN17JBjtj8vr1EJcah26Y74kXQY2f2A5WMjk6OPII82pHn0hWWf2dt3yd/2oMcN54vjt9HjHlpxj6GpISBOCzZbLuM4f/xb4f2jQJdcRmf+m+Ord6o4vnNAMVLI8aatoXoyTJ7YWN2YFuuAJsXC915c0trlWs+E1CZWxgPx8F8AdeNT2vLkJp9lu7sj8zNcKrVy3JXtGJ7QzVrvkHFtw80ZgxVH6yHPiwG4Wc+pBKudGSq3bgQ5Z/dZROe3VDIUZcibOL0wHwCa1zSHXjzUlv/Oj3Cz3wQwSMm+/Q+xtvW/vWT22f0EfGIuvo9VTdTyDsEyj++DVwX7kgfm4qY6V+rsitdkVSiU+4FnR7McuzfBF1WWyJVc71Siit/eNoOofIAuPZjxTdaQ4yRrfjyHhXDr+LOOf7QKISf8QCCBoxt0qVq/8XdqN38K2CxtdeHRqv911VqR4uy2pqV5PBM7b+LUPH5rMbsvwPGIuK8J5VCx0yID83NQKGb+CytC1pajxkYDcYWNZcspo3D7BKPb9lXBSqsjsk01JkIqEyXVJQciUIjrX5N2uugLG2Mp/SG2M/3GwqU0qopaFRYTz24ByYPi+82JVAoHL/7+16PbpysR3vD8T3RIyLwGRupkPIC4fM1eR4tS4xPvXFCT7u1ypu57u5taLFjch0mI3ONOTh+SKy6pPE1Sy8tkYxhZBZyd2WhNMxpxb3y6BS/WHA7yjwyI+6TP+0GraG+UVP8fXmeOpYvPM5T36rW9bzd2Jprq8/ZFuIlBGugDkhqPnt7W97B9fXT34X4cOVeu3WXFwAsVUUPjJaI7rPMgs8EQq5EATRy2msd0qpnztmMquXv2ZQ8i/u1pguLQdRlryiLS6CI7sBlc66FpbxQvUK5A6vswN657das/RqVPzyjMgC7I2OvgxB58Yug9UrIOwTqtv2OsjnXN+T6cH7GZv2+M6DlB70bZSdvZTGjctHLNvd1c71t7ScPROQFz0Af42PJQ3O9cjGuXvFxUx4UmYCQoy5p8vv6jDWo/fcXDzzrVZX1uLOTKKttmUFm/33+dDCAXSNmAaO5nrfivJFev9s906UwwSQmZx+S2KFjtNoCTyCenfdXAT50yArMd9AazVhSV4sMxb25G/Lx8UotU6FtRIxvvGlCT58sOJTdN2TSypBlV444h7Susl5odyBaLVjj0JPgPfFAW1Ke9iLGaj/0fQZKG0oaub53yogeOG+Md0JSe425o7/n3eV7MX+jTdB0JVr8HprqfZZgJrdi6SAm3XLMBOuu734JoSrG2RuFoqNj6Do+lk5iPLAj0a2XGYN/21qMnQXVXiV5c/fdjAGNCjFgncs50xoe565/hq7c/dUOr2N06frPuNbl20pUqIBGvOBgOSJaYwNNVFg/XrkPPCs0Ylm2Wyb2ajHRlKVkL0pfv8whu63zaEOOvBBhk24J9Cd437+5DlW/voPqJW8q10dPRLdAJj0yubHKeP8yb1rSHXgOKn+e3dBYB5UU6bR7mn/YakXVopdRtextj8o2O1AhVtNeBUusCHmBgLkWpW9cjvqspnWMjT2H2RT/0Obj0L14izQhAuY6lH9xL2r/bvQKMA0Zj8jzGy2u3gBlKS9A6WuXeKxl7E0fjm2CDz8P4Sfd7utjHa59t1dWLcXZqFr2Luq3/Q5LVQkMif0RfOiZKpOdu9T1Fbl7ULDgTVh3rkBobRGM1oYDwmBE6djpyEg/WblpMQlMcaXthsUd0TL33HkDxJraii3BuCjWi6Ug1TsuBKN6RzQbP6q1Z3xZ7/gQjOzVfHtPQ6LCunpXKSjQO84t+yyrNqvMs317hKj44uFp4W4tRLTM0rVu/r+F2F1Qg/BgPQYnh6tMxnTba2/ieFbsLMXCjUXYU1SjlAUKuqceHI+IYKOKwdu8twp/ZZVjZ35Vs0I1LRhMytNexHjtB7/PaOJSr71/VO9IdYkh5D0C93+XobKSe6KESBOGp0Uod1UqXCxzk1dWi+/+LMDfWeUq3CE9LhgsifXHjhKnusX0gOgVz/0Rp+phMraT8Y6M1RzVK7JFRcL7r+h4LWld3p5bBcZck1848qyC8jpVk5TK3YJ/Cz0q9sSPccR9eoRiQGKowj8u3Oa+5y8e54ocL6amf7zVY6I6ugPTK0gbT2yYbTwMo6Al3cbjDCoul4p10+JrgZkrng0vLcq0h40wvwBLV7FWtyOPo2eTI5nzM1D68vl2TynX0Rn7jEbU5a8FZtCeeqWb4YZ5qFn9Jcx5O6EPj4Wx/2Ewpg1DzdpvUL97XaPbcoM1k2U3dJHxYG1NXXgcTH1GqUv0diGLWdWurd28xPY6Zgc+82EEjTixibcG/8zsrcyLUf3Hx3b3ZSpQtnjhaHVxULPmC1irbMkV9ZEJqo4lKxIINY9A1fznUfXru/b1sTVkCHYED0ZVbH8MH3cSRvaJ9tlTRjD3jAA9Cso/m4n6nWvsjahPhJ14c0OJnObRoztv7frvUTH38WYvbXyZA2OvgxF15Vu+PNIh23Z7ZbX0zStQt2ud8yGq1yPsxBkIOeLCJpO27ZmLEFu8scmhuzl0ON5KuhnVVpNXt+S0UjxyRr8uaUnokCvdj4NivU/GReXZ6y06u+wx9oyWW3eJPZhY681l2U3cIZlg5aHT+/lxlN51RSvae7/vbTKeyBAD6i1QVuSWMlVrb6KbaHtamWlZpbLKiwJ3RDfICw7zztXbO7S6fqs3l+Vg8Wb3mUQdv54xwKwXOjA5FPll9cgpYdKk5lWRk0bE48xRCX6pLdoVZ4Jc5Olm4vJZs5XZg7W8B+2BAZW+u77cbq9x7PpO1ri+/vie7aaE+vLNZdX1qnZ5aZX7S2OGLdx/Wl+nLlXZlNcvhaWsMW7bsYFymzzlLl+G0ea21cveRuXCl+x1YG0dMpZWZ8sj4UBBB5+M8Mm3KiVvf5J531aUvsPswA3uwKzhOe21JtmBmYWZim3djhWNCrdej4hzn0TQ4HF291Qq5RXfPgxYbHOprIKXvARdSOT+/Bzy5jgAACAASURBVMwO/W66hJd/Psu+RsoNUXg05TGU6W2WVF7gXHVsKo46YP+ulQ4NYisGZ60sVknO7KEEugZ94sim+oRj91R0Kz65FXW7NzTZ160Yhv2R4NGnI/zUFjwb2vKCdnq2WyurzOalbjDcEAP4OcmORcnzM7YgbPM8t+1zTD0xO+keVOobYyko8DOjrFbr0fFBZuy98qhUv9Waa6f1Iq9pQICZMh+Z59klltaTI/s7HwJU+qis7it17651tptasYEEnEoes78yTtEb0ut1CDPplTXMlWitmDm5t7IstxfRUs7kZWt2NS1nxL13x+Teyool5D0CrmV/HJ+kcMP4bV+Jngx0yZaSTy0jR+sq4/JdXe15DTB5P1y+kGfN+X2vcuV2JWYuvjXAMagtI9Z8C1q0WcbKU8ZkXmbxUksjlajk6/s9JviJOIf1Q2khbB9SbsksRVOU1ewLjX0PRehRl7SDm6+X383swMvfB2u1227vdQgefQbCT2F8pF51wouByrmPo5b1WRv4CrOXhp16d5NMqpyXqh+fRfWqzxoGoEPQQZMRfuos6EyBi4H28ms7XLO67X+g7P3pdkt1vjERrybcin0m5/hJejvcd0qfblvZIFATV79rHco/uc0eu801GnbqLASPmNQkOzbj5GtWfYbq5R/CWl3a7JDoccBLGkc3+PKKSmx+52703dc0ZrVCH4Ht4x/HuGOPCNSntlu/3VpZLXv7KtTtXO0XsOt0JjyY+jSKDXEq0c+UEfEY0zdKCdJvLMt2clXsyvFZfgGzk3Ryw4dbUVTpPutiaz6BitXD7WhdpdJ815c73F6mOI6fLuvMmsw1HRqkV+Uh6IatEUtk/GdcqspW2t5UWl2v6iuyVrFGHOP1x/XEQV6WrGjvMXf09/2+owSvLXHmWbyEuO64nli1s0zFtDqWc/L0PTT83Hh8TxzSu/uWeWrNXDNx2AcuMa50u755Yq82ZWNuzVj4DBXnZ+bvUa7GGtG6yxjUY9shBrW14+Zz5HEsl+RJWR2cHIa7pziHLlgqi1H+/o2oz/y7yauN6SMQedkr7ZYRvz57I8reuEK5yrojxnCGTb5VlZPrcBldrdaG7MCN7sDhZzyI4INOUso367LSTVkjfXicrYZqrIeENBYLyj++BbWbGvoDEDL2YoRNvEkSBDksDmttFUpeOhuWomz7b9/qcSPWh41psoR4dr96ySBxBW4Lk/HwLOOEqWPQe4DE8jmRFz4PY59R9ifqtq9A+ad32JRUh4tgegzoIuJhyc+wt6XhLOz0+xA8fJLTG8njHvr8T0zLfhJ9ahsTw9XqgvBB/NWo6je+CY8LwOcGvMturaw2l9LbV+SrDeH496S3cEC/dPSKC1EeOhox1o8xSSo+KyYYB/WKQBDrHQh1agRmfbVD1Tr0FzF7LcsstBex/u+sL7fbyzy4vpfK8+kjEzA0NcwpGRUFP5YQYi1TWlQZO8e27RWP5jpOuiqyRBTdgllrlUleWM9RqPUIUPlnBljyLJb9ODg9wl6ehcnjGC/MuPxfNhd7VFwZq/jk2f0RFdI1yyK0Ht2Wn6RFkDG91XVmdZ4c3Mo4+5bf5F0LWli552l5p0WVLrT92jEG1btRNm2VX14H8mlPSeEYS0tl1TXDNS15dVt+hTl3B+p3rwctVYoMJoRNvNFtiFBrx9jcc8yuy1Alrfara9ugg05CxJkPBeLVfunTvHdrQ3bghmRXekODJdTq9E2mvqPBkn/6mOaTFbKGZPn708HYYhKzAjN5E3OMdCTaW1qLb9fnq/rjjFPvGRuMCUNiMaZfVEAVQ0tZnnKrZs1gbb3+FH8u5oWcCKubE5oeSC9eMLBLZWBvj3VAfrhyZ5nKMbCnsEbVnubFF0vlafWn6aJfvfIzVM57orEGa1CYrQxNWBT0kYkwZ//rdBFFy2nwwVPARG668PgGHrRNufXzosyYyrrZzpKWJsfV11ZjaNV6pNRlgRbVjOAByAzqA+bumNEFcnd0a2W19u+f1a2GP6gibhCSrnodQWHeFSD3xzulj/2LwA9/FeKDFXv9NoijB8aoWrvtRSz78s36PI8x1lcfm4ajB0g8S3vNR2d8D+t+0hXbHVERuHNybwSb5GKuM85tVxgzy5bRDZiXK+6Il8qMu73qmFSnWrmObZWlavZUUBGwKQBGRP/nIxiS+gccImYGpXWGiZXcUcQ5j3U4Rc11nNW/vYfKn55VNYHdXWiyDmTkhc95XQPTXJiJ0pfOAS8UFOkNiLr8TRh7jQj4fHj7gvu+2YntebSoNX4x19plR6aAuR0CRYzrrVn9hb37ldHH4cPoabB4uEruERGEp8+xxcELeY8AL2nf+rVp7pEm3nHMcr3sLVQteKnFzvXxvRB5wbMw9Ojjk6dAd5HjOqyyWlpaiuXLl6O2thZBQUGYNKnR9M3f5+fbEiCMHTsW8fGNMSctrgiXBoxZrVn1hT1wX/G+yHiET70PpgFH2VvTmkB33tSVszG2fDH0aIzbqzTFInTqfYgffoyvr5f2nRgBron/Lc7EqgznmEnerNEN1V285KacSiXcF1Q0dR/m7T5rtzIzcCAPD1oiWf5n8Sb3iXT47nGDYtTB6ugh0ImnSoYeQATe/i0HizcVO8WzxoQZcfWxqSpzsJAgsD8R+DurAq8tzUJhhefs/MxqzdhVujUzw7Er1WesRdlHt8BaVaL+ZEwZhIiLXmiSMMjf30mrbvnHt8NS7pLwyWhCyKFn28rodHAmXb3yU1R+/5hbaPQR8Yi66l2fa1HW/vUzKr65H7xIIBmSBiLyoufAXCP7m1iTnaWT3BFlgntP6eP/JHMWM9SlgErEZZNNdwYPwBs9bkKZofkLZ4bvsL41PWGEWkaAuTIempvhFHrk+NRZhyRi6sge9l9ZK4tQ8vJFsJTkuO2cVtPQ8VchZPSZgNH7ihDdTY7rsMrqp59+isMOOwwxMTG4//77MXToUFx55ZVYvXo1fvrpJ9xxxx349ttvsW7dOvVzWFhYy6vMXQurFTV/fo+alZ+BN3ZBg45G2AnToYuIc2q9dlcZnl+UCbPZgjHly3BUxQL0qM9DUcoRGHDObQiNab3C3LqBy1MdAQGGGcz7uwBLtxQrV7PD+0Xj3EMTmy3DUVVrwUcr92FVRqlSSh3L4PB+89C+UbhmXFpASnlQwX5k7i7l4qkRY1LpyrunsBoJkUHq5pcWVSbUERIEWkKAe2DpliIs3FSsytiwDM15Y5JAFzMhQaAjIMBkch+v2gee4+RxLJ3EfBKOyQ/J7Vje5taJvRAbbsIXa3Kxdnc5EiNNmDg0FkM2vaGSBmkUcswVCJtwXcA+j5bc0v+dByZgaWTWITAmD1RlXYKGndAkWUvABtOGjsveuwF1W39z34PBhOhrP4YhwTkrc8uvs6Jq/guoWvaOvakhrif00SkwF2UjaPAxCD3+WuUm3N408/PtKkTGHQUZdXj+vIGI8ANv3LRkHnSrP0JIVT7qIpMRV/iXPYtsrjEZj6c8gjqdTfnhBQw9CDIKqlXYBmsRO7rGn3hgHC5uxxrp7TEndNWl1fGPHaWqxNfxg2NxpB8yHzO7+M2fbvNYzoshSI+c0eh1YSnNQ8nzU+0XK67fbkgZjOhrPvQJku4ox3VYZdVx5t577z1kZGTg9ttvx5NPPolp06YhLS1NNbn77rtxww03ICkpcCUqXLOmhpr0uOvkPu2a+dSnlSyNOxUC63aX493lOWB8FYkeObztvGxsil8F/tzSWry6NNspUQrj4S49MlkytXaqFSODFQQEgbYiwPjbn/4uVMKso9LK853CfZFDnXRe6E0cEIKTtzyC+oyGGorGIESc/QiChhzX1qE0eZ6WVBV7uGeD7W96oy2Z0ITrO7wl1fVjKr64GzV/uq+ioAuOQNR/3ochvpfvGFqtKnNzzfrv3Zb60Mem2Tzk+o72vW8fn+CFHZMOzvurQNVR95Q1ncrqM+cMAD1P2kK7Pn0EEf98CZ1L6SL2WasLxhsJN2FTyHCVkO2I/tGqtjUTf2rEmuosk6XJHFzfvGA8YWhsl7ik3plfrTzYmMdCI8pVrAnd1vJ6f+4px9M/7/E4x0zweMkRyaoaBI0RdOUvffEcWCrde7KZBhyJyItf9Ho5dFc5rlMoq48++qhy9b3qqqswY8YMzJw5E8nJNnePe+65R/0+PT3d68n2pSGZ0LPz92Dt7kZXz2vHpzUpS+JLn9JWEHBFgFbN/36b4SQ0JUYF4Z4pfRDbxoON78opqQXjaBjDpVFCpAmzTu6DHhEmmRBBQBAQBLolAsxy/PzCTJQ41WN1H2F5/Uhg8MLpSgBVOmR0MqIuf8NzBttWIlr+wU2o3bzU/jTjOiMueMaplF4ru273x2o3LkL5x7e6fa8haQCipr0KXVhMq8ZlrSxB6euXwVywy+3zxp7DEXnpS6BSHEj6Yk0evv0z36ua5LwgvueUPq3O7L3pl7lIWHSPx4SGryTcho2hBynr7W0n9lLJ0NwRPbpmfrHdycLKjO9H9Gv/rP7+nBtaVJ+dn4n1e1gGpql3GOPTj2llFvPVGaWYvTDTY54P7Tv41j49QnDThHTEBdWhbM71KlGbO+KFSvCo07yCoDvLcR1eWV2zZg3oEnzjjTcqa+ott9yilNXExEQ1uQ8++CAuu+wyr5VVxsCWlTWty+hppfy1tw5zVhWpeqmkwQlGXHF4HHhDJiQI+BMBZhD8YHUJdpc0Fnrv2yMUZx0UCZY2za8EmFg1NVKHhGa83s1WIKPYam9Pzvr938Vg1jgSvXsHxetx/iGxbb7h9ef3S1+CgCAgCOwPBJj1etHmEvyxpw4V7stgq2EdlBaCC6w/IfSP1xuGqYNx+CRUjZuBjGKgoAoINQJpUTrEt6L8p85cC+Pvb6F+TWOSnLqUETBMuafVCt3+wNP1nfWLX4Lp7++dcoNYQmNgHj8dRofcII7PFVYBe0qtqK6HwrJPjA5GN7na9N/cDWvGCrefyRIgOOc5WGKbWm4NZTkw5W2BrrYS5qhU1CUfCKves8WzKj8bwQVbYaqvQEV4GoLSh+HfQh0WbC5Tmbsdiec0z2xPZan79QjBuSOjkBzhuxxZMOdm9ChqyPbr8tVV+jA81vdFHNo7AhOGRLcYG7t6VwU+WFeu3IJJ8eEm/N+RcUgJrG6v3pVbAWSVWVFnBhLCgb4xzWPBIVKu4XMMr02J1CHJxcu73gLklFnw6m+FKHNTD57vHZgYguvG+pY4kvO4KsuMbzYUua0zr00DZSvHOY8ONWLcoGgcUr8BUUuegL6iISu2EsT0qBs0AcaJt7r1lvC3HGc0GhEd7dt3dwTeoY2hQyuru3fvVsroAw88gJQUW0pzWlKvu+46u2WVf7/iiiuQmupdFlUqqjk57gOdXSeGG/iFVWaUVDfsZADXjjagR5jvDKYjTbqMpeMiQP763gYzsssa15zraE0G4IzBBgyKb7oOGcvw2UYLthV5fr5/rA7nHmhwe/B3XGRkZIKAICAIBBaBvEorXltjBgVFTxRk0OGaotnoX7zS3mRhysX4xnSi/d9UVs4aakC/FgRw13eEbF2IiJVv2CVec3gCSibeC0t4QmA/vB16D85YjpDNP8JQmoPatJGoHHUhLCHuheedRRZ8+q8FNQ45sfrE6HHugXqlqDhS9M8PwJS7sdkvqEsehupBJ6ImbZTKHmzKXo+opc9BV9+oZNalDEPpMbfAamp6y1C1Yw1S/pgNo6XxJmNL6IF4I/4mVOsb2/NEHp2qxwn99Pgr14I1OVYUV1vRO1qHjBIrqlzyKl4wzIAD4nyTJ01f3IzoqsYaqo4fzhjVonNeh97kfem29Xut+HZLo8cV3WWvG21AbKhv4/JlCa3fa8G3Wxov5fnskB56TB2sh7vk8fUWK77814JNBY0bk+M8bZABwxN14L5dl2PFhlwLKpvmrnQaWmwocMOh3rth842Ldlrw2x7n8Y5N16sLiY15FkQH63BICsMHgK83mUGl2ZEignRIDKrCobs/xEGVq1Bo7IEV0ROQesh4DOrR9AYmEHJccHAwevduv9KIvqwHb9p2WGU1OztbxadefvnlGD58uP1b3nrrLSQkJOCUU07Bn3/+ic8//1zFskZGRnrzvV63qTVb8frSbPy+vSH7n16nYvvo8y4kCAQSAbrqvv/HPpW0yUZNXdKiQo2qLEi6Qz1RMvQ5y/di0aZCt+4vRoMOkw6Mw9mjEwOabTiQ2EjfgoAgIAgECoHiqno89H0G9pY0Y14FEFufj2tzH0dSve3iu1QfjVcSb0dmUKMwyLhE1s1mneIWiYkeN8xD5bcPwVpni7PTRyUg4pzHYex1cIuPd6UG9DBiEsBCZeJ2VpiOOiAaVxyd6pR8sPq3Oaj86TmvINCFRMCYMhj1uTtgqShs4iQafMhUhE+506mMTsHu7aieczVCapu2/y3iOHwee6kqZzQsNRwnjYjH0JRwtwmamftkzu85KkZas77RVffMUQkYPygWPJ+bo9yyWiz8twgJSx7BqLJlbpuWRR+A9OnvQ+9DVll29PHKXMzdkK8kDdKQlDDcPLFXq12Vm/sO1qZ/7IddIB6OxK9nndKzDnG+mCFWn67OxXd/snSUM0bBRj1ovcwrr23RNVd7F+NzJwyJw/FDY1WiteaIHhefr87DL5uLQPmKxHj2Cw+jLuDedZ2x7vM2FGDx5iKXJEwix3m1ST006rDKKhXV9esbfbyZFfi///0vQkNDce+992LfPltq8A8++KAt3+/xWS37b33DFevwnuG4+YReAcnQGpAPkE47PQIsL8OEDf6iA9PClYIrJAgIAoKAIOAege/+zMcnq3JbhGdk5QpMy3/B3m5b8GA8n3S303OTh8XjwsNbTv5o3rcVpW/9H6xVjLMDdKYQRFw0G6a+h7Y4jq7WYM7ve/HzP7xwbUrM33D/aX0RF+6cZ6HklQtgzt7U7lAUGePxRPLDuHDcQBw9IKbFKkLUd+Ysz8GCf52T7TAbL9eJpwz8xOODFfvQp+pfXJf7GIxW92WYasbfjJTxF/mMAxWxR+ftckq+2D8xFPec3KdFJdrXlz3zs3MOGF+f91d7Jj+64LAkEHt3ROvm7AV7sH5Puf3PQUY9Zp3UG8SmJSoor8PT8/dgd4Gzi3hLz7X09+4qx3VYZbWlCQvk30urzXj4+wx7+nFm95p1Uh8VMC0kCLQXAqwLeOun21BrdvEpaeUAyGDvP9XXEgGtfJk8JggIAoJAJ0SAQiotKUu2FCOnuFbVnxyYFKqSstAaxEyjGflV2F1QhRPyPsRxpfOga7BJrQw/CttChmJn0AHYZ0rFsLRw3OHmgtBaV436HSthzt+lrHI1Kz6BuWC3DS29EWEn3oSQw85VLqtdhWgxZTIrlkxJjg7CsNQIlfuDClxmUTW251ZhR14VVmaUOSX9cfx+Wh8fO6O/et6RzPkZqFr8qkpiw6RL+h59EDxiMvTx6TDnbEZ95t+oz/oH1krNW8k/qNbpTDBe+w3ik3yr7/rzxkJ8uirXbnlTFQD6RmFgUphK0pQWG4whyeH4Y0cJ5m8swq78CoyuWI5Tiz9GlLnxG+oMIbBaraiK6o2w0acj/ojTYTR5X6vTEQVmxGYyUdYl1uiwflEqQVN6bDCG9/RPIOuNH21V5XP8SVwXHGO/hFA1XiaxogV30aYiZBbVgDI8PRwyi2tQ4pDlm2OgXE9L6xH9o9T6ZHudTod1u8rwb06F3drMhJRXH5uGwcnel8lkmUJaWGm59pQh2lccuqscJ8qqy0qhy8Ez8/dgnUP23+vGp6n030KCQHsiQMHonq932NPLt/Xd4wbFquLfQoKAICAICAJtQ4BKxfotWQj7cjqSqnc6dcZEN2/HX4/eo8c1qV9pra1E+QczULdzVdMB6HQIHX81Qsdd1bbBdbCnN2ZX4LkFmU7Z6Jk8kMrZb9uKm01a46Ss6nW46YR0HJQe4TEbbnOfXrdjJSrnPg5znvN8tRauiuAeSL7pU5jCfc9mzEsPWjMdM/Q7jsNk0KOu4aL66LL5OKvoPeigXVzrEHLE+Qib7D7Lcmu/J6+sTmUIrnUNugRwcHokrj8uTbnBtoX8bVntFR+Cu07qjQjXYGY3g6RM9drSLGUtdU1+RYVX86R0fTQlJhgPTe3bYsIqd7iIHNeW1dL4rCirLjiu3FmKV5Zk2zfrwekRuOH4nq1apP6ZIumluyJA15z3ft+r4lRcKTLEgIkHxjVxG9qyrxKsA+auPW/4e8eLd0B3XU/y3YKAIOBfBGqqq5E3ZwZCM1c0UZ5KDTGoHToF6XHOPJfWv9qdq90qW6b+hyPi3CfA2MquQoz/fWReBugp5A9ixlXWIZ8yIl5Z0nylzK2bUP/htU4WSq2PzSHDQHdu19jIo8t/RpTZlr/EkcymcESdeheCR0xqVf1bWpJfXJQFxqO6oxBLFSaWfotxZT/CaG2wRuoNCDvhRoQccSGgb5vi6O6dv20rUTVK3dHJI+Jx/piW3do9zQnXAq23WQ71T7W2jEalddmdjELFnmVjXIleD7dP8lyex904qKT+nV2BBRsLsSGzHPSksJH7clW940Iw/YSeSIxsncVa5Dhfd6j79qKscolauUyt6lbl9s+32y1ZZIqPn9nfqZiyf2CXXgQB7xCoqrPgmZ93Y9PeSrVOydAZN3HVsak4rG/Temh0O3l6/m7lzqK1DzbpcfWxqeqAFxIEBAFBQBDwDwKWoiyUvj4NlvJ8v3QYcuRFCJt0s1/66iidvP/HXvz4t/sYVEdFhfJWZIgRYw+IRly4EV+szUN1rcWmQvDgU3KaM00dmYDTDu6hcolocpw693Q60LXWkfh7htTMXpAJ3ZbFuKjgVQRZa5QLtxU6ZAT3x8sJM1V2Xz7KPqJDDThqQDSGlvyB5N8eg8FMpbJpquiwk25HyGHnqHIkvtL/Fmdh+fYSNQ71n9UKq872r/ML3sDhFUvsXepMwYi44DmY+h/m62u8bs84zVUZ7ss70v36qbMP8Lovx4Z0M773653uFVUdVIIqWs2ZNMmVqusseG7BHvyTXWGXaxhzOu2oFBzbypqpfAeVVeLPREqeiOvxmnFprfpm7SGR49oEn3q42yurjKP4am0eNuVUgrGqmtuFUa/DZWNTMG6Q7+4dbZ8W6UEQaESAN3N0o2JB6FCTXsVY8LbeU+5A3hRuzKlQGS3DgvToEx+KnnHBrXKbknkQBAQBQUAQcI+AOXc7Sl+5CNZ6WwbftpJpwFhEXtyYtKmt/XWE55/4cbdSCtwRldCx/aMxJCVcnWuMK9Sy4mYV1aj44Ipas0qoVFZdj/kbC7GnsBFrnoF9E0Ixtn8UtudVq0tautUmRQfh2IGxOHpAtKov/k9Wubrw3brPJueRUuoykV67E6GWSuQZk7A15EDU600qNnlQUhjoppwSEwTKgqT8nf9Ct2+zqrOKsjzUr/oYqLdZRHVBoQg5/HyEHHulSo7lC9355Q7U79uGySVfom/NNgRbqpBrSgFdyQdW/2OPh9aFxyHi9PtgYl1apb0HhmZ8sg15Hiy9hIJyMRU4d0qlpxFRyXxtaTaYdEgjZhzmBTpVf877ganusyhr7XnZwH5olaUrMi2evXt4loO8Raeooh63NJMbJC0mCI+f1ToF3XEMvspxNJ79I3KcHcJurawysP+/3+7EjrzKJm4fTIxw8wnpyoolJAgIAoKAICAICAKCgCMCyrL6xjRYytxbVs06AyzQq3ANTZSwmuvsdVRd0QwZezHCTpzRpUB+//d9+PEf91ntWXaESf96RDpn9/UEAC1sDI1ZtrXETcKapm6cVGr4jLdEpZixiSwN1xLVblyA8s9mAZzPBgo+eArCT70b8KF0zKu/ZOLIX69Hau1ujxfK+thURF01B/pw95lrWxqrL39/YWEmVuxs6nLr2MfA5DDcPCEd4SGGZi/BOSO78qvx0NwMp3kY3ScKN03o6cuwAtaWVs9ZX+7w6Ip9ZP9oXDu+bZbVgA2+G3XcrZVVlgVheRB3lBoTjHum9AFjA4UEAUFAEBAEBAFBQBBwRIA1USu+fRC1f85rAkyZIQovJs5CjilNWeluOzEdkcZ6VHx9P2r/+qlJe31EPCKnvQpDQr8uA7Iq/7EwE+sdElY6fhyzzV59TKrPRgFa2Ci/0WLrmiinJfCoiDKBkDslllbVy8emeF2upW7zMlR88wAs5Q3KuE6PoMHjEHbSrdBHe5chOGvuywhd8brHYRt7HYTwU2bBkNR2615L2PDvtFwz8VNpdfMxxvTaOn5InIodZuyoO2K+DbqBa3GhdN2dMCQWp49K8CohkjfjbWsbZun9cEUufvy76YUK6+DeMam3VAJpK8h+eL5bK6sPzd2FTTmNabod8WQMxBNnHQCmqxYSBAQBQUAQEAQEAUHAFQFrdRnKP5yBut1/AhaLctHUhURiXp/p+KFioGpOp83zxiSBCWrYvuyDm1C/Z0Nj+9AoRJz9aEBjEffHzFGZfG7+HtQ2JLHRnFcZD9o/IQS3TeqFsKDWGwSWbinGu8v3gvGQnogeswadToXCnDy8B8b0jVTZYF9dkgVa1eiHqtPrMCAxFLee2EuF2vhC5uIclL15OSwljYYPY9qBiLzkJYAuwVYrdEyEZHCQJa0WwGJWFnllmS/1UNfXYETszEXtnnCLZZve/i1HldEhPnq9Dr3iglWSrJIqZyWWsjK9EIemhqsyRJp9m3HKn67eZ79M4DycMSoBp49M8AXedmnLi4vZC/dgY3YlLPwIHRBk0OOKo1NAy6rQ/kegWyurLyzKxIod7t0deFP0yBn9EO9SfHr/T5mMQBAQBAQBQUAQEAQ6CgKqbmrGWpgL90AfGgVDymBURfXC4z/sxs78KjVMuqTeOrEXBqeEwVpX1dA+09Y+dQgMPfp0lM/xyzhomXt47i4w9pTEWpfnx0k5XAAAIABJREFUjE5UPzOzKnHwJe7R06CYMGmVm0yxGuZnHZKI4WnhKlGmY6gnx5VRUG2LcY0KUnGzVLxaQ+Z925SFlfVcNVKWVYsF1poKGHr0QtDIU2CI7wPz3s2oz94IPqNq61o8J/fRhcci5qbvoAv2vrZna8bv7hnWKd1dWIPqOjNSooMxNDVMKauLNxWpCgWOSYkYLtcrNgT5FbXKYh0VYnRyq6U8fe6hiSoZEq2rHZGomP+bU4mckhqEmgzoFR/cbG6QjvgNXXlM3VpZXZ1Rpm5T3LmRsPDuzEm9VYIaIUFAEBAEBAFBQBAQBHxBgAI/4/WYpZ3UMzYYd0/p02FcIH35Fl/a0rWSJVlYCpBEJfH/jk5VyYv8TR1GjrOYUfbeDajb/of6RPeFUHz7elO/MbaEW45WWd+6CEhrKvrPLshEbmmNsqbayP0XM2HWDcf1xCG9IwMyFum0eyDQrZVVTvHHK/eptOrM1KURg+z/My4VQ1PCu8cqkK8UBAQBQUAQEAQEAb8iQGvNx6ty8cNftng4ulOeMTIBU0f28Ot7Olpna3eV4X+/ZNnjQpmwcvqEdJ9dbL39ro4ix1kqClH2zn+U1dQr0umVRZ2W0/qsjQDdgxtIH5OiXMON6SO86qq9GzFb7bKtxXjvj30qBtgd0ZvgthN7YVBy+1uG2xsPeV9gEej2yirh/WNHKRZvLkJuaS0O6hmJs0Z3nODvwE6/9C4ICAKCgCAgCAgCgUKACusdX+xQ7oVKYdXpcP9pfdG3h28lTnwZX35ZnapT+ndWBZKjTZh4YDwO6R2h3h1oouLiWK+ebp8MqWJ5kkBSR5HjSl6+AOacTR4/lbVS9bE9ETRiEoKHTwYz/ZJq1n+PmrXfwFKSo5I0hU643ucyOIHE11PfN360FYUVjRmRHdvRzfvNywbvj2HJO7sYAqKsdrEJlc8RBAQBQUAQEAQEgY6DwJZ9lXhm/h6UN9T4ZHbgW09MB0u3+JvW7i7DO7/lqPhCjYIMOpxwYBzOH5Pk79c59cesr28sy8Zv20rU71mj9OIjknH8kNiAvrcjdV7+wXTUbl7mdki6sGhEXfYaDEn9mdWpIw271WNh+cdtuba4bFeKCTPixQtsScaEBIG2ICDKalvQk2cFAUFAEBAEBAFBQBBoBgHmxZjz+17M31ioWtG+ee6YJFX2w5/ETK0Pfb8LOSXVTWrH8z03TUjH6D6Bix10zf7LUKpbTkz3SyIlf+IUyL5q/5mP8k/vdHLp1d5n6nsoIi5+HjpjYK3Mgfw+175/3VqC15ZmOcSuNrYY1TtSZQoWEgTaioAoq21FUJ4XBAQBQUAQEAQEAUGgGQQqasx44sfd2J7XmB2YFkdWHGDZDyZfaivtzK/Gw3Mz3NYQZd/jBsXgyqNtbqf+plIqynN3IbvY5u7M5JSzTu6D3vGBc3f29zf4q7/KH59B9R8fOWX67egxqG359jd/zVFZgh2JGZZvPL5nt5z/tmApz7pHQJRVWRmCgCAgCAgCgoAgIAgEGAFmB2Y5F5ZLcSTWGr1mXCpG9mqb1ZPumFRW6Y7rjg7tG4npx/vf0sW43JcWN2b/ZXUSKsWByP4b4CnyW/c1G35AzbpvYSnOQdCgoxF63DXQBXXdREO/bC5S7t9FlfUY3ScKZx+S0GHL1PhtkqWjdkNAlNV2g1peJAgIAoKAICAICALdFQEqqY/OY+3VyiZuulGhRtwxuRd6xbXeEplXVqeU1fxy9wlvWNuUbplUjv1Ja5j9d3EWahqywrKu6Y0BzP7rz7FLX4KAINDxERBltePPkYxQEBAEBAFBQBAQBDo5AntLavHAdxkorW5MfuT4SZOHxePCw1ufBIn21BcXZWLFDlt9U3d0cK9IXDc+zW9lZKrrLLjji+12Bdlk0OHh0/shNcDZfzv5UpDhCwKCgA8IiLLqA1jSVBAQBAQBQUAQEAQEgdYgQDdgZk/15KZ7UHqEqkvZWtpTVIMnftilXDFJdMftERGEWrMFxQ2/4+8HJ4fhymNSkRwV1KpXVdZasG53GbKKa7A9twr/ZFeofpj999IjkzF+cPfJ/tsqAOUhQUAQ8AkBUVZ9gksaCwKCgCAgCAgCgoAg4DsC+0pr8eD3GU6Ko2MvbbGsMm70yZ92q9qqJNY3vXViLwzvGY6C8jo89dNuUJnVKC7chLtO6o2k6CCVndhbYsbhZ37eY08U5fgcE0XdMrF7Zf/1FjdpJwgIAq1HQJTV1mMnTwoCgoAgIAgIAoKAIOAVArSoMnPqr1uL3bansnfThJ4+x5RarMCXa3Px9bp81S8tqmeMSsDUkQn291Bh/WDFPqzKKAVL6ZB6RJhUIqRhaeFejZ8W1RcWZuKvrDK3pXGuG98TR/SP8qovaSQICAKCgLcIiLLqLVLSThAQBAQBQUAQEAQEgTYgwCRLLy7Kwqa9lagzW5RVk8omiT+fNjIBZ4zqAb3Oe3vnjrwqVRanvMaWZbhfQihun9QLEcHOiZQYX/rKkiys3VVmfyffc8PxaWBNVFpn9XodQox6GA3O76eivWVvJZ5bsAdVdRa3CJw+KgFnjmpUkNsAkzwqCAgCgoAdAVFWZTEIAoKAICAICAKCgCDQTgjU1luwPa8aBeW1Sjn8am0+ckpsLrpUHs8enYCTR8R7pbBW1Vrw6A+7QIWVxPqmMyf3Rv+EULdfw4y93/2Zj7kbCuyxs0FGPaJDDSitMiMsWI+BSWE499BEZXndXVij4lO37K3CzoIqlFc7l91xfMmRB0Tj2nFp7YSivEYQEAS6CwKirHaXmZbvFAQEAUFAEBAEBIEOhwATL9EyynhQUrBRj+uPS2ux7iotoe8u34tFm4oaFF3gsrEpOK6FBEe05H67Ph/frM/zmOyJimpokB6ZhTVwX7W1KYxnj07EaQf36HD4yoAEAUGgcyMgymrnnj8ZvSAgCAgCgoAgIAh0YgQYQ7o6oxQvLc5CfYNPcHSoEdcf1xNDUsI8ftlfWeUqhpSxpCTGnk4/Pl0pmS0R37lwUxHe/32v/Z0tPcO/0z243txUfY2PMOHuk/sgIdLkTTfSRhAQBAQBrxEQZdVrqKShICAICAKCgCAgCAgCgUHgl83FeOe3HLvySOvmHZN7Izm6aYkZxr7O+moH8srq1GDCggyqvqkvyuLmvZV4dN6uZpVVZhUONenRMy4YE4bEKeX55V+ysHVflYq55d+ZWZiKdd8eIYEBRnoVBASBbo2AKKvdevrl4wUBQUAQEAQEAUGgIyBQa7bis9W5+OGvAvtwBiSF4ZYT0hER0pgsiTGvzCr827YS1S7IoMMVR6di7AHRPn0G41yprHpKmMS418nD49EnPgSJUUEqyzCJiZoyCqpRVFGnlOS02GAV3yokCAgCgkAgEBBlNRCoSp+CgCAgCAgCgoAgIAi0AoHZCzKxeldjiZkRPcNx4/HpCDHZ3HuZzfeFRZn2eNNRvSNxw3E9YXLJ4NvSqxkj+9gPu7GnsLpJU6Neh5sn9gLfLSQICAKCwP5EoMMrqx999BEGDRqEUaNG2XH67rvvkJWVpf596qmnIjU1dX9iKO8WBAQBQUAQEAQEAUHALwhQiZy9MFOViiHR1XbCkFhcfEQy9pXW4uG5GSissCVjSooKwl0n90Z8eOssmyyh88ovWcgvt7kTk5jg6cxDEjB5WDx8qKDjl2+XTgQBQUAQcEWgwyqr+/btw2OPPYaysjJMmTIFU6dOVWNftmwZ1q5di+nTp2P+/PlYsmQJ7rjjDkRERMjsCgKCgCAgCAgCgoAg0OkRKK6sx73f7ERhRaMSGWoywGy1gm7AJJacmXFCTwxPa5v8w3fN/asAm3IqlLvvsQNjMbxnuKr7KiQICAKCwP5GoMMqqwUFBcjOzsb69esRGRlpV1YfeOABXHnllXZr6r333otrr70WycnJ+xtLeb8gIAgIAoKAICAICAJ+QWB7XhWeW7AHRQ1WVNdOxw+OxSVHJPvs/uuXwUkngoAgIAi0EwIdVlnVvv+9995zUlZnzJihLKlJSUmqyX333aeU1/T09HaCTF4jCAgCgoAgIAgIAoJAYBGgO/DDc3chu5gxpU3tnP85Ng1HDfAtqVJgRyy9CwKCgCDgfwQ6nbJ6yy23YObMmUhMTFRo3H///bj88su9Vlarq6tRXFzsfySlR0FAEBAEBAFBQBAQBPyEQHapGS8tL0VNfdO6pnzF6PQQnHeQ5zqsfhqGdCMICAKdHAGj0YgePXp02q/odMoqLanXXHON3e2XyupVV12FlJQUryahoqICeXl5XrWVRoKAICAICAKCgCAgCOwPBLJLLXh9TY0966/rGIYlGXHe8KY1WPfHWOWdgoAg0HERMJlMSEtL67gDbGFknU5Zff/996HT6XDhhReqZEsLFizA7bffjvBwSa/eaVehDFwQEAQEAUFAEBAEnBAoqKjDw9/vQm5ZrVtkpo1NwfFDYgU1QUAQEAS6NAIdVln9559/8Pbbb9vBj4qKwvXXX4+QkBDMnj0bTMBEeuqpp7r0BMnHCQKCgCAgCAgCgkD3ROCHvwvx6ap9TtZVlpMZmhqOmZN6QS+1ZbrnwpCvFgS6EQIdVlntRnMgnyoICAKCgCAgCAgCgkATBOotVqzZVYYFG4uQkV+FmDAjRvWOxEnD4xEdahT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REWe18cyYjFgQEAUFAEBAEBAFBQBAQBAQBQaDLIyDKapefYvlAQUAQEAQEAUFAEBAEBAFBQBAQBDofAqKsdr45kxELAoKAICAICAKCgCAgCAgCgoAg0OUREGW1y0+xfKAgIAgIAoKAICAICAKCgCAgCAgCnQ8BUVY735zJiAUBQUAQEAQEAUFAEBA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Q6pbL6+eefY8OGDQrt8847D0OHDu18yMuIBQFBQBAQBAQBQUAQEAQEAUFAEBAEPCLQ6ZTVX375BevWrcOMGTPw559/4qOPPsIdd9yBmJgYmWZBQBAQBAQBQUAQEAQEAUFAEBAEBIEugkCnU1YfffRRnHvuuejXr5+aAv774osvRs+ePbvIlMhnCAKCgCAgCAgCgoAgIAgIAoKAICAIdDpl9c4778QNN9yA1NRUNXtPP/00DjvsMBx11FEym4KAICAICAKCgCAgCAgCgoAgIAgIAl0EgU6nrNLl98Ybb7Qrq0899RQOP/xwr5XVyspK5Ofnd5Hpk88QBAQBQUAQEAQEAUFAEBAEBAFBwD0CJpMJKSkpnRaeTqesPv744zjjjDMwYMAABfojjzyCSy+9FGlpaV5NwpYtWxAWFga9Xu9Ve18b1dXVoaamBhEREb4+6lX7QPdfW1sL/heo8Qe6f2JPjAI1fvZfX1+P8PBwr+arNY3Ky8sRHBwMMpdAEPsPCQmB0WgMRPfoCv2HhobCYDAEDJ9A9s/1WV1dHbA9EGgeFOj+A82DAt1/oHkcF3178CDhcZ7ZS3vw0M7Mg4THNX80BZoHBbp/4XEtix6+8gjKe4mJiS133EFbdDpldcmSJfj1118xa9YsMNnSggULMHPmTERGRnoFMZXVPn36ICgoyKv2vjYqKSnBvn37MHDgQF8f9ap9cXExcnNzA9Z/UVER8vLyAtZ/QUEB+F+g8KHVnN+gXWZ4BaoPjYh9WVkZ+vfv78NTvjXlGk1KSkJ0dLRvD3rZmv3zhs3bPeNlt/Zm7J9u+oG6MGD/jFHnpVMgiP2np6eDwlwgiP337t1bXUgEgrg+c3JyArbHhMc1P2udncfx67hGKdgEKnGh8Ljm11Bn53EUpLOzswPGg4THNb9+RI5r+WQVHtcyRh2pRadTVgnenDlz7K6806ZNQ2xsrNeYirIqTM7rxeKmoSirLaMnymrLgqgoq54xkgu55tdPoC/kRFkVHtcyAs23EGW1eXyExwmPa+seC7TRoa3j8/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00ZsyYgcjIyIAA/+ijj+K6665DVFRUQPp//PHHccMNNyAsLCwg/T/zzDM455xz0LNnz4D0/9Zbb+Gggw7CIYcc4rf+OaeHHXYYjjrqKL/16djRZ599huDgYJx66qkB6f/nn39GSUkJzj777ID0v27dOvz777+44IILAtI/U6z/+OOPuPHGGwPS/65du/DJJ5/g9ttvD1j/77zzDu67776A9L979268+OKLeOKJJwLSP8sAPPjgg7jjjjuQkpLi93eQb956662qf9aP9TfxkGLfV111FQ488EB/d9+kv//9738YN24chg4dGpB3BYLHaQO1Wq344osvUFtbG7D9/N133yE7OxtXX3213/D5+++/sWbNGlx66aV+69Oxo40bN+LXX39VaygQFGgel5WVhTfffBP33ntvIIYP9v/CCy/gscceC0j/OTk5SraaNWsWYmNj/f6OQPO46upq3H333bjkkkswYsQIv4+/rq5OnS9Tp07FmDFj/N4/O7z//vtx/PHHB0wOevvtt5GcnIzJkycHZPztyeMWLlyI1atXY+bMmQH5lmXLlmHBggVqTgJBHPtXX32Fe+65ByEhIYF4Rbv32W2U1aKiIjz//PMoLS11AvnOO+9Ejx491O/mzp2rDuErr7wSOp0Oy5cvBxftTTfd5JXy+tBDD4HvcST2NWTIEPWrDRs24KefflL98eePPvoIFC4OPfRQnHfeeS1O/lNPPQUyfUci86RyR9qzZw/ef/99JTi+++67SgHR6Nxzz22RCb700kvYsWOHU//nn38+Ro8ebf8dv/Guu+4C/5cKlEYJCQlKWdDr9R6/g5uHAoMjUcE79thj1a+IBZV59k+65ZZb1P9yLvizO0Gbc7Zo0SKnPqdMmYLx48er32VmZqoDnko8x8j54djPOussHHHEEfbnCgsL8fDDDyuF8PDDD7f/fsmSJfj222+d+qci7ajY/ec//1GYH3DAAardf//7X6Vsn3LKKerf3GQ8qPluHtQ89DT67bff8OWXXzr1TyH5iiuusP+ODPPyyy/HoEGD1O/YV69evezKK9cS51ujPn36qAsL0qpVq/Dxxx879d+3b19cf/319t/xu8844wz7On3llVcQERGBiy66SLXhmqJCqxHnmOPhut6+fTso3DsScaZiql2YvPHGGzj44IPt64jfy3lxVF6/+eYbLF26VHVD3KgskPbt29dEieN+dbzw+fDDDzFgwAC1jzj2rVu3qmc5R46XHvPmzcNff/3V5ADS1pn2DfHx8bj22msRExOjfsXx8lsmTZqkBEYKviRiNnbsWPUzv1Hbb2eeeSaOPPJIOyQ8MCorK+3/jouLU+PX+qciX1ZWpubzgw8+wNq1a1Xbk08+GccddxxY25cYsw2JF13Tp0+3P//cc8+pva8Rx3rzzTfbhULOHfcd1wQvPsiDSLy8Of3009UccvxUcDRKTU217z9HTPl3k8kE8s3o6GjVfP369SC23Ld8D/c5ifvI8YJFw5n7hHyR/ZCovP3zzz/2d/OHBx54AOHh4ep3nDPySirc/Pm9995Tv+eauvDCC+08Z9u2bXjttddw8cUXY/jw4U79Of6D88l9RzrxxBMxceJEp7bkD/w+9vf6668rvkTMvb2scMSY64PrRCNXHsff85yhgunIyz0OHnDCuF+/fmotaVRfX6/2C+efQgrn9JFHHlFrh+uNa7El+uOPP8ALOBKFz9tuu83+CPsjL2X/nB/is2nTJsWjeYY5nhWO7+FZwTklcf6vueYap2GQB3Hfa4rAq6++qsbvqLxy3RJbkuseI//md1Po50UqL5wdafbs2Tj66KMxatQo9WvyNO5JTXklj+Y7tX3Etco9oBGVIe4ztiP/4fpwJG94HNvzDOA5S1y5BzTi+Pn74uJi9SvyeEfiBQFJO1O4Zn744Qe1JxyJCgMVfxJ5WP/+/dXP7J88RJNPeFYnJSXZH6WcQz7D857EOeXcOo7D8SzhGUPseElL4vzywo3vIXF+tfOQ/yYP4mUEv9mR1/Oc5nmtkScewQuxZ5991j7+adOmYdiwYfbnyDO5pz3xODZ0XD9cC1QMHYlrhBeHJPJFx8tt8nauGa5h8irtvOXlGdeowWCwd8Xzlu15bjsaDcibNm/ebJ9H7YzjL3hmUT6lMWDv3r1qrZF45lMW0PonjjwjyEdc1zn5InkxiWfVCSecYB8TL3Qpd/D8CgoKsvN2rg/KL5rcxj3EM5fzSj7oKM9xjZDPk6hQU6bUiOuWci15JNcGcaKsnZiY6HTeko9TkSK5rnHHuXA8R4455hicdtpp9j+78jiz2YyXX35Z8TdNZnGaWDf/+PPPPzFnzhz1l4EDBzpdvLF/rjWev5TFKM+Rf/K84gUd5aeWiPNPnkBKT09X2GjE/rlXyCspC3BONHLHu9y9a+fOnaoPkivG/B3x4DiJjat87G7tt/Q9HeHv3UZZdQV7xYoV+P777+3MnjdnXJQ8cCkEUaDJyMhQhxc3oCZYejtpZPZcTDyENaGOhzyF5wkTJmD+/PlKSeOG5sFHQYWLyFuiIEXGQobCxUriYccFetJJJ+HJJ59UDKs5oa25d5Fpk7lReUxLS1NNubmJg6sFkQodmSSVDwot3hC/mwcTlSZN2eZhQ2ZORYiMnYodhV0qpLy5dhVAXN9DJkAmSeFNO4ipCBArvocbnIc5D1QeRrxlJFFBp+WMv6cQpCm6rv1TECLmPFy1MVOw4+FLnPLy8tQcUAjiGtIU2pUrVyoBh0ycjIlCAW+Y3Y2fByaf1cbGw4kMnjdwZDycV34nhVRNoWX/v//+u1JgmiM+R4GFiq52UBNXCmlc+5w7XoiQOF5HhVbrt6CgQO0ZCqvsx5EsFotSJPj9mjBKIYZrlMo89wEPAR68bMN3knhwUFjn3HGuiCH7J5N3JQoCvFDi30nsh8I455yHCfcdhYxffvkFn3/+uRLO+V7uxfLyciVsch96oq+//lqtQa41HuokYk/BjP1TEKSQwfXONUrewAOdAgx/z/dz/LwgodLuStz3nC+ufe3Gk9aMyy67TPXPg5wKFBVi9sP+OW/EnH22ZBklv+Icc33xwoHEg4sHPvGksEEeR+Gb/VERcT18ORd8p6Mwon0HL8s4LvIsTZnkniKfoeDGtcr9S+Ia4HeSP/E9//d//6cOaK5xXi6QT7kSx0Whjf2HhoaqP9NqzkOcih/3D3kClUdaW7lfeUnBeeHa49ogH+Lv3BGFWmLA/vku4sT2mpJEpYBrlkrw4sWL1ZxyzVAR5wWEO0wc30MewPFzvrhX+B4KONqliSOP43N8Fy8DOG9UsukB0hyRB3FNaxYw4ut44cdLIM4feQH5DMdNxYQCmTfEb+W6IJ/R1j7XjsYTKUhTWOZ7yZf5Pdx/3Ft8jsK2K1HQ43iIBdca1yOFNGJM4p6nVY/7n3uOPIjCOPetxtN4ScF5owLAc5nv4d8obPPs5nioqFBBopDIPakpouTrHBvnhMoDhWTuNfJTriES2/B84DyRb/DijPteswKyf+3imeud55c2Nm94nIYJeQbniJ5bjpcAPFe4vsi7uAbJI7j3jUajepS8kvyee4mXO+yDCgL3IqmmpkbxOPIHdx4yxJeXi5Q9KLzSqsPzXVOmyBP5HM9N7iOeC5xrTSnjvuKaI/6UB7jGBw8ebL/oIeZU7rmnucc+/fRTtbc0DzXyfe5b8iRiyzXLeeR3cz3zO7mOyCOoIHBPcM9riiwvJEkcI3kt1yDXk9Z/SzyOF5Aa7+MeJbb8Fs0ThJiQ93Kv8O9cgxy/5gHHCziuBfIDygq8gOLfuC4cL1fJh8iXuL3uAAAgAElEQVQDuf7Yv8aDuU8oi2iXCzwPub40HsoLca5HyiV8nuc/55pzRF5GZY1zwr9xT2sXfdq64vlPjDjPJH4Hz13tDOO3Uwmlkk/ZlnyG88g2xIC8hz9TruH3UFnk3PPCgsT9xz1HvkDZgHuVY9XkS16e8Pv4e84v1wL3Ip/nBQnHwzXBfcN9xIsLKuQ8q1y9GLnWuK4pO9PiT8x4lmgylyuP4/rh3HC9uJNZXPkReRyx1y70OGauM+3ygBcj2hnEtUb+xYtXfhfXiSa3eOKnfJ5j53dSTiOP4b7jfyRiwP45t9wrPNMoP3rrbcnxsD35J89cvot8i/I+iXyBPM71Iovj4h7jc4HyGvLmjGltm26rrHIiKbRRaCLxZoubk4uYwjQFDSpmZFhcbL4qq2SevD3lhiZx05FBchNqt5HapPEGlMxPW8zeTCYPLDJ4KrkkTTDhxiOjaKuySsbHA1zb/DyQubl5QDjemPL3ZNg8ZFoStBy/izfk3PhkkNqBzH54GPH2mwyIeJEpUwmisMG2zRFvTslcNEWGzJ+HIYVRHgoUqPg7MtCRI0faFULH33PTe1JWeVtGwVljVhwX55kMmwIdBQYyBAoCFPbdCQ08lKjgkmm4Epk6x8s5dLQ68dAiM+XYyYgoyJCh+6qsaocw+9fWIAUTHmgUwrX+qayRibpj/LywoJBPQc3xNpnfwj3D/UNGqh3CPCS1ywIKoFxTZDrsR7Mwc9/xsNEuQXgoci+4uluxf64B7hdt31IpJR48/B1vgbnf+J18B/cD30vs+F5XJq7Ng2Zdd7TIUoDhIcx17/q9PIy4Flxd4nmwcu1y/zsS38/x8zu5XkhUSmnFomDj6q5DBVy71PBWWeW+4f7hZYR2cUThxlGw08bEvjkW131LRZ1/0zxOHL+B65YKAkMBtP4558Rfm3OtPb+Vghbxp5BO4YQY8qKQ68KdCxQVWQqWPFC1/nkYc09ryqvWP3kcv5WCHfcO9wzXJS0FnpRVCmFcM8SD+4G8nWPXrDRUcLjuXdcex875oeLZ3IUcLyu0yyXON8fDW3XyG5LG4zTllfud+HMNeKuscm40l3H2x7nWLjqpsPBbKHjxEo17Rrs88OZc4d7kGtIurbiHuFY1QY78ggoR9yf75/7g2iQP5V7QnnN8F5UerkH+R2WVY+Te0BR/8lTyS865xoN4gUgBWFMIKXxRYNQ8GSiUE0MqeHyG5w/nkko5L994pmj8kYoG55pzy7ZcK+TV/BZNWXUcLy2IPF8dL4eoCHM/UkGjsko+r/FHb3gc+6fCQvc/7h8qao7KqqPwT2WVY+D+4FojL+YlmmbZ5/gp8FLQ1/Amv+Me0xQ/17lmO+4JXpDTQsazl7yRe4prVlP+uMbJB3mu8xmebyQqCNz7HAMVWu5Tnnv0/CA5XpRzf3O82oUZzyqOlTzOVTHhvia/4TtpPND4HZUjXrpoZy0x51gps/GMp5WT60nrT5PTXPv3xOP4eyqAmsst8SDO5AUkjovv1hQI8iDKEa7986wif9M846iU8/zgGndUVnmhz8sv7XuovPFnx8sCnhuuCgtx4/nMs4Zrlfza0WtHm2euK+KlWWTZVrv8YRvySvJF1/FznXM9kY9w7XCP0aJIPsk1oc0/L2e5B7nvKAtzbXL/cj+Q+L1cW67GEc6ptpZ5IUteyMt47kPuKfImV28M8hXuV83zgPuZZyzHpb1L43HkV1Te+P28SPVGWaUcRzlMc/GlhwKNM1pYA8fMfae9T8OY/JyXOpRvmiPNS0LzYuFFAmUUjZdxHXCsXCetUVYp63O/aecnL9l4fmhhUMSb3naO3nkcL8fAy3J3hhJvzob93aZbKqu8xeam42LSNi8PCDIOzaKlTQw3va/KKgUEMgcyU435UECi0K5tQLbhIUEXPB4E3GTe3qxQMKAgyMNUY3bcEPxPU9R4603XD7ptcXNygbpawppbfGxP5qkJ4lzo7NNVwKRAQeGMG1i7RfRmUZP5M7ZBc8siFmS0PCAp9PLbeAvImynNhaw5txFiwvmkEK259xJjMmNHoYBj4zsclVVtvPx9c8oqx8zbPe22V3PvdXTrZV+8QXRUVsmYaT0ks+OhRRdkdxZv3rbxtpPWIhIFIq4j15s8MldHZZWCHRUqEn+mAEEXINfbVx74FEY0Vy9i9v/tnQmwXVWVhtfLSwIkzAkhIIjQWoDMChSDgigi3Q6lMhTYDuAE4shQKoITqCBOOA+UpYAiM4qKgpS2SjO00oAMdpAhyEyYSQKZu76DK+x3cu979+Zwkqf5ThWl7+aeffb59tprr3+vvfflnbG9UpjQpp3EKu1AO7PsKZe2l21NMEbwmk6ZLBDOnffNQY3vMzCUYhW7ot65dJlAHD71vS/YN7ObOchQPjbBIFku6eYZDEYETfTd7OM4deyhm1jFxgk8kzdtSJtQl3JJFeUT8DHhQttTPrPeDCIEPSnm6vzJkjMJlFmrDPLol7m8L3ky4BDEY9OIfII/ssjYBO9NgFcXb/gS6lvuTSWAYTAnUCgvBkvahuCz3ENGgMJkBBMC9frDj7Yp96YyQUTgjV8rxTxlENzCErGC3XAv2WbakD6Sy5iyXgTcvC++J5cv0ib8hy+ifGyWwAnW+DUG6LKeDNDDiVWexeQIZeA7EV05OcUAT4YIhuWFMMCH0G/KpXvd/Bz+EDsgqEdcpR2XPg5fiT1j+/hy+mAvYhVbwPZ4BxgROOYSsxTHyZlAF3vBPplYQ6DVl7x3egcCP/ongpJJrfRv2BEiHxaZkUK00Cb0aQLPbhOW+BTaHDGZgSrPxofig2izciUC9l+KVWyCid8MbJlwJDubvhJ/RdshPrDtXKab5cOWlS2lrXUSq3BCCDF28p45gcQEHvZKoE0/yInTXn0cvhO7wneSVSIWKMelnEhkooYMGO/L+8GKdmRyLjMnvAMxQ46X/M1kO++f7UJfwl5zEob+wvN5H/omoizHdsQAE6I5sU553M87pljhM2wa/0i/IeuNeE8+lM934Uewjk1mH4Yzkwc57mQbEIdhq8QU8CBGyoCbvk12Ffvigg9inPak/pSfYwo+Dhus73fu5uPyc3xTJiHo4/QpxlWehb/MZcCMafQJxqecWKdOPJO6I3KYwKce+GgmXTJzmzERn+MXsB3Yslw1Y03+ZlzAp5fl8wzsGFHDqhhiO9oT5tSRJcLl9jH6BHbLvzGBlX6Hvxn76fv1CVf8LQI4J/fo6/QTJgsQ3uUEMO+H7SLkYE+fygtfn9u3+Izv8c6II94Vu0bs8508d4D3oZ45cZtl1UUVwoyYkDYpfVy5jJ269SpWaQNsKUUn8RQTIPQJVmnAhPEst10xbuNHmfRigqNe37oPpY7wIIal/fFNPCNFIp/TbmQ3GTtzaTX9hsm8XHHSbXwhrmWVA7aBj2AsIz7IuIU+xQqHcpk8ZdUnHruVP1o/XyHFKg1NgIjzLGfvCdDqm/+XRqwy0OPICLCy/Jxxyw5G4MAAhiNhGQDG1WtmlU5DcI/DTufDQMT71JceMniwrInBrVM2rJNhMijhMMo9qAwcBCKZIcj7EAtkIerB/HAGTwdlYC0zpbwT4iD3uNHBcVIEWnzOew23Z4zAjzpSbgavBN505rroWRqxSrCC3dDhc3kqAxjtUB8k62KVAJPZS96DWUPaoi76YYIYzuwD/BC4ZGHrB5nUxWrJGkeMo8QxlsEZdsZARICUmXGcO3WtLx/uJlYRfwTK5aBUPpvBEBaZlUKkIA7r36+LVQYChFPuJycQYlDIiYx8Bk6e4DSXA1F/Ai3eqxzkeS4sEQA54FDGSGIVbsymZvmUQ79F3OZyKsohmMxlODnIU3cGOoIsZmZhUc+sElwyUGdfoU2wJ+yxXG1B4Ef5OZCXmTxsiACOgYjlwuVFwEMdMpMGVwZe/i4HLj7nucyilxlYBkEY04adDvmgjxJglnuNeU8G3nomE7+Jr2DyCB+E3SPuCbRgyX/1lRL4HWyvnPyh/gTpmVFDHOS+O4J4fFLZv3sRq9SZQAkfx+RRBu4E1fjn+h5WuGYmrC7gO/m5zNpgn8yiw4tJt9LH4ROYtMBGCf57FauIF2wSoYFPJEhjnGFChb5J4ML7wRw+ZH1YtYPd0McYZ+o+vHwH+OJ36YOIDQJs/A8ijUkG/qM/E8QivvG3+GxWCNC/cl9qnQsBFHUhK0T5mQ3G5hAJOcma93USq2UmDF/P+6dYzQwUE1cEooyl9A/6EuNxZsyyfARCJ7FKn8cP8F85+UoZiHX6LuM1k2O8Q68+ju0LCEnuww7qYhWfToCPMIEp9kLAjDAje0cgWvqgTmKV8S4DVgQWfSn7KmMVE0tkl3OJLfEOATJtxthWruyoi1UCRfwOopYJXYQ7fTMnwAn24UK/x8/h+5iAQLBQPmNMefhaBvRM/tB/aW/sNycZKA/fnhNH/I3d8H78L3Ea5dMf+vFxxGXUBzvEntK3IvaxIWIoxrlcSUbf5PvYVZ6tkTYEM/wF/hL/QAIEvw1H6lRmVokTEPNMStL2fJ9+xHe7xVDUB3+DHWR9aE/6IqI0V5sRj/A3z6d/Y/P4gVy1Vs9MZv1Zzky5uX0L/sRRPI9xm7plv6S98oCmXIqOHXEhSOnHpXDmb9qGJceMl/g3noN95EQ9fzORXRd/+C7aHUZcMEbY0V6ljyt9TD9iFd9L38+zIfBL9HX6A32QvkrbZmxNH8F/MhlPTDbSMmDqz0Qz3ycuoXz+F5bYMdzw4fWJCRhjP4j74bbvUT4+hBV8xA1MuCDmie2wM/opNpvbD+HERCx2QAyd2wZHqyjtVq8VTqziKHAO5RIfjDYPUqoHI/2KVQIUDKJcSsaAg4EyYHY6mYtZLwKwXsRkLrtl0MmAkkEUR0WQUl9inM4EYy3FbTeDoCycLINmecAAwT8sypm53B/Hvw13sFL5LEQ6HYmyyyCTMrotT6ATE4B0O+2Vzkvgh8jI2WcGJXhzDwN/efUrVimfgRjnywCZF0E1gVqKm/y8LlbLZ+OsCD6wvxy8KZ9gCAdfZj54J2Zf66JtOLGae4FLsUr5BJ04svKAFQZDBEu9/E5iNfd55J7uuv2Q2SUwp/wM8shuYi/15TR1sVovi6CaILRcbk6QTHlwyxUIBGD0rTIjkEvOCFTre8CHE6v4ADIquf+FOsGBbGU5g8zAiy0SdHabXELc8uwyC0dfSb/DBAoXYonnljbFwEj5DFZ1bskJX8IMbClWc7YVe88JK8QEg2Z9kgdfQbBXP4wCH0h2o1PmOYM8fEDWP/c711c8EAQhelia2eniOQRX9eWpBKrck/0Ve6WvMIB3Op0d8YvYxHfkNZJYpa5M4qTIISghS4DwQKDArwwiCIJSWPTi42g7AtxkS2DNslkEY+njCJgICOHERYDMe5dbUzqxQ3DQrjnBxMQIQR2ClSCFLAn9hvIZVwjGWaGSh5IQzBLsdruwyTLDxXJAJswItHgXbBrbzENICCKxU96DtqLs+iQKfReOsGY1AJMSBFvYIbbMPeWhdtStLlYRRzwrl53SjowhTFbAjr5L+2En9FsCTnjjMwh26321k1jFPxBEMk6WYwZjJ1kr+hErUMi0wJa/CUh78XHUA9/Ehe0zzsKNMRBBB1/GEyYhiAXw3/xNPRkz6isj6mKVusMy9+MjVmm3XBaJMMC2M5vK54gl/Bnfqx94VRer7MVEeORpxATt5bJdYgaekedbEDiTKSReYfVAOVnAZBmBMyIrJ6cpn6WMOYlbHtoGM/wyYiL37Odec1j14+MQQfivuu8jJkA0ZUwFR8ZefCl2jU8sV74xMYDPzckA+CPaGGu5sBEmCPErvCf2S7/M+ARBz78zeck7ExOVIoIYAv9H9hqbThtBGDP2MIbCBBunTZng4Hu5tB5boDzsnowwfSPbhvrRlmRPKR+bRuDmNi/qRBxLG2KD+EfamgmpjMGYfGRs5H7aHh9Tj4N4Dn2HiSp8eO7jZHUEcSD1ok2H80eUQdvwzviI0seVPqwfsVr3fbAmLmfFHD6Z8aHT2E4bwIN693LIUj4Hn01/ZwxAJBMf5fhT1iXP32AMqGdFuzrsf2SxSaYQs+P3WE2Z2wO5D9+M/dHOZSwzXJmj8d9WOLGKk+Gly5P46Eg4qfoSYBqsX7FKAM1gz0CQwo7gDQNlFikvxA8GlUei4yg7GXDdaAgecBzlXk8cD50fI8+ZQoyWrAbZG2aC6Ci9ZD+ZWaND4RRSuBNcMtDWDR0HyLKu8r1GMnIGJe4jKMgsM46eZQydDlBiMMJB4IS7Lb+gM8KbdsxAMzf88+71ILNfsZr7uBiwcuklASODGIKvPkNWF6s4QII8AiDaihkxBs28j8Gbd6RNc99fHj6Bg69n++tiFfsiQGQgJ4hikCsP58BRMhgSyOfSqczq8dxyOQ3t10msYncEE/UZO76Pk2VwZ7a6DFQRHwix+s+ZDCdWsT0CJQbK7D/YNuUTJJfCFF4EHZlBRrgyMOZhBvV2H06sYpOUU662ICAm2MjlbLm8n/dkYMvymZWnvehf9BPshAG8zGxjK7QjQWf2UQYQgtUsn0kZ6s/gTZ/K8gkS8BNMKhC4IohgW2Zuyf6R5SHQzvvwdQQyZUYAZgRgiMI6H2yGoKOsd/Zngm2ezWRKZniwZWy4PHCNCRbEGsFvJ3GXWzBK0cszEJ25xDvLx+/wTrksKicKcsIFmyAQLPeGjyRW6StwJsikXxBEY0O5LJfgK9uH4JN3pO3qS667+TmCJvpfLvGkPtSPvt/Nx1FWr5lVRAL+JQU67UlggwjFXstTavHl+APskVl2fGE5bnR6B2ycvpATEAhK7sUeCbBzlQRimACZvo9w5n9pF7Kw9cOcmJAheMa+CJhpA9qVMZh7+K88ebeTWEXgkZlC8CJkKQPfhc+jf1A3/ibTh90zkcLzaGf6Yv2wtrpYxXfg25gErgeK2Cz/lqteWKmEGMwVLP36uHpmlUlQ6sl/rAQhhkhhSPshassVIvCpi9XcD0/mjv6OAGLMzwwN/ZZ6spwYfkxeIviwJZbBl9s0KL8uVgmG6QeITC7qRb0zjqIN8WX4RtoDcU/5iBpWRWT52Ak+jjGB+Cd9PGIJO6WvI0ryZ2LSlhjbyeiy6oG6UQbty1jYq4+jfMY66lz3TbwXfTyDfPwo7c04j28vg3++C+/yEL56X6pnVhnXiGVS3NIe9FXKR9Ah2vLiu9hcfasHzBH/iCUmfGhHbBuGcEZ85qoU2BP/wTv36Gf52B9xGHXIbWRMPuH7YYP9kGGkvYnTEL08j36VJ9cSQyHYsEsmsfATGc9wH+MmPi9X1BBP4htpO0QxAo6td5Q/3GoVJiRZJsu4gs+p+7h8p6UVq8Q68KZ/MwZQPmNTvgt1xHcwJsMMn8e712O+buMBfoKVI7mVkHv5/5lUop+jPbDhPPiMuvRaPm1OnWCKGMUnYXtlUoxYj/7Dv/0z/4zNCidWcdI41dyrgNOnc+H4yrQ5RkQj54XT7HbwTmmoCEkccQ4SZCQIXHBM5Z5RHEgeY05n6HQyZqcOQAaL9f+57A5nhPEzEJUnfOWmccrAyXf7SYH6MwgQCRYzK4VQwPHlwUf5fTJADNqIk35+WxEniFgpRUd5+EOWn3vh+JvZ8+Fm3xjcqWfOhuHUCOgZ9MrZPhwHz88LJ88EATOE5ec4Cj5PG2HwJbuSQTnlMxnA/QwIefFecM+Lcgg0mJHNn9uALYNCeRGIUbdysgL7Y0Ass0/YEgNGWT62jJAhsObCYdUnPRjgcPjlniHsFPGW+0S5l+8hSAlCuKg/M8EEmJTPAN9pQof7GADL2X9m6/NgonTMZH0ZvMqfcaH+OND8uROCifpPCsABsYRAzKwewok2oF/lgMtscP1nhsi+MBAw6DApkBef594Zyuff6d+ZeUAYMcBi+zmBgBAlS5Cz55RFvyIQ47m5jJm+WWar4UP5BHKZsaH/EGAjlnLGnvrTTgQOeeXsO+XjrLkI2MqZXdofe+F9Sntn0KN9c7IDf0a7lz9RkwdXEKzT5whwOwkzxDCBSflTQAyABFnpNxE61LMsH1+FiKd++Tm+ri4esDv8SLn8GDGKiCsPbmJAz58mogzsE7vM3/5MbthEt1lkRCPty4XPxNfh/+Gay435t/J7/M17Mmk20onnMCYo40L44yM7+bjSB5AZLO1jiIMo/sD3sIIhGWA79Gt8MRzKn8nhNvog/oV/wxfVRWGn55AtzJ8/yZ+PYYING6n/xFqKF8qBY7dTJsl+5s9qpI+qH4hHGfRR+nX2AXws7cLYyXsjQrnwceU++9wywb8lE8ZY3qVcscMEBYEt4wUXXCif/khWOS8+p91yzOa5PJ8Lf4av68fHlWM/Yw3irFxZRN/EN6bvJeMIA4J0spm5soAxAFsvf4KPZd30G2wif6Yi7Trfh/K5LzP5+FL6OcE5Pih9BL6ZPlz+LF2WVcYs9GvKyOC37lvo8/hyRCWTGem3eW98aOkjyDgyrmCnefYCZyKUk9PYHv0q243JX/xRrz4On1x/bnloDzwZg/ClXOnD4Y+ASz451mU9+G4pcpM3ZeHncuyDKxMDeV+2WWYK05/zPTLFJR/KzK1A+ElsFf7EUOVKt3KlBuMA8U+n34xG3KSdZX2ZJECslf25PqHJO9F+XNSXfkM8jV8s41cmorBlLnx3ZrHxXbQh42j5ed0HYfcpiuGeMVYnH0cMjV2W10i//wxbfAzjaRmPsYWHCb4y5uJ9MzaBNT6h068UlM/HhnIfddl21JX+Wa5iKG0eWyHGzL7SbQyg3vDNPspEIvbAJCl9vL6tC78L8141RrfnLu/PVzixWgfOgMPsVn2ZzbPVMBgKAqb+u2zPVvnMyuHcmDXsZZlav8+lA5MBwqn2OtvTzzMI6pgdZMLg2VpLn0veuu2t7Kd+nb7LgMMgTL3LfURNy837cXYIAWymjZkwymcQHmnJYZP3wV4IcnrJ5i/Nc8jUkFUpf39tacrpdg+ZG9j38vvHS/Nc+iztwIz9SOJnaconSGfmnYGrjfIRB4gNZv972cfZ7zsw8YOAY6KvjfLL+pA5YTaaYK+NZ7Xh4+o8yeCyRK+egeuXe7fv0w6MkTnB07RcAkaEEuK6jTojypgMQkDXlxg3rXve37aPy9/T7PW3I/t9LwJqsn3YThs+AuHJRDATWm2U37aPI7vJOFAetNUv45G+z2oH4pQ24giezUqKMlM4Un36/XfiFPi0ERsuax9HDM2EXn1bVL9Mun0ff8Fy5k7nQTwbz0Dg45/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nCMGzduOdXCx0pAAhKQgAQk0JSAYrUpQe+XgAQk0AeBa++cGTfdMyvGjBmIzadOiG02XLWPu5/56i233BK33357vPKVr1z84QUXXBD33HNP9feuu+4a2267bfz4xz+ON77xjbHKKqtUn992221x4403xmtf+9qlem6vNy2c+XDMu+nSWDBjeoxZc2qM23T3GJy8Ua+3D/nepZdeGtOmTYt3vOMdsfLKKw/5t1NOOSXWWGON2H///Rd/fvHFF8d9990Xb33rW6t3/cMf/hCLFi2K17/+9fGc5zxnqerQ602zZ8+Ov//97zFz5sxYddVVY8MNN4yJEyf2evvi711//fVVvctrYGAgXvGKV8Smm24ad999d/z0pz+t/rn8/C9/+Uv88Y9/XOI+7OQFL3hBXHfddXHFFVdU7Z8s5s+fHz/72c/ipS99aUyZMqXvui7VDU/eGvHg+RFz7oyYsGnE5H0ixk9dqqIWLFgQv/zlL+POO++s7n/Zy14WW2yxxeKyeLe5c+fGfvvtV33G/7/wwgvj/vvvr/5effXVq39L23riiSfivPPOi+c///nxkpe8ZEidHn300apPcdGu2BR9cc6cObHlllvG+eefH9hAeU2ePDlg/OIXvzg222yz6p9+/vOfB5/vvPPOS/XO3iQBCUhgRSGgWF1RWtr3lIAEliuBOfMWxulX3hf/Ne3RIfXYa4u144Ad143xgwN91e+qq66KP//5z/He9763uu+73/1uFRDn3z/4wQ8qkfrpT386PvWpT1UBOdef/vSn+O1vfxsf+chH+npeP19e+PBd8cQZh8eCB25dfNuY1daJifufGOM22q6foqrvfutb36pE1lZbbRXve9/7Ft/Pe5x55pmVwPrMZz5TfQ6Do446Kg466KBKsHzsYx+Lz372s/HUU0/F17/+9TjmmGP6fn6vNzz++OPx+9//PhA7eSFYd9ttt1hzzTV7LWbI96ZPnx4f//jH44QTTogNNtig+jcEE236tre9Lbbbbrsgk3z44YdXDPI5TGTwnc997nOLRSmi7pvf/GYlpBFOr3rVq6ryEG8worxNNtlkqerZ102PXxVx074Rc+565rYJm0VscV7EhBf2VRTt/bWvfa1677e//e3VvWTVeZd11123andsZqWVVoovfOELMWHChEpMnnjiiZXQfNGLXlTZBZM573znO6v7b7755jjttNMqLvAbO3Zs9TkTIF/84heriZEdd9yx+puJAf591qxZ8eY3v7n6Hs+k/D322CN233336rPvf//7lTim3z344INVe/L/11tvvb7e1y9LQAISWNEIKFZXtBb3fSUggeVC4JIbH44zrro/5i9cNOT54wYH4qBd1ovdN+1PzJRilewh2Z6PfvSji0VpPuSII45YpmKVjOoTpx0WC+67eQnOY1ZdO1Y7+JQYXGfjvtoAsYoAvPXWWyvhRrYScXD00UfH5ptvXmWTjz/++KrMm266qRIGiIy77rorvve971Uiru3lwAig3/zmN1W96hdCiMwmwrXfq5NY/fKXvxwbbbRR7LPPPouL+/Wvf109/0tf+lL1WSexioj6zne+U933ox/9qOLHtUzFKhnVa3eLmPv0CoAh18StIra+OGJ87wLuyiuvrGwf8deJ70UXXRT33ntv9RhEJSK2LlbJUn/jG9+oyuD6yle+EnvuuWecfvrp8e53v7vKsHJhS2SjX/3qVw+pNisaRhKrCNTPf/7zccghh8Q111xTieZ6Of3aht+XgAQksCIQUKyuCK3sO0pAAq0RuOyWx+LUy++LJ+cuaO0ZFDw4ZiA2WWeVOGS39WPqGuOjFKssWfzb3/4WRx555BKi7NkSq4tmPxYzzzs25t1yRcSiha2+68D4CbHyzgfGKnscGjFmsMqsrrPOOtUyTzJ/ZMTIEJ977rnV/0eQpFhFOCAO995776qOZLhYUkuGFdFBhq2fC4HHclzExrK4WNK80047xaRJk6rHdRKrhx12WBx88MGxww47LK7S1VdfXWUIEVprrbVWR7EKJ7K/b3jDG6oMM5lXBF5jsbpoXsTtR0fcdXLEonb7QfXC49aJeN7xEesfEmeffXa1RJxJjPrF0lwyodgI733GGWdUdjJ+/PghmVXsg2XBMLnjjjsqhrA555xzKpb77rtvVTSTQW9605ti66237luscgP8EcasEqC+ZH69JCABCUhgeAKKVS1EAhKQQAMCh54+LWbOWQYB+j/quOfma8VBu643RKz+8Ic/rILxD3zgA0u8ybMlVufecEnMPPeYiIXL5l0HVpoYax55UQysvNpiscr+QZaxfuITnwjemf2bDzzwwBCxSkYV0Z6ilEEOMfK73/2uEmUf+tCHYrXVVuu5xVkSynLrZXlRv9xT3Emsstz0gx/84BCxSrbuq1/96rBiFftgqew222wTp556apVhRPg2FqvzZkRctXHEgiWzyq1xGzc5YpcZlR2wLJp2rV8zZsyo7AXhyaQDYhSRz4QHkxiDg4OVGH344YfjXe96V5U1/clPfhKPPfZYHHroodVeVLL0mXGF33ve854qm19evWRW+T7PQSyzdJv91F4SkIAEJDAyAcXqyIz8hgQkIIGuBE646I74672zora6txViYwcH4oAdpsTeW04aIlYvu+yy+NWvflVlD+uH+bB/kywOGTsu9lQiwAjO+7nmT//feOLMo2LR7KF7bvspo5/vslR49UNOD7KsmVnlEJxPfvKT1d5CDlY69thjg4xiZlZvuOGGaiksogIhUl6PPPJIta/z/e9/f7Vfs9eLpcSXX355tRd2WVwclsQS31122aV6XCexetxxx1UH/7z85S9fXCXeG0GOWOeqLwNGzLK3kww1F++DyGN/J/uZG+1Znf9YxLW7Rsy6KSKGLnNvh9lAxOo7R2z333HJJZdU7c9+1PpSbzLv2HseLsbeXoQmYr/cs5p1ZC8vwpTv5fXQQw9VfYVsN8t4aRcOoiqvXsUqgpnymWRhH7OXBCQgAQmMTECxOjIjvyEBCUigK4FHZs+P22c8ucRe1PoN9z8+Ny645sGYO3/oEtqVx42J/bafEmtNePoQl+GuVcaNiU2nTojxY8cMEatkyE4++eQqY3TAAQdURSBeOGmUzNNzn/vceN3rXld9TlbyLW95S3UybF/Xwvkx/+4bY+ETD0YsGl6QPPU/Z8X8269eovgxkzaMCXtyQNLIh0kNTn5eDK77b9V3S7HKe3EKLie+sjyTPYspVtmbipDIQ204/IYsJacic0ougoZMWx421cv7L1y4sFoCzJJSThQe7mK/LNmz+sXz6ktHu5WDyGZ5aB7q00mskvFj/yRZ86lTp1biiv2niHTamqsUq+uvv35lB2SbWcbKxfuQnUX4U7dGYhWBilB9clpvS8TvOC5i1vVLIlh9p4gNjhjZPgYGI1bdNmLljYNJCPbpkq3MPbwsi+dwI7KYZEg5PZmLA45YFsyhY53EKnufyaSWS4o5qIxMK5lbbIjMK2KXw7t4Nkt6+d+R9qzyfMVqLz3O70hAAhIYSkCxqkVIQAISWAYEOFjpwmsfjEv/+kjM/sey4YkrDcZ/bDUp/n2rtWPMwMgCrqwmS1vJJB544IHVxwhWMmcEzlyvec1rKuFGEM3nZNG4OMm0n8zi0qBZ9OTjMfOco2P+ndfHonlPxsDY8dWhShP3PykG11q/7yLPOuusarnmXnvtVR2axCFBHJSTP8WCKGXZLGKVTCHfzYv9h5zailBDhLR50BICkLrQBmQuc5kpWbR+98pm/RFQHP6DsCz3OJJRZr8mF89heW8eBMRn7I389re/XQnYtddeuxLplFFeiDr2b7K/l0w1+zW5EMqI2I037u8grJ4blkOW/u8/I2bdGLHwqYjBCRGr7RjxwrMjxj7Tdr2WRyDDadh5kBKnYDNJwT5U3p/DjLKP8D0mOsiWk5kul/Tyfe5D6OZFP/vFL35RLf/lxGH+5nAqLiYhODAJwUod6HNcLKtG9LKnePvtt19cFp/DmSxt232wV3Z+TwISkMBoJ6BYHe0tZP0kIIF/KQJ3PzonHpo5L9CmkyaOi/XWXKmHPOM/H4JFc2bFghm3VcuGB1ZaNcZM3ijGTFy7tRfhZ2zIJvJbrMvzQpCwfxjhihBE0CytUF2e79H6s9nnOvvmiPmPRoyb9PRP1ox9+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ffqiKVOmSEQCEpCABCQgAQlIQAISkIAEJLDcCcyZMyceeOCBGJg2bdqi5V4bKyABCUhAAhKQgAQkIAEJSEACEniGwHX/D/JR8BB+HBa+AAAAAElFTkSuQmCC"/>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 name="Rectangle 11"/>
          <p:cNvSpPr/>
          <p:nvPr/>
        </p:nvSpPr>
        <p:spPr>
          <a:xfrm>
            <a:off x="0" y="1243002"/>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latin typeface="Arial" panose="020B0604020202020204" pitchFamily="34" charset="0"/>
              <a:cs typeface="Arial" panose="020B0604020202020204" pitchFamily="34" charset="0"/>
            </a:endParaRPr>
          </a:p>
        </p:txBody>
      </p:sp>
      <p:sp>
        <p:nvSpPr>
          <p:cNvPr id="8" name="TextBox 7"/>
          <p:cNvSpPr txBox="1"/>
          <p:nvPr/>
        </p:nvSpPr>
        <p:spPr>
          <a:xfrm>
            <a:off x="477917" y="1243002"/>
            <a:ext cx="7993117" cy="5570756"/>
          </a:xfrm>
          <a:prstGeom prst="rect">
            <a:avLst/>
          </a:prstGeom>
          <a:noFill/>
        </p:spPr>
        <p:txBody>
          <a:bodyPr wrap="square" rtlCol="0">
            <a:spAutoFit/>
          </a:bodyPr>
          <a:lstStyle/>
          <a:p>
            <a:r>
              <a:rPr lang="en-US" sz="4000" u="sng" dirty="0">
                <a:latin typeface=" Arial"/>
              </a:rPr>
              <a:t>Status Update</a:t>
            </a:r>
          </a:p>
          <a:p>
            <a:endParaRPr lang="en-US" sz="4000" u="sng" dirty="0">
              <a:solidFill>
                <a:schemeClr val="bg1"/>
              </a:solidFill>
              <a:latin typeface=" Arial"/>
            </a:endParaRPr>
          </a:p>
          <a:p>
            <a:pPr marL="571500" indent="-571500">
              <a:buFont typeface="Arial" panose="020B0604020202020204" pitchFamily="34" charset="0"/>
              <a:buChar char="•"/>
            </a:pPr>
            <a:r>
              <a:rPr lang="en-US" sz="3600" dirty="0" err="1">
                <a:solidFill>
                  <a:schemeClr val="bg1"/>
                </a:solidFill>
                <a:latin typeface=" Arial"/>
              </a:rPr>
              <a:t>Prakesh</a:t>
            </a:r>
            <a:r>
              <a:rPr lang="en-US" sz="3600" dirty="0">
                <a:solidFill>
                  <a:schemeClr val="bg1"/>
                </a:solidFill>
                <a:latin typeface=" Arial"/>
              </a:rPr>
              <a:t> Shrestha, MD</a:t>
            </a:r>
          </a:p>
          <a:p>
            <a:pPr marL="1028700" lvl="1" indent="-571500">
              <a:buFont typeface="Arial" panose="020B0604020202020204" pitchFamily="34" charset="0"/>
              <a:buChar char="•"/>
            </a:pPr>
            <a:r>
              <a:rPr lang="en-US" sz="2800" dirty="0">
                <a:solidFill>
                  <a:schemeClr val="bg1"/>
                </a:solidFill>
                <a:latin typeface=" Arial"/>
              </a:rPr>
              <a:t>Program successes to date</a:t>
            </a:r>
          </a:p>
          <a:p>
            <a:pPr marL="571500" indent="-571500">
              <a:buFont typeface="Arial" panose="020B0604020202020204" pitchFamily="34" charset="0"/>
              <a:buChar char="•"/>
            </a:pPr>
            <a:endParaRPr lang="en-US" sz="2800" dirty="0">
              <a:solidFill>
                <a:schemeClr val="bg1"/>
              </a:solidFill>
              <a:latin typeface=" Arial"/>
            </a:endParaRPr>
          </a:p>
          <a:p>
            <a:pPr marL="571500" indent="-571500">
              <a:buFont typeface="Arial" panose="020B0604020202020204" pitchFamily="34" charset="0"/>
              <a:buChar char="•"/>
            </a:pPr>
            <a:endParaRPr lang="en-US" sz="3600" dirty="0">
              <a:solidFill>
                <a:schemeClr val="bg1"/>
              </a:solidFill>
              <a:latin typeface=" Arial"/>
            </a:endParaRPr>
          </a:p>
          <a:p>
            <a:pPr marL="571500" indent="-571500">
              <a:buFont typeface="Arial" panose="020B0604020202020204" pitchFamily="34" charset="0"/>
              <a:buChar char="•"/>
            </a:pPr>
            <a:r>
              <a:rPr lang="en-US" sz="3600" dirty="0">
                <a:solidFill>
                  <a:schemeClr val="bg1"/>
                </a:solidFill>
                <a:latin typeface=" Arial"/>
              </a:rPr>
              <a:t>Dennis </a:t>
            </a:r>
            <a:r>
              <a:rPr lang="en-US" sz="3600" dirty="0" err="1">
                <a:solidFill>
                  <a:schemeClr val="bg1"/>
                </a:solidFill>
                <a:latin typeface=" Arial"/>
              </a:rPr>
              <a:t>Duriex</a:t>
            </a:r>
            <a:r>
              <a:rPr lang="en-US" sz="3600" dirty="0">
                <a:solidFill>
                  <a:schemeClr val="bg1"/>
                </a:solidFill>
                <a:latin typeface=" Arial"/>
              </a:rPr>
              <a:t>, MD</a:t>
            </a:r>
          </a:p>
          <a:p>
            <a:pPr marL="1028700" lvl="1" indent="-571500">
              <a:buFont typeface="Arial" panose="020B0604020202020204" pitchFamily="34" charset="0"/>
              <a:buChar char="•"/>
            </a:pPr>
            <a:r>
              <a:rPr lang="en-US" sz="2800" dirty="0">
                <a:solidFill>
                  <a:schemeClr val="bg1"/>
                </a:solidFill>
                <a:latin typeface=" Arial"/>
              </a:rPr>
              <a:t>Follow-up of infusion patients</a:t>
            </a:r>
          </a:p>
          <a:p>
            <a:pPr marL="457200" indent="-457200">
              <a:buFont typeface="Arial" panose="020B0604020202020204" pitchFamily="34" charset="0"/>
              <a:buChar char="•"/>
            </a:pPr>
            <a:endParaRPr lang="en-US" sz="2400" dirty="0">
              <a:solidFill>
                <a:schemeClr val="bg1"/>
              </a:solidFill>
              <a:latin typeface=" Arial"/>
            </a:endParaRPr>
          </a:p>
          <a:p>
            <a:pPr marL="457200" indent="-457200">
              <a:buFont typeface="Arial" panose="020B0604020202020204" pitchFamily="34" charset="0"/>
              <a:buChar char="•"/>
            </a:pPr>
            <a:endParaRPr lang="en-US" sz="2800" dirty="0">
              <a:latin typeface=" Arial"/>
            </a:endParaRPr>
          </a:p>
          <a:p>
            <a:pPr marL="914400" lvl="1" indent="-457200">
              <a:buFont typeface="Arial" panose="020B0604020202020204" pitchFamily="34" charset="0"/>
              <a:buChar char="•"/>
            </a:pPr>
            <a:endParaRPr lang="en-US" sz="3200" dirty="0"/>
          </a:p>
        </p:txBody>
      </p:sp>
      <p:pic>
        <p:nvPicPr>
          <p:cNvPr id="4" name="Picture 3"/>
          <p:cNvPicPr>
            <a:picLocks noChangeAspect="1"/>
          </p:cNvPicPr>
          <p:nvPr/>
        </p:nvPicPr>
        <p:blipFill>
          <a:blip r:embed="rId3"/>
          <a:stretch>
            <a:fillRect/>
          </a:stretch>
        </p:blipFill>
        <p:spPr>
          <a:xfrm rot="5400000">
            <a:off x="8065844" y="2810555"/>
            <a:ext cx="4597206" cy="3449697"/>
          </a:xfrm>
          <a:prstGeom prst="rect">
            <a:avLst/>
          </a:prstGeom>
        </p:spPr>
      </p:pic>
    </p:spTree>
    <p:extLst>
      <p:ext uri="{BB962C8B-B14F-4D97-AF65-F5344CB8AC3E}">
        <p14:creationId xmlns:p14="http://schemas.microsoft.com/office/powerpoint/2010/main" val="125713362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084280-1487-4908-AD66-B18FB2AD9E23}"/>
              </a:ext>
            </a:extLst>
          </p:cNvPr>
          <p:cNvSpPr>
            <a:spLocks noGrp="1"/>
          </p:cNvSpPr>
          <p:nvPr>
            <p:ph type="ctrTitle"/>
          </p:nvPr>
        </p:nvSpPr>
        <p:spPr>
          <a:xfrm>
            <a:off x="1524000" y="1122363"/>
            <a:ext cx="9144000" cy="1655762"/>
          </a:xfrm>
        </p:spPr>
        <p:txBody>
          <a:bodyPr/>
          <a:lstStyle/>
          <a:p>
            <a:r>
              <a:rPr lang="en-US" b="1" i="1" dirty="0"/>
              <a:t>Infusion Center Update</a:t>
            </a:r>
          </a:p>
        </p:txBody>
      </p:sp>
      <p:sp>
        <p:nvSpPr>
          <p:cNvPr id="3" name="Subtitle 2">
            <a:extLst>
              <a:ext uri="{FF2B5EF4-FFF2-40B4-BE49-F238E27FC236}">
                <a16:creationId xmlns:a16="http://schemas.microsoft.com/office/drawing/2014/main" id="{F323AA5B-AAE6-4BF9-B465-480F02D7AE66}"/>
              </a:ext>
            </a:extLst>
          </p:cNvPr>
          <p:cNvSpPr>
            <a:spLocks noGrp="1"/>
          </p:cNvSpPr>
          <p:nvPr>
            <p:ph type="subTitle" idx="1"/>
          </p:nvPr>
        </p:nvSpPr>
        <p:spPr/>
        <p:txBody>
          <a:bodyPr>
            <a:normAutofit/>
          </a:bodyPr>
          <a:lstStyle/>
          <a:p>
            <a:endParaRPr lang="en-US" sz="3200" dirty="0"/>
          </a:p>
          <a:p>
            <a:r>
              <a:rPr lang="en-US" sz="3200" b="1" i="1" dirty="0"/>
              <a:t>Dr Prakash Shrestha</a:t>
            </a:r>
          </a:p>
        </p:txBody>
      </p:sp>
    </p:spTree>
    <p:extLst>
      <p:ext uri="{BB962C8B-B14F-4D97-AF65-F5344CB8AC3E}">
        <p14:creationId xmlns:p14="http://schemas.microsoft.com/office/powerpoint/2010/main" val="143267683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FC55557-B6E8-0F4A-AC96-C97BF3A51AF9}"/>
              </a:ext>
            </a:extLst>
          </p:cNvPr>
          <p:cNvSpPr>
            <a:spLocks noGrp="1"/>
          </p:cNvSpPr>
          <p:nvPr>
            <p:ph type="title"/>
          </p:nvPr>
        </p:nvSpPr>
        <p:spPr/>
        <p:txBody>
          <a:bodyPr/>
          <a:lstStyle/>
          <a:p>
            <a:r>
              <a:rPr lang="en-US" dirty="0"/>
              <a:t>Hours and Capacity</a:t>
            </a:r>
          </a:p>
        </p:txBody>
      </p:sp>
      <p:sp>
        <p:nvSpPr>
          <p:cNvPr id="3" name="Content Placeholder 2">
            <a:extLst>
              <a:ext uri="{FF2B5EF4-FFF2-40B4-BE49-F238E27FC236}">
                <a16:creationId xmlns:a16="http://schemas.microsoft.com/office/drawing/2014/main" id="{4CF222CC-D0A9-4587-9E2B-84D176DA852B}"/>
              </a:ext>
            </a:extLst>
          </p:cNvPr>
          <p:cNvSpPr>
            <a:spLocks noGrp="1"/>
          </p:cNvSpPr>
          <p:nvPr>
            <p:ph idx="1"/>
          </p:nvPr>
        </p:nvSpPr>
        <p:spPr/>
        <p:txBody>
          <a:bodyPr/>
          <a:lstStyle/>
          <a:p>
            <a:endParaRPr lang="en-US" dirty="0"/>
          </a:p>
          <a:p>
            <a:endParaRPr lang="en-US" dirty="0"/>
          </a:p>
          <a:p>
            <a:r>
              <a:rPr lang="en-US" dirty="0"/>
              <a:t>7 weeks - Started on Nov 18</a:t>
            </a:r>
            <a:r>
              <a:rPr lang="en-US" baseline="30000" dirty="0"/>
              <a:t>th</a:t>
            </a:r>
            <a:r>
              <a:rPr lang="en-US" dirty="0"/>
              <a:t>, 2020 – 2 pts</a:t>
            </a:r>
          </a:p>
          <a:p>
            <a:r>
              <a:rPr lang="en-US" dirty="0"/>
              <a:t>Max no of pts – 30/day</a:t>
            </a:r>
          </a:p>
          <a:p>
            <a:endParaRPr lang="en-US" dirty="0"/>
          </a:p>
        </p:txBody>
      </p:sp>
    </p:spTree>
    <p:extLst>
      <p:ext uri="{BB962C8B-B14F-4D97-AF65-F5344CB8AC3E}">
        <p14:creationId xmlns:p14="http://schemas.microsoft.com/office/powerpoint/2010/main" val="406199482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B01302-CB50-DC46-8C6D-3E0176B54F71}"/>
              </a:ext>
            </a:extLst>
          </p:cNvPr>
          <p:cNvSpPr>
            <a:spLocks noGrp="1"/>
          </p:cNvSpPr>
          <p:nvPr>
            <p:ph type="title"/>
          </p:nvPr>
        </p:nvSpPr>
        <p:spPr/>
        <p:txBody>
          <a:bodyPr/>
          <a:lstStyle/>
          <a:p>
            <a:r>
              <a:rPr lang="en-US" dirty="0"/>
              <a:t>Infusions to Date</a:t>
            </a:r>
          </a:p>
        </p:txBody>
      </p:sp>
      <p:sp>
        <p:nvSpPr>
          <p:cNvPr id="3" name="Content Placeholder 2">
            <a:extLst>
              <a:ext uri="{FF2B5EF4-FFF2-40B4-BE49-F238E27FC236}">
                <a16:creationId xmlns:a16="http://schemas.microsoft.com/office/drawing/2014/main" id="{94951B8B-F865-4FA1-939E-BB2B906629AC}"/>
              </a:ext>
            </a:extLst>
          </p:cNvPr>
          <p:cNvSpPr>
            <a:spLocks noGrp="1"/>
          </p:cNvSpPr>
          <p:nvPr>
            <p:ph idx="1"/>
          </p:nvPr>
        </p:nvSpPr>
        <p:spPr/>
        <p:txBody>
          <a:bodyPr>
            <a:normAutofit/>
          </a:bodyPr>
          <a:lstStyle/>
          <a:p>
            <a:pPr lvl="1"/>
            <a:endParaRPr lang="en-US" dirty="0"/>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Total – 409 patients received antibody</a:t>
            </a:r>
            <a:endParaRPr lang="en-US" dirty="0"/>
          </a:p>
          <a:p>
            <a:pPr lvl="1"/>
            <a:r>
              <a:rPr lang="en-US" dirty="0" err="1"/>
              <a:t>Bamlanivimab</a:t>
            </a:r>
            <a:r>
              <a:rPr lang="en-US" dirty="0"/>
              <a:t> – 347 pts</a:t>
            </a:r>
          </a:p>
          <a:p>
            <a:pPr lvl="1"/>
            <a:r>
              <a:rPr lang="en-US" dirty="0"/>
              <a:t>Regeneron- 62 pts</a:t>
            </a:r>
          </a:p>
          <a:p>
            <a:pPr lvl="1"/>
            <a:endParaRPr lang="en-US" dirty="0"/>
          </a:p>
          <a:p>
            <a:pPr marL="457200" marR="0" lvl="1" indent="0" algn="l" defTabSz="914400" rtl="0" eaLnBrk="1" fontAlgn="auto" latinLnBrk="0" hangingPunct="1">
              <a:lnSpc>
                <a:spcPct val="90000"/>
              </a:lnSpc>
              <a:spcBef>
                <a:spcPts val="500"/>
              </a:spcBef>
              <a:spcAft>
                <a:spcPts val="0"/>
              </a:spcAft>
              <a:buClrTx/>
              <a:buSzTx/>
              <a:buNone/>
              <a:tabLst/>
              <a:defRPr/>
            </a:pPr>
            <a:r>
              <a:rPr lang="en-US" b="0" i="0" dirty="0">
                <a:solidFill>
                  <a:srgbClr val="4D4D4D"/>
                </a:solidFill>
                <a:effectLst/>
                <a:latin typeface="ff-quadraat-web-pro"/>
              </a:rPr>
              <a:t>.</a:t>
            </a:r>
            <a:endParaRPr lang="en-US" dirty="0"/>
          </a:p>
          <a:p>
            <a:pPr lvl="1"/>
            <a:endParaRPr lang="en-US" dirty="0"/>
          </a:p>
          <a:p>
            <a:pPr lvl="1"/>
            <a:endParaRPr lang="en-US" dirty="0"/>
          </a:p>
        </p:txBody>
      </p:sp>
    </p:spTree>
    <p:extLst>
      <p:ext uri="{BB962C8B-B14F-4D97-AF65-F5344CB8AC3E}">
        <p14:creationId xmlns:p14="http://schemas.microsoft.com/office/powerpoint/2010/main" val="38284310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006D4B-CB77-7D45-8D02-CFE703B48E31}"/>
              </a:ext>
            </a:extLst>
          </p:cNvPr>
          <p:cNvSpPr>
            <a:spLocks noGrp="1"/>
          </p:cNvSpPr>
          <p:nvPr>
            <p:ph type="ctrTitle"/>
          </p:nvPr>
        </p:nvSpPr>
        <p:spPr/>
        <p:txBody>
          <a:bodyPr/>
          <a:lstStyle/>
          <a:p>
            <a:r>
              <a:rPr lang="en-US" dirty="0"/>
              <a:t>Reflection</a:t>
            </a:r>
          </a:p>
        </p:txBody>
      </p:sp>
      <p:sp>
        <p:nvSpPr>
          <p:cNvPr id="4" name="Subtitle 3">
            <a:extLst>
              <a:ext uri="{FF2B5EF4-FFF2-40B4-BE49-F238E27FC236}">
                <a16:creationId xmlns:a16="http://schemas.microsoft.com/office/drawing/2014/main" id="{78EF72FC-5B2A-0640-ADD9-85EE4B4620D9}"/>
              </a:ext>
            </a:extLst>
          </p:cNvPr>
          <p:cNvSpPr>
            <a:spLocks noGrp="1"/>
          </p:cNvSpPr>
          <p:nvPr>
            <p:ph type="subTitle" idx="1"/>
          </p:nvPr>
        </p:nvSpPr>
        <p:spPr>
          <a:xfrm>
            <a:off x="1828800" y="3746090"/>
            <a:ext cx="8534400" cy="1359310"/>
          </a:xfrm>
        </p:spPr>
        <p:txBody>
          <a:bodyPr/>
          <a:lstStyle/>
          <a:p>
            <a:r>
              <a:rPr lang="en-US" dirty="0"/>
              <a:t>David Gray, DO</a:t>
            </a:r>
          </a:p>
        </p:txBody>
      </p:sp>
    </p:spTree>
    <p:extLst>
      <p:ext uri="{BB962C8B-B14F-4D97-AF65-F5344CB8AC3E}">
        <p14:creationId xmlns:p14="http://schemas.microsoft.com/office/powerpoint/2010/main" val="24942197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FA4E34-CBF7-9C46-9F89-3AC35CFCB8EF}"/>
              </a:ext>
            </a:extLst>
          </p:cNvPr>
          <p:cNvSpPr>
            <a:spLocks noGrp="1"/>
          </p:cNvSpPr>
          <p:nvPr>
            <p:ph type="title"/>
          </p:nvPr>
        </p:nvSpPr>
        <p:spPr/>
        <p:txBody>
          <a:bodyPr/>
          <a:lstStyle/>
          <a:p>
            <a:r>
              <a:rPr lang="en-US" dirty="0"/>
              <a:t>Other Options</a:t>
            </a:r>
          </a:p>
        </p:txBody>
      </p:sp>
      <p:sp>
        <p:nvSpPr>
          <p:cNvPr id="3" name="Content Placeholder 2">
            <a:extLst>
              <a:ext uri="{FF2B5EF4-FFF2-40B4-BE49-F238E27FC236}">
                <a16:creationId xmlns:a16="http://schemas.microsoft.com/office/drawing/2014/main" id="{A50741A2-A37C-4928-84A2-92772688B4D5}"/>
              </a:ext>
            </a:extLst>
          </p:cNvPr>
          <p:cNvSpPr>
            <a:spLocks noGrp="1"/>
          </p:cNvSpPr>
          <p:nvPr>
            <p:ph idx="1"/>
          </p:nvPr>
        </p:nvSpPr>
        <p:spPr/>
        <p:txBody>
          <a:bodyPr>
            <a:normAutofit fontScale="77500" lnSpcReduction="20000"/>
          </a:bodyPr>
          <a:lstStyle/>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What is the purpose of these treatment ?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dirty="0">
              <a:solidFill>
                <a:prstClr val="black"/>
              </a:solidFill>
              <a:latin typeface="Calibri" panose="020F0502020204030204"/>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BLAZE (NEJM Oct 28, 2020)  – Interim analysis of phase 2 trial</a:t>
            </a:r>
          </a:p>
          <a:p>
            <a:pPr lvl="2">
              <a:defRPr/>
            </a:pPr>
            <a:r>
              <a:rPr kumimoji="0" lang="en-US" b="0" i="0" u="none" strike="noStrike" kern="1200" cap="none" spc="0" normalizeH="0" baseline="0" noProof="0" dirty="0">
                <a:ln>
                  <a:noFill/>
                </a:ln>
                <a:solidFill>
                  <a:srgbClr val="4D4D4D"/>
                </a:solidFill>
                <a:effectLst/>
                <a:uLnTx/>
                <a:uFillTx/>
                <a:latin typeface="ff-quadraat-web-pro"/>
                <a:ea typeface="+mn-ea"/>
                <a:cs typeface="+mn-cs"/>
              </a:rPr>
              <a:t>On day 29, the percentage of patients who were hospitalized was 1.6% in the LY-CoV555 group and 6.3% in the placebo group. In a post hoc analysis that was focused on high-risk subgroups (an age of ≥65 years or a BMI of ≥35), the percentage of hospitalization was 4.2% In the LY-CoV555 group and 14.6% in the placebo group</a:t>
            </a:r>
          </a:p>
          <a:p>
            <a:pPr lvl="2">
              <a:defRPr/>
            </a:pPr>
            <a:endParaRPr lang="en-US" dirty="0">
              <a:solidFill>
                <a:srgbClr val="4D4D4D"/>
              </a:solidFill>
              <a:latin typeface="ff-quadraat-web-pro"/>
            </a:endParaRPr>
          </a:p>
          <a:p>
            <a:pPr lvl="1">
              <a:defRPr/>
            </a:pPr>
            <a:r>
              <a:rPr lang="en-US" dirty="0">
                <a:solidFill>
                  <a:prstClr val="black"/>
                </a:solidFill>
                <a:latin typeface="Calibri" panose="020F0502020204030204"/>
              </a:rPr>
              <a:t>Early High-Titer Plasma Therapy to Prevent Severe Covid-19 in Older Adults ( NEJM Jan 6, 2021)</a:t>
            </a:r>
          </a:p>
          <a:p>
            <a:pPr lvl="2">
              <a:defRPr/>
            </a:pPr>
            <a:r>
              <a:rPr lang="en-US" b="0" i="0" dirty="0">
                <a:solidFill>
                  <a:srgbClr val="4D4D4D"/>
                </a:solidFill>
                <a:effectLst/>
                <a:latin typeface="ff-quadraat-web-pro"/>
              </a:rPr>
              <a:t>Early administration of high-titer convalescent plasma against SARS-CoV-2 to mildly ill infected older adults reduced the progression of Covid-19</a:t>
            </a:r>
            <a:endParaRPr lang="en-US" dirty="0">
              <a:solidFill>
                <a:prstClr val="black"/>
              </a:solidFill>
              <a:latin typeface="Calibri" panose="020F0502020204030204"/>
            </a:endParaRPr>
          </a:p>
          <a:p>
            <a:pPr lvl="1">
              <a:defRPr/>
            </a:pPr>
            <a:endParaRPr lang="en-US" dirty="0"/>
          </a:p>
          <a:p>
            <a:pPr lvl="1">
              <a:defRPr/>
            </a:pPr>
            <a:r>
              <a:rPr lang="en-US" dirty="0"/>
              <a:t>Patient selection is key.</a:t>
            </a:r>
          </a:p>
          <a:p>
            <a:pPr lvl="1">
              <a:defRPr/>
            </a:pPr>
            <a:endParaRPr lang="en-US" dirty="0"/>
          </a:p>
          <a:p>
            <a:pPr lvl="1">
              <a:defRPr/>
            </a:pPr>
            <a:r>
              <a:rPr lang="en-US" dirty="0"/>
              <a:t>Screening/Approval</a:t>
            </a:r>
          </a:p>
          <a:p>
            <a:pPr lvl="1">
              <a:defRPr/>
            </a:pPr>
            <a:endParaRPr lang="en-US" dirty="0"/>
          </a:p>
          <a:p>
            <a:pPr lvl="1">
              <a:defRPr/>
            </a:pPr>
            <a:endParaRPr lang="en-US" dirty="0"/>
          </a:p>
        </p:txBody>
      </p:sp>
    </p:spTree>
    <p:extLst>
      <p:ext uri="{BB962C8B-B14F-4D97-AF65-F5344CB8AC3E}">
        <p14:creationId xmlns:p14="http://schemas.microsoft.com/office/powerpoint/2010/main" val="28128733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7F8F94-18FB-204D-AB12-97EB9736BEDD}"/>
              </a:ext>
            </a:extLst>
          </p:cNvPr>
          <p:cNvSpPr>
            <a:spLocks noGrp="1"/>
          </p:cNvSpPr>
          <p:nvPr>
            <p:ph type="title"/>
          </p:nvPr>
        </p:nvSpPr>
        <p:spPr/>
        <p:txBody>
          <a:bodyPr/>
          <a:lstStyle/>
          <a:p>
            <a:r>
              <a:rPr lang="en-US" dirty="0"/>
              <a:t>Research</a:t>
            </a:r>
          </a:p>
        </p:txBody>
      </p:sp>
      <p:sp>
        <p:nvSpPr>
          <p:cNvPr id="3" name="Content Placeholder 2">
            <a:extLst>
              <a:ext uri="{FF2B5EF4-FFF2-40B4-BE49-F238E27FC236}">
                <a16:creationId xmlns:a16="http://schemas.microsoft.com/office/drawing/2014/main" id="{BE151CA7-B8DA-420C-A930-B33C43792669}"/>
              </a:ext>
            </a:extLst>
          </p:cNvPr>
          <p:cNvSpPr>
            <a:spLocks noGrp="1"/>
          </p:cNvSpPr>
          <p:nvPr>
            <p:ph idx="1"/>
          </p:nvPr>
        </p:nvSpPr>
        <p:spPr/>
        <p:txBody>
          <a:bodyPr/>
          <a:lstStyle/>
          <a:p>
            <a:endParaRPr lang="en-US" dirty="0"/>
          </a:p>
          <a:p>
            <a:r>
              <a:rPr lang="en-US" dirty="0"/>
              <a:t>Clinical research </a:t>
            </a:r>
          </a:p>
          <a:p>
            <a:pPr lvl="1"/>
            <a:r>
              <a:rPr lang="en-US" dirty="0"/>
              <a:t>Data analysis on </a:t>
            </a:r>
            <a:r>
              <a:rPr lang="en-US" dirty="0" err="1"/>
              <a:t>pt</a:t>
            </a:r>
            <a:r>
              <a:rPr lang="en-US" dirty="0"/>
              <a:t> receiving ab treatment in UMC and CMC </a:t>
            </a:r>
          </a:p>
          <a:p>
            <a:pPr lvl="1"/>
            <a:r>
              <a:rPr lang="en-US" dirty="0"/>
              <a:t>Hospitalization/Symptoms relief /Mortality</a:t>
            </a:r>
          </a:p>
        </p:txBody>
      </p:sp>
    </p:spTree>
    <p:extLst>
      <p:ext uri="{BB962C8B-B14F-4D97-AF65-F5344CB8AC3E}">
        <p14:creationId xmlns:p14="http://schemas.microsoft.com/office/powerpoint/2010/main" val="249118095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FA6EC7-D026-824B-A83E-E27E90652F64}"/>
              </a:ext>
            </a:extLst>
          </p:cNvPr>
          <p:cNvSpPr>
            <a:spLocks noGrp="1"/>
          </p:cNvSpPr>
          <p:nvPr>
            <p:ph type="title"/>
          </p:nvPr>
        </p:nvSpPr>
        <p:spPr/>
        <p:txBody>
          <a:bodyPr/>
          <a:lstStyle/>
          <a:p>
            <a:r>
              <a:rPr lang="en-US" dirty="0" err="1"/>
              <a:t>Remdesivir</a:t>
            </a:r>
            <a:endParaRPr lang="en-US" dirty="0"/>
          </a:p>
        </p:txBody>
      </p:sp>
      <p:sp>
        <p:nvSpPr>
          <p:cNvPr id="3" name="Content Placeholder 2">
            <a:extLst>
              <a:ext uri="{FF2B5EF4-FFF2-40B4-BE49-F238E27FC236}">
                <a16:creationId xmlns:a16="http://schemas.microsoft.com/office/drawing/2014/main" id="{A4580655-A733-48F4-B240-ECB3DF591C79}"/>
              </a:ext>
            </a:extLst>
          </p:cNvPr>
          <p:cNvSpPr>
            <a:spLocks noGrp="1"/>
          </p:cNvSpPr>
          <p:nvPr>
            <p:ph idx="1"/>
          </p:nvPr>
        </p:nvSpPr>
        <p:spPr/>
        <p:txBody>
          <a:bodyPr>
            <a:normAutofit/>
          </a:bodyPr>
          <a:lstStyle/>
          <a:p>
            <a:r>
              <a:rPr lang="en-US" dirty="0" err="1"/>
              <a:t>Remdesivir</a:t>
            </a:r>
            <a:r>
              <a:rPr lang="en-US" dirty="0"/>
              <a:t> </a:t>
            </a:r>
          </a:p>
          <a:p>
            <a:pPr lvl="1"/>
            <a:r>
              <a:rPr lang="en-US" dirty="0"/>
              <a:t>70 pts</a:t>
            </a:r>
          </a:p>
          <a:p>
            <a:pPr lvl="1"/>
            <a:r>
              <a:rPr lang="en-US" dirty="0"/>
              <a:t>325 vials</a:t>
            </a:r>
          </a:p>
          <a:p>
            <a:pPr marL="457200" lvl="1" indent="0">
              <a:buNone/>
            </a:pPr>
            <a:endParaRPr lang="en-US" dirty="0"/>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dirty="0"/>
              <a:t>RDV – </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Dosed once daily. </a:t>
            </a:r>
            <a:r>
              <a:rPr lang="en-US" dirty="0"/>
              <a:t>Approved for inpatient.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dirty="0">
              <a:solidFill>
                <a:schemeClr val="bg1"/>
              </a:solidFill>
            </a:endParaRPr>
          </a:p>
          <a:p>
            <a:pPr lvl="1"/>
            <a:r>
              <a:rPr lang="en-US" dirty="0"/>
              <a:t>1 dose of RDV ~ 1 hospital bed/day</a:t>
            </a:r>
          </a:p>
          <a:p>
            <a:pPr marL="457200" lvl="1" indent="0">
              <a:buNone/>
            </a:pPr>
            <a:endParaRPr lang="en-US" dirty="0"/>
          </a:p>
          <a:p>
            <a:pPr lvl="1"/>
            <a:r>
              <a:rPr lang="en-US" dirty="0"/>
              <a:t>325 dose ~ 325 beds in 7 weeks</a:t>
            </a:r>
          </a:p>
          <a:p>
            <a:pPr lvl="1"/>
            <a:endParaRPr lang="en-US" dirty="0"/>
          </a:p>
        </p:txBody>
      </p:sp>
    </p:spTree>
    <p:extLst>
      <p:ext uri="{BB962C8B-B14F-4D97-AF65-F5344CB8AC3E}">
        <p14:creationId xmlns:p14="http://schemas.microsoft.com/office/powerpoint/2010/main" val="6860469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3FE5235-D836-4848-AFF5-EC6B5C748122}"/>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AE653205-B06B-4099-9678-B8873D18AAF3}"/>
              </a:ext>
            </a:extLst>
          </p:cNvPr>
          <p:cNvSpPr>
            <a:spLocks noGrp="1"/>
          </p:cNvSpPr>
          <p:nvPr>
            <p:ph idx="1"/>
          </p:nvPr>
        </p:nvSpPr>
        <p:spPr/>
        <p:txBody>
          <a:bodyPr/>
          <a:lstStyle/>
          <a:p>
            <a:endParaRPr lang="en-US" dirty="0"/>
          </a:p>
          <a:p>
            <a:r>
              <a:rPr lang="en-US" dirty="0"/>
              <a:t>Converted Covid Unit to Non Covid Unit</a:t>
            </a:r>
          </a:p>
        </p:txBody>
      </p:sp>
    </p:spTree>
    <p:extLst>
      <p:ext uri="{BB962C8B-B14F-4D97-AF65-F5344CB8AC3E}">
        <p14:creationId xmlns:p14="http://schemas.microsoft.com/office/powerpoint/2010/main" val="268450801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8A919CB-78C9-A049-A715-3E4635588CCC}"/>
              </a:ext>
            </a:extLst>
          </p:cNvPr>
          <p:cNvSpPr>
            <a:spLocks noGrp="1"/>
          </p:cNvSpPr>
          <p:nvPr>
            <p:ph type="title"/>
          </p:nvPr>
        </p:nvSpPr>
        <p:spPr/>
        <p:txBody>
          <a:bodyPr/>
          <a:lstStyle/>
          <a:p>
            <a:r>
              <a:rPr lang="en-US" dirty="0"/>
              <a:t>Others are watching our success</a:t>
            </a:r>
          </a:p>
        </p:txBody>
      </p:sp>
      <p:sp>
        <p:nvSpPr>
          <p:cNvPr id="3" name="Content Placeholder 2">
            <a:extLst>
              <a:ext uri="{FF2B5EF4-FFF2-40B4-BE49-F238E27FC236}">
                <a16:creationId xmlns:a16="http://schemas.microsoft.com/office/drawing/2014/main" id="{758FEEBB-1ED8-44C2-B04C-DF241BFD07E7}"/>
              </a:ext>
            </a:extLst>
          </p:cNvPr>
          <p:cNvSpPr>
            <a:spLocks noGrp="1"/>
          </p:cNvSpPr>
          <p:nvPr>
            <p:ph idx="1"/>
          </p:nvPr>
        </p:nvSpPr>
        <p:spPr>
          <a:xfrm>
            <a:off x="622852" y="1219201"/>
            <a:ext cx="10972800" cy="4906963"/>
          </a:xfrm>
        </p:spPr>
        <p:txBody>
          <a:bodyPr/>
          <a:lstStyle/>
          <a:p>
            <a:r>
              <a:rPr lang="en-US" dirty="0"/>
              <a:t>Among very first hospital in Texas to utilize tent for outpatient  treatment of Covid</a:t>
            </a:r>
          </a:p>
          <a:p>
            <a:endParaRPr lang="en-US" dirty="0"/>
          </a:p>
          <a:p>
            <a:r>
              <a:rPr lang="en-US" dirty="0"/>
              <a:t>Very good feedback from pts, providers and State Health</a:t>
            </a:r>
          </a:p>
          <a:p>
            <a:endParaRPr lang="en-US" dirty="0"/>
          </a:p>
          <a:p>
            <a:r>
              <a:rPr lang="en-US" dirty="0"/>
              <a:t>Similar setup in Austin</a:t>
            </a:r>
          </a:p>
        </p:txBody>
      </p:sp>
    </p:spTree>
    <p:extLst>
      <p:ext uri="{BB962C8B-B14F-4D97-AF65-F5344CB8AC3E}">
        <p14:creationId xmlns:p14="http://schemas.microsoft.com/office/powerpoint/2010/main" val="237259806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5D2087-4403-B648-BCA4-DEA1235383F6}"/>
              </a:ext>
            </a:extLst>
          </p:cNvPr>
          <p:cNvSpPr>
            <a:spLocks noGrp="1"/>
          </p:cNvSpPr>
          <p:nvPr>
            <p:ph type="ctrTitle"/>
          </p:nvPr>
        </p:nvSpPr>
        <p:spPr/>
        <p:txBody>
          <a:bodyPr/>
          <a:lstStyle/>
          <a:p>
            <a:r>
              <a:rPr lang="en-US" dirty="0"/>
              <a:t>Request from Dr. </a:t>
            </a:r>
            <a:r>
              <a:rPr lang="en-US" dirty="0" err="1"/>
              <a:t>Duriex</a:t>
            </a:r>
            <a:endParaRPr lang="en-US" dirty="0"/>
          </a:p>
        </p:txBody>
      </p:sp>
      <p:sp>
        <p:nvSpPr>
          <p:cNvPr id="5" name="Subtitle 4">
            <a:extLst>
              <a:ext uri="{FF2B5EF4-FFF2-40B4-BE49-F238E27FC236}">
                <a16:creationId xmlns:a16="http://schemas.microsoft.com/office/drawing/2014/main" id="{0D4E013C-7BE4-5248-B475-2E9F5E78D364}"/>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59789891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9981E7-C321-AF40-B615-5D3FBAC76100}"/>
              </a:ext>
            </a:extLst>
          </p:cNvPr>
          <p:cNvSpPr>
            <a:spLocks noGrp="1"/>
          </p:cNvSpPr>
          <p:nvPr>
            <p:ph type="ctrTitle"/>
          </p:nvPr>
        </p:nvSpPr>
        <p:spPr/>
        <p:txBody>
          <a:bodyPr/>
          <a:lstStyle/>
          <a:p>
            <a:r>
              <a:rPr lang="en-US" dirty="0"/>
              <a:t>Covid-19 Testing</a:t>
            </a:r>
          </a:p>
        </p:txBody>
      </p:sp>
      <p:sp>
        <p:nvSpPr>
          <p:cNvPr id="3" name="Subtitle 2">
            <a:extLst>
              <a:ext uri="{FF2B5EF4-FFF2-40B4-BE49-F238E27FC236}">
                <a16:creationId xmlns:a16="http://schemas.microsoft.com/office/drawing/2014/main" id="{B5322155-7B06-0B46-A1AD-80156C550109}"/>
              </a:ext>
            </a:extLst>
          </p:cNvPr>
          <p:cNvSpPr>
            <a:spLocks noGrp="1"/>
          </p:cNvSpPr>
          <p:nvPr>
            <p:ph type="subTitle" idx="1"/>
          </p:nvPr>
        </p:nvSpPr>
        <p:spPr>
          <a:xfrm>
            <a:off x="1211580" y="3308950"/>
            <a:ext cx="4206240" cy="1752600"/>
          </a:xfrm>
        </p:spPr>
        <p:txBody>
          <a:bodyPr/>
          <a:lstStyle/>
          <a:p>
            <a:endParaRPr lang="en-US" dirty="0"/>
          </a:p>
        </p:txBody>
      </p:sp>
      <p:pic>
        <p:nvPicPr>
          <p:cNvPr id="5" name="Picture 4">
            <a:extLst>
              <a:ext uri="{FF2B5EF4-FFF2-40B4-BE49-F238E27FC236}">
                <a16:creationId xmlns:a16="http://schemas.microsoft.com/office/drawing/2014/main" id="{6489CDE8-A054-404E-A3D1-C004D21512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97257" y="2725342"/>
            <a:ext cx="3765943" cy="2574932"/>
          </a:xfrm>
          <a:prstGeom prst="rect">
            <a:avLst/>
          </a:prstGeom>
        </p:spPr>
      </p:pic>
    </p:spTree>
    <p:extLst>
      <p:ext uri="{BB962C8B-B14F-4D97-AF65-F5344CB8AC3E}">
        <p14:creationId xmlns:p14="http://schemas.microsoft.com/office/powerpoint/2010/main" val="102357744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A45D647-6EA3-A241-9FC1-89D31B6E10D2}"/>
              </a:ext>
            </a:extLst>
          </p:cNvPr>
          <p:cNvPicPr>
            <a:picLocks noChangeAspect="1"/>
          </p:cNvPicPr>
          <p:nvPr/>
        </p:nvPicPr>
        <p:blipFill rotWithShape="1">
          <a:blip r:embed="rId2">
            <a:extLst>
              <a:ext uri="{28A0092B-C50C-407E-A947-70E740481C1C}">
                <a14:useLocalDpi xmlns:a14="http://schemas.microsoft.com/office/drawing/2010/main" val="0"/>
              </a:ext>
            </a:extLst>
          </a:blip>
          <a:srcRect l="20625"/>
          <a:stretch/>
        </p:blipFill>
        <p:spPr>
          <a:xfrm>
            <a:off x="0" y="0"/>
            <a:ext cx="12192000" cy="6735895"/>
          </a:xfrm>
          <a:prstGeom prst="rect">
            <a:avLst/>
          </a:prstGeom>
        </p:spPr>
      </p:pic>
    </p:spTree>
    <p:extLst>
      <p:ext uri="{BB962C8B-B14F-4D97-AF65-F5344CB8AC3E}">
        <p14:creationId xmlns:p14="http://schemas.microsoft.com/office/powerpoint/2010/main" val="21858712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solidFill>
                  <a:schemeClr val="bg1"/>
                </a:solidFill>
                <a:effectLst>
                  <a:outerShdw blurRad="50800" dist="38100" dir="2700000" algn="tl" rotWithShape="0">
                    <a:prstClr val="black">
                      <a:alpha val="40000"/>
                    </a:prstClr>
                  </a:outerShdw>
                </a:effectLst>
              </a:rPr>
              <a:t>TESTING</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99BDD"/>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4066201273"/>
              </p:ext>
            </p:extLst>
          </p:nvPr>
        </p:nvGraphicFramePr>
        <p:xfrm>
          <a:off x="348148" y="1349785"/>
          <a:ext cx="5626523" cy="1981200"/>
        </p:xfrm>
        <a:graphic>
          <a:graphicData uri="http://schemas.openxmlformats.org/drawingml/2006/table">
            <a:tbl>
              <a:tblPr firstRow="1" bandRow="1">
                <a:tableStyleId>{5C22544A-7EE6-4342-B048-85BDC9FD1C3A}</a:tableStyleId>
              </a:tblPr>
              <a:tblGrid>
                <a:gridCol w="1220473">
                  <a:extLst>
                    <a:ext uri="{9D8B030D-6E8A-4147-A177-3AD203B41FA5}">
                      <a16:colId xmlns:a16="http://schemas.microsoft.com/office/drawing/2014/main" val="20000"/>
                    </a:ext>
                  </a:extLst>
                </a:gridCol>
                <a:gridCol w="846335">
                  <a:extLst>
                    <a:ext uri="{9D8B030D-6E8A-4147-A177-3AD203B41FA5}">
                      <a16:colId xmlns:a16="http://schemas.microsoft.com/office/drawing/2014/main" val="20001"/>
                    </a:ext>
                  </a:extLst>
                </a:gridCol>
                <a:gridCol w="997136">
                  <a:extLst>
                    <a:ext uri="{9D8B030D-6E8A-4147-A177-3AD203B41FA5}">
                      <a16:colId xmlns:a16="http://schemas.microsoft.com/office/drawing/2014/main" val="20002"/>
                    </a:ext>
                  </a:extLst>
                </a:gridCol>
                <a:gridCol w="885307">
                  <a:extLst>
                    <a:ext uri="{9D8B030D-6E8A-4147-A177-3AD203B41FA5}">
                      <a16:colId xmlns:a16="http://schemas.microsoft.com/office/drawing/2014/main" val="20003"/>
                    </a:ext>
                  </a:extLst>
                </a:gridCol>
                <a:gridCol w="853590">
                  <a:extLst>
                    <a:ext uri="{9D8B030D-6E8A-4147-A177-3AD203B41FA5}">
                      <a16:colId xmlns:a16="http://schemas.microsoft.com/office/drawing/2014/main" val="20004"/>
                    </a:ext>
                  </a:extLst>
                </a:gridCol>
                <a:gridCol w="823682">
                  <a:extLst>
                    <a:ext uri="{9D8B030D-6E8A-4147-A177-3AD203B41FA5}">
                      <a16:colId xmlns:a16="http://schemas.microsoft.com/office/drawing/2014/main" val="20005"/>
                    </a:ext>
                  </a:extLst>
                </a:gridCol>
              </a:tblGrid>
              <a:tr h="386118">
                <a:tc>
                  <a:txBody>
                    <a:bodyPr/>
                    <a:lstStyle/>
                    <a:p>
                      <a:endParaRPr lang="en-US" sz="20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lumOff val="25000"/>
                      </a:schemeClr>
                    </a:solidFill>
                  </a:tcPr>
                </a:tc>
                <a:tc gridSpan="2">
                  <a:txBody>
                    <a:bodyPr/>
                    <a:lstStyle/>
                    <a:p>
                      <a:pPr algn="ctr"/>
                      <a:r>
                        <a:rPr lang="en-US" sz="2000" dirty="0">
                          <a:solidFill>
                            <a:schemeClr val="tx1"/>
                          </a:solidFill>
                          <a:latin typeface="Arial Narrow" panose="020B0606020202030204" pitchFamily="34" charset="0"/>
                          <a:cs typeface="Arial" panose="020B0604020202020204" pitchFamily="34" charset="0"/>
                        </a:rPr>
                        <a:t>CM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lumOff val="25000"/>
                      </a:schemeClr>
                    </a:solidFill>
                  </a:tcPr>
                </a:tc>
                <a:tc hMerge="1">
                  <a:txBody>
                    <a:bodyPr/>
                    <a:lstStyle/>
                    <a:p>
                      <a:pPr algn="ctr"/>
                      <a:endParaRPr lang="en-US" sz="2000" dirty="0">
                        <a:latin typeface="Arial Narrow" panose="020B060602020203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dirty="0">
                          <a:solidFill>
                            <a:schemeClr val="tx1"/>
                          </a:solidFill>
                          <a:latin typeface="Arial Narrow" panose="020B0606020202030204" pitchFamily="34" charset="0"/>
                          <a:cs typeface="Arial" panose="020B0604020202020204" pitchFamily="34" charset="0"/>
                        </a:rPr>
                        <a:t>GM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lumOff val="25000"/>
                      </a:schemeClr>
                    </a:solidFill>
                  </a:tcPr>
                </a:tc>
                <a:tc hMerge="1">
                  <a:txBody>
                    <a:bodyPr/>
                    <a:lstStyle/>
                    <a:p>
                      <a:pPr algn="ctr"/>
                      <a:endParaRPr lang="en-US" sz="2000" dirty="0">
                        <a:latin typeface="Arial Narrow" panose="020B060602020203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Narrow" panose="020B0606020202030204" pitchFamily="34" charset="0"/>
                          <a:cs typeface="Arial" panose="020B0604020202020204" pitchFamily="34" charset="0"/>
                        </a:rPr>
                        <a:t>CM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lumOff val="25000"/>
                      </a:schemeClr>
                    </a:solidFill>
                  </a:tcPr>
                </a:tc>
                <a:extLst>
                  <a:ext uri="{0D108BD9-81ED-4DB2-BD59-A6C34878D82A}">
                    <a16:rowId xmlns:a16="http://schemas.microsoft.com/office/drawing/2014/main" val="10000"/>
                  </a:ext>
                </a:extLst>
              </a:tr>
              <a:tr h="366860">
                <a:tc>
                  <a:txBody>
                    <a:bodyPr/>
                    <a:lstStyle/>
                    <a:p>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Rap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tc>
                  <a:txBody>
                    <a:bodyPr/>
                    <a:lstStyle/>
                    <a:p>
                      <a:pPr algn="ctr"/>
                      <a:r>
                        <a:rPr lang="en-US" sz="1600" b="1" dirty="0">
                          <a:latin typeface="Arial" panose="020B0604020202020204" pitchFamily="34" charset="0"/>
                          <a:cs typeface="Arial" panose="020B0604020202020204" pitchFamily="34" charset="0"/>
                        </a:rPr>
                        <a:t>PC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tc>
                  <a:txBody>
                    <a:bodyPr/>
                    <a:lstStyle/>
                    <a:p>
                      <a:pPr marL="0" algn="ctr" defTabSz="914400" rtl="0" eaLnBrk="1" latinLnBrk="0" hangingPunct="1"/>
                      <a:r>
                        <a:rPr lang="en-US" sz="1600" b="1" kern="1200" dirty="0">
                          <a:solidFill>
                            <a:schemeClr val="dk1"/>
                          </a:solidFill>
                          <a:latin typeface="Arial" panose="020B0604020202020204" pitchFamily="34" charset="0"/>
                          <a:ea typeface="+mn-ea"/>
                          <a:cs typeface="Arial" panose="020B0604020202020204" pitchFamily="34" charset="0"/>
                        </a:rPr>
                        <a:t>Rap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tc>
                  <a:txBody>
                    <a:bodyPr/>
                    <a:lstStyle/>
                    <a:p>
                      <a:pPr marL="0" algn="ctr" defTabSz="914400" rtl="0" eaLnBrk="1" latinLnBrk="0" hangingPunct="1"/>
                      <a:r>
                        <a:rPr lang="en-US" sz="1600" b="1" kern="1200" dirty="0">
                          <a:solidFill>
                            <a:schemeClr val="dk1"/>
                          </a:solidFill>
                          <a:latin typeface="Arial" panose="020B0604020202020204" pitchFamily="34" charset="0"/>
                          <a:ea typeface="+mn-ea"/>
                          <a:cs typeface="Arial" panose="020B0604020202020204" pitchFamily="34" charset="0"/>
                        </a:rPr>
                        <a:t>PC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tc>
                  <a:txBody>
                    <a:bodyPr/>
                    <a:lstStyle/>
                    <a:p>
                      <a:pPr algn="ctr"/>
                      <a:r>
                        <a:rPr lang="en-US" sz="1600" b="1" dirty="0">
                          <a:latin typeface="Arial" panose="020B0604020202020204" pitchFamily="34" charset="0"/>
                          <a:cs typeface="Arial" panose="020B0604020202020204" pitchFamily="34" charset="0"/>
                        </a:rPr>
                        <a:t>Rap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extLst>
                  <a:ext uri="{0D108BD9-81ED-4DB2-BD59-A6C34878D82A}">
                    <a16:rowId xmlns:a16="http://schemas.microsoft.com/office/drawing/2014/main" val="10001"/>
                  </a:ext>
                </a:extLst>
              </a:tr>
              <a:tr h="348087">
                <a:tc>
                  <a:txBody>
                    <a:bodyPr/>
                    <a:lstStyle/>
                    <a:p>
                      <a:r>
                        <a:rPr lang="en-US" sz="2000" b="1" dirty="0"/>
                        <a:t>Test Ki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marL="0" algn="ctr" defTabSz="914400" rtl="0" eaLnBrk="1" latinLnBrk="0" hangingPunct="1"/>
                      <a:endParaRPr lang="en-US" sz="2000" b="0" kern="1200" dirty="0">
                        <a:solidFill>
                          <a:schemeClr val="dk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marL="0" algn="ctr" defTabSz="914400" rtl="0" eaLnBrk="1" latinLnBrk="0" hangingPunct="1"/>
                      <a:endParaRPr lang="en-US" sz="2000" b="0" kern="1200" dirty="0">
                        <a:solidFill>
                          <a:schemeClr val="dk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0002"/>
                  </a:ext>
                </a:extLst>
              </a:tr>
              <a:tr h="359134">
                <a:tc>
                  <a:txBody>
                    <a:bodyPr/>
                    <a:lstStyle/>
                    <a:p>
                      <a:r>
                        <a:rPr lang="en-US" sz="2000" b="1" dirty="0"/>
                        <a:t>Swab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0003"/>
                  </a:ext>
                </a:extLst>
              </a:tr>
              <a:tr h="319008">
                <a:tc>
                  <a:txBody>
                    <a:bodyPr/>
                    <a:lstStyle/>
                    <a:p>
                      <a:r>
                        <a:rPr lang="en-US" sz="2000" b="1" dirty="0"/>
                        <a:t>VT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0004"/>
                  </a:ext>
                </a:extLst>
              </a:tr>
            </a:tbl>
          </a:graphicData>
        </a:graphic>
      </p:graphicFrame>
      <p:sp>
        <p:nvSpPr>
          <p:cNvPr id="3" name="TextBox 2"/>
          <p:cNvSpPr txBox="1"/>
          <p:nvPr/>
        </p:nvSpPr>
        <p:spPr>
          <a:xfrm>
            <a:off x="6314446" y="3886103"/>
            <a:ext cx="5877554" cy="1384995"/>
          </a:xfrm>
          <a:prstGeom prst="rect">
            <a:avLst/>
          </a:prstGeom>
          <a:noFill/>
        </p:spPr>
        <p:txBody>
          <a:bodyPr wrap="square" rtlCol="0">
            <a:spAutoFit/>
          </a:bodyPr>
          <a:lstStyle/>
          <a:p>
            <a:r>
              <a:rPr lang="en-US" sz="2800" dirty="0">
                <a:solidFill>
                  <a:srgbClr val="FFFFFF"/>
                </a:solidFill>
                <a:latin typeface="Arial" panose="020B0604020202020204" pitchFamily="34" charset="0"/>
                <a:cs typeface="Arial" panose="020B0604020202020204" pitchFamily="34" charset="0"/>
              </a:rPr>
              <a:t>CMC- </a:t>
            </a:r>
            <a:r>
              <a:rPr lang="en-US" sz="2800" dirty="0" err="1">
                <a:solidFill>
                  <a:srgbClr val="FFFFFF"/>
                </a:solidFill>
                <a:latin typeface="Arial" panose="020B0604020202020204" pitchFamily="34" charset="0"/>
                <a:cs typeface="Arial" panose="020B0604020202020204" pitchFamily="34" charset="0"/>
              </a:rPr>
              <a:t>Alinity</a:t>
            </a:r>
            <a:r>
              <a:rPr lang="en-US" sz="2800" dirty="0">
                <a:solidFill>
                  <a:srgbClr val="FFFFFF"/>
                </a:solidFill>
                <a:latin typeface="Arial" panose="020B0604020202020204" pitchFamily="34" charset="0"/>
                <a:cs typeface="Arial" panose="020B0604020202020204" pitchFamily="34" charset="0"/>
              </a:rPr>
              <a:t> back online</a:t>
            </a:r>
          </a:p>
          <a:p>
            <a:r>
              <a:rPr lang="en-US" sz="2800" dirty="0">
                <a:solidFill>
                  <a:srgbClr val="FFFFFF"/>
                </a:solidFill>
                <a:latin typeface="Arial" panose="020B0604020202020204" pitchFamily="34" charset="0"/>
                <a:cs typeface="Arial" panose="020B0604020202020204" pitchFamily="34" charset="0"/>
              </a:rPr>
              <a:t>GMG- no issues</a:t>
            </a:r>
          </a:p>
          <a:p>
            <a:r>
              <a:rPr lang="en-US" sz="2800" dirty="0">
                <a:solidFill>
                  <a:srgbClr val="FFFFFF"/>
                </a:solidFill>
                <a:latin typeface="Arial" panose="020B0604020202020204" pitchFamily="34" charset="0"/>
                <a:cs typeface="Arial" panose="020B0604020202020204" pitchFamily="34" charset="0"/>
              </a:rPr>
              <a:t>CMG- no issues</a:t>
            </a:r>
            <a:endParaRPr lang="en-US" sz="2400" dirty="0">
              <a:solidFill>
                <a:srgbClr val="FFFFFF"/>
              </a:solidFill>
              <a:latin typeface="Arial" panose="020B0604020202020204" pitchFamily="34" charset="0"/>
              <a:cs typeface="Arial" panose="020B0604020202020204" pitchFamily="34" charset="0"/>
            </a:endParaRPr>
          </a:p>
        </p:txBody>
      </p:sp>
      <p:graphicFrame>
        <p:nvGraphicFramePr>
          <p:cNvPr id="8" name="Table 7"/>
          <p:cNvGraphicFramePr>
            <a:graphicFrameLocks noGrp="1"/>
          </p:cNvGraphicFramePr>
          <p:nvPr>
            <p:extLst>
              <p:ext uri="{D42A27DB-BD31-4B8C-83A1-F6EECF244321}">
                <p14:modId xmlns:p14="http://schemas.microsoft.com/office/powerpoint/2010/main" val="3013024791"/>
              </p:ext>
            </p:extLst>
          </p:nvPr>
        </p:nvGraphicFramePr>
        <p:xfrm>
          <a:off x="6290454" y="1314387"/>
          <a:ext cx="5403397" cy="2049227"/>
        </p:xfrm>
        <a:graphic>
          <a:graphicData uri="http://schemas.openxmlformats.org/drawingml/2006/table">
            <a:tbl>
              <a:tblPr firstRow="1" bandRow="1">
                <a:tableStyleId>{5C22544A-7EE6-4342-B048-85BDC9FD1C3A}</a:tableStyleId>
              </a:tblPr>
              <a:tblGrid>
                <a:gridCol w="1037096">
                  <a:extLst>
                    <a:ext uri="{9D8B030D-6E8A-4147-A177-3AD203B41FA5}">
                      <a16:colId xmlns:a16="http://schemas.microsoft.com/office/drawing/2014/main" val="20000"/>
                    </a:ext>
                  </a:extLst>
                </a:gridCol>
                <a:gridCol w="1211283">
                  <a:extLst>
                    <a:ext uri="{9D8B030D-6E8A-4147-A177-3AD203B41FA5}">
                      <a16:colId xmlns:a16="http://schemas.microsoft.com/office/drawing/2014/main" val="20001"/>
                    </a:ext>
                  </a:extLst>
                </a:gridCol>
                <a:gridCol w="878774">
                  <a:extLst>
                    <a:ext uri="{9D8B030D-6E8A-4147-A177-3AD203B41FA5}">
                      <a16:colId xmlns:a16="http://schemas.microsoft.com/office/drawing/2014/main" val="20002"/>
                    </a:ext>
                  </a:extLst>
                </a:gridCol>
                <a:gridCol w="1223158">
                  <a:extLst>
                    <a:ext uri="{9D8B030D-6E8A-4147-A177-3AD203B41FA5}">
                      <a16:colId xmlns:a16="http://schemas.microsoft.com/office/drawing/2014/main" val="20003"/>
                    </a:ext>
                  </a:extLst>
                </a:gridCol>
                <a:gridCol w="1053086">
                  <a:extLst>
                    <a:ext uri="{9D8B030D-6E8A-4147-A177-3AD203B41FA5}">
                      <a16:colId xmlns:a16="http://schemas.microsoft.com/office/drawing/2014/main" val="20004"/>
                    </a:ext>
                  </a:extLst>
                </a:gridCol>
              </a:tblGrid>
              <a:tr h="411185">
                <a:tc>
                  <a:txBody>
                    <a:bodyPr/>
                    <a:lstStyle/>
                    <a:p>
                      <a:pPr algn="ctr"/>
                      <a:endParaRPr lang="en-US" sz="2000" b="1">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a:solidFill>
                            <a:schemeClr val="tx1"/>
                          </a:solidFill>
                          <a:latin typeface="Arial" panose="020B0604020202020204" pitchFamily="34" charset="0"/>
                          <a:cs typeface="Arial" panose="020B0604020202020204" pitchFamily="34" charset="0"/>
                        </a:rPr>
                        <a:t>CMC</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a:solidFill>
                            <a:schemeClr val="tx1"/>
                          </a:solidFill>
                          <a:latin typeface="Arial" panose="020B0604020202020204" pitchFamily="34" charset="0"/>
                          <a:cs typeface="Arial" panose="020B0604020202020204" pitchFamily="34" charset="0"/>
                        </a:rPr>
                        <a:t>GMG/CMG</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extLst>
                  <a:ext uri="{0D108BD9-81ED-4DB2-BD59-A6C34878D82A}">
                    <a16:rowId xmlns:a16="http://schemas.microsoft.com/office/drawing/2014/main" val="10000"/>
                  </a:ext>
                </a:extLst>
              </a:tr>
              <a:tr h="411185">
                <a:tc>
                  <a:txBody>
                    <a:bodyPr/>
                    <a:lstStyle/>
                    <a:p>
                      <a:endParaRPr lang="en-US" sz="200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b="1">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tc>
                  <a:txBody>
                    <a:bodyPr/>
                    <a:lstStyle/>
                    <a:p>
                      <a:pPr algn="ctr"/>
                      <a:r>
                        <a:rPr lang="en-US" sz="2000" b="1">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extLst>
                  <a:ext uri="{0D108BD9-81ED-4DB2-BD59-A6C34878D82A}">
                    <a16:rowId xmlns:a16="http://schemas.microsoft.com/office/drawing/2014/main" val="10001"/>
                  </a:ext>
                </a:extLst>
              </a:tr>
              <a:tr h="405275">
                <a:tc>
                  <a:txBody>
                    <a:bodyPr/>
                    <a:lstStyle/>
                    <a:p>
                      <a:r>
                        <a:rPr lang="en-US" sz="2000" b="1">
                          <a:latin typeface="Arial" panose="020B0604020202020204" pitchFamily="34" charset="0"/>
                          <a:cs typeface="Arial" panose="020B0604020202020204" pitchFamily="34" charset="0"/>
                        </a:rPr>
                        <a:t>12/21</a:t>
                      </a:r>
                    </a:p>
                  </a:txBody>
                  <a:tcPr/>
                </a:tc>
                <a:tc>
                  <a:txBody>
                    <a:bodyPr/>
                    <a:lstStyle/>
                    <a:p>
                      <a:pPr algn="ctr"/>
                      <a:r>
                        <a:rPr lang="en-US">
                          <a:latin typeface="Arial" panose="020B0604020202020204" pitchFamily="34" charset="0"/>
                          <a:cs typeface="Arial" panose="020B0604020202020204" pitchFamily="34" charset="0"/>
                        </a:rPr>
                        <a:t>95</a:t>
                      </a:r>
                    </a:p>
                  </a:txBody>
                  <a:tcPr/>
                </a:tc>
                <a:tc>
                  <a:txBody>
                    <a:bodyPr/>
                    <a:lstStyle/>
                    <a:p>
                      <a:pPr algn="ctr"/>
                      <a:r>
                        <a:rPr lang="en-US">
                          <a:latin typeface="Arial" panose="020B0604020202020204" pitchFamily="34" charset="0"/>
                          <a:cs typeface="Arial" panose="020B0604020202020204" pitchFamily="34" charset="0"/>
                        </a:rPr>
                        <a:t>14</a:t>
                      </a:r>
                    </a:p>
                  </a:txBody>
                  <a:tcPr/>
                </a:tc>
                <a:tc>
                  <a:txBody>
                    <a:bodyPr/>
                    <a:lstStyle/>
                    <a:p>
                      <a:pPr algn="ctr"/>
                      <a:r>
                        <a:rPr lang="en-US">
                          <a:latin typeface="Arial" panose="020B0604020202020204" pitchFamily="34" charset="0"/>
                          <a:cs typeface="Arial" panose="020B0604020202020204" pitchFamily="34" charset="0"/>
                        </a:rPr>
                        <a:t>24</a:t>
                      </a:r>
                    </a:p>
                  </a:txBody>
                  <a:tcPr/>
                </a:tc>
                <a:tc>
                  <a:txBody>
                    <a:bodyPr/>
                    <a:lstStyle/>
                    <a:p>
                      <a:pPr algn="ctr"/>
                      <a:r>
                        <a:rPr lang="en-US">
                          <a:latin typeface="Arial" panose="020B0604020202020204" pitchFamily="34" charset="0"/>
                          <a:cs typeface="Arial" panose="020B0604020202020204" pitchFamily="34" charset="0"/>
                        </a:rPr>
                        <a:t>3</a:t>
                      </a:r>
                    </a:p>
                  </a:txBody>
                  <a:tcPr/>
                </a:tc>
                <a:extLst>
                  <a:ext uri="{0D108BD9-81ED-4DB2-BD59-A6C34878D82A}">
                    <a16:rowId xmlns:a16="http://schemas.microsoft.com/office/drawing/2014/main" val="10002"/>
                  </a:ext>
                </a:extLst>
              </a:tr>
              <a:tr h="410791">
                <a:tc>
                  <a:txBody>
                    <a:bodyPr/>
                    <a:lstStyle/>
                    <a:p>
                      <a:r>
                        <a:rPr lang="en-US" sz="2000" b="1">
                          <a:latin typeface="Arial" panose="020B0604020202020204" pitchFamily="34" charset="0"/>
                          <a:cs typeface="Arial" panose="020B0604020202020204" pitchFamily="34" charset="0"/>
                        </a:rPr>
                        <a:t>12/22</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239</a:t>
                      </a:r>
                    </a:p>
                  </a:txBody>
                  <a:tcPr/>
                </a:tc>
                <a:tc>
                  <a:txBody>
                    <a:bodyPr/>
                    <a:lstStyle/>
                    <a:p>
                      <a:pPr algn="ctr"/>
                      <a:r>
                        <a:rPr lang="en-US">
                          <a:latin typeface="Arial" panose="020B0604020202020204" pitchFamily="34" charset="0"/>
                          <a:cs typeface="Arial" panose="020B0604020202020204" pitchFamily="34" charset="0"/>
                        </a:rPr>
                        <a:t>41</a:t>
                      </a:r>
                    </a:p>
                  </a:txBody>
                  <a:tcPr/>
                </a:tc>
                <a:tc>
                  <a:txBody>
                    <a:bodyPr/>
                    <a:lstStyle/>
                    <a:p>
                      <a:pPr algn="ctr"/>
                      <a:r>
                        <a:rPr lang="en-US">
                          <a:latin typeface="Arial" panose="020B0604020202020204" pitchFamily="34" charset="0"/>
                          <a:cs typeface="Arial" panose="020B0604020202020204" pitchFamily="34" charset="0"/>
                        </a:rPr>
                        <a:t>177</a:t>
                      </a:r>
                    </a:p>
                  </a:txBody>
                  <a:tcPr/>
                </a:tc>
                <a:tc>
                  <a:txBody>
                    <a:bodyPr/>
                    <a:lstStyle/>
                    <a:p>
                      <a:pPr algn="ctr"/>
                      <a:r>
                        <a:rPr lang="en-US">
                          <a:latin typeface="Arial" panose="020B0604020202020204" pitchFamily="34" charset="0"/>
                          <a:cs typeface="Arial" panose="020B0604020202020204" pitchFamily="34" charset="0"/>
                        </a:rPr>
                        <a:t>48</a:t>
                      </a:r>
                    </a:p>
                  </a:txBody>
                  <a:tcPr/>
                </a:tc>
                <a:extLst>
                  <a:ext uri="{0D108BD9-81ED-4DB2-BD59-A6C34878D82A}">
                    <a16:rowId xmlns:a16="http://schemas.microsoft.com/office/drawing/2014/main" val="10003"/>
                  </a:ext>
                </a:extLst>
              </a:tr>
              <a:tr h="410791">
                <a:tc>
                  <a:txBody>
                    <a:bodyPr/>
                    <a:lstStyle/>
                    <a:p>
                      <a:r>
                        <a:rPr lang="en-US" sz="2000" b="1">
                          <a:latin typeface="Arial" panose="020B0604020202020204" pitchFamily="34" charset="0"/>
                          <a:cs typeface="Arial" panose="020B0604020202020204" pitchFamily="34" charset="0"/>
                        </a:rPr>
                        <a:t>12/23</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217</a:t>
                      </a:r>
                    </a:p>
                  </a:txBody>
                  <a:tcPr/>
                </a:tc>
                <a:tc>
                  <a:txBody>
                    <a:bodyPr/>
                    <a:lstStyle/>
                    <a:p>
                      <a:pPr algn="ctr"/>
                      <a:r>
                        <a:rPr lang="en-US">
                          <a:latin typeface="Arial" panose="020B0604020202020204" pitchFamily="34" charset="0"/>
                          <a:cs typeface="Arial" panose="020B0604020202020204" pitchFamily="34" charset="0"/>
                        </a:rPr>
                        <a:t>33</a:t>
                      </a:r>
                    </a:p>
                  </a:txBody>
                  <a:tcPr/>
                </a:tc>
                <a:tc>
                  <a:txBody>
                    <a:bodyPr/>
                    <a:lstStyle/>
                    <a:p>
                      <a:pPr algn="ctr"/>
                      <a:r>
                        <a:rPr lang="en-US">
                          <a:latin typeface="Arial" panose="020B0604020202020204" pitchFamily="34" charset="0"/>
                          <a:cs typeface="Arial" panose="020B0604020202020204" pitchFamily="34" charset="0"/>
                        </a:rPr>
                        <a:t>179</a:t>
                      </a:r>
                    </a:p>
                  </a:txBody>
                  <a:tcPr/>
                </a:tc>
                <a:tc>
                  <a:txBody>
                    <a:bodyPr/>
                    <a:lstStyle/>
                    <a:p>
                      <a:pPr algn="ctr"/>
                      <a:r>
                        <a:rPr lang="en-US">
                          <a:latin typeface="Arial" panose="020B0604020202020204" pitchFamily="34" charset="0"/>
                          <a:cs typeface="Arial" panose="020B0604020202020204" pitchFamily="34" charset="0"/>
                        </a:rPr>
                        <a:t>49</a:t>
                      </a:r>
                    </a:p>
                  </a:txBody>
                  <a:tcPr/>
                </a:tc>
                <a:extLst>
                  <a:ext uri="{0D108BD9-81ED-4DB2-BD59-A6C34878D82A}">
                    <a16:rowId xmlns:a16="http://schemas.microsoft.com/office/drawing/2014/main" val="10004"/>
                  </a:ext>
                </a:extLst>
              </a:tr>
            </a:tbl>
          </a:graphicData>
        </a:graphic>
      </p:graphicFrame>
      <p:sp>
        <p:nvSpPr>
          <p:cNvPr id="10" name="Rectangle 9"/>
          <p:cNvSpPr/>
          <p:nvPr/>
        </p:nvSpPr>
        <p:spPr>
          <a:xfrm>
            <a:off x="1271877" y="3764077"/>
            <a:ext cx="338328" cy="301752"/>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TextBox 10"/>
          <p:cNvSpPr txBox="1"/>
          <p:nvPr/>
        </p:nvSpPr>
        <p:spPr>
          <a:xfrm>
            <a:off x="1725635" y="3705346"/>
            <a:ext cx="5149906" cy="1015663"/>
          </a:xfrm>
          <a:prstGeom prst="rect">
            <a:avLst/>
          </a:prstGeom>
          <a:noFill/>
        </p:spPr>
        <p:txBody>
          <a:bodyPr wrap="square" rtlCol="0">
            <a:spAutoFit/>
          </a:bodyPr>
          <a:lstStyle/>
          <a:p>
            <a:r>
              <a:rPr lang="en-US" sz="2000">
                <a:solidFill>
                  <a:srgbClr val="FFFFFF"/>
                </a:solidFill>
                <a:latin typeface="Arial" panose="020B0604020202020204" pitchFamily="34" charset="0"/>
                <a:cs typeface="Arial" panose="020B0604020202020204" pitchFamily="34" charset="0"/>
              </a:rPr>
              <a:t>&gt;2000     &gt;750          </a:t>
            </a:r>
          </a:p>
          <a:p>
            <a:r>
              <a:rPr lang="en-US" sz="2000">
                <a:solidFill>
                  <a:srgbClr val="FFFFFF"/>
                </a:solidFill>
                <a:latin typeface="Arial" panose="020B0604020202020204" pitchFamily="34" charset="0"/>
                <a:cs typeface="Arial" panose="020B0604020202020204" pitchFamily="34" charset="0"/>
              </a:rPr>
              <a:t>&lt;2000     &lt;750</a:t>
            </a:r>
          </a:p>
          <a:p>
            <a:r>
              <a:rPr lang="en-US" sz="2000">
                <a:solidFill>
                  <a:srgbClr val="FFFFFF"/>
                </a:solidFill>
                <a:latin typeface="Arial" panose="020B0604020202020204" pitchFamily="34" charset="0"/>
                <a:cs typeface="Arial" panose="020B0604020202020204" pitchFamily="34" charset="0"/>
              </a:rPr>
              <a:t>&lt;1600     &lt;500</a:t>
            </a:r>
          </a:p>
        </p:txBody>
      </p:sp>
      <p:sp>
        <p:nvSpPr>
          <p:cNvPr id="12" name="Rectangle 11"/>
          <p:cNvSpPr/>
          <p:nvPr/>
        </p:nvSpPr>
        <p:spPr>
          <a:xfrm>
            <a:off x="1271877" y="4095901"/>
            <a:ext cx="338328" cy="301752"/>
          </a:xfrm>
          <a:prstGeom prst="rect">
            <a:avLst/>
          </a:prstGeom>
          <a:solidFill>
            <a:srgbClr val="FFFF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 name="Rectangle 12"/>
          <p:cNvSpPr/>
          <p:nvPr/>
        </p:nvSpPr>
        <p:spPr>
          <a:xfrm>
            <a:off x="1271877" y="4427725"/>
            <a:ext cx="338328" cy="301752"/>
          </a:xfrm>
          <a:prstGeom prst="rect">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 name="TextBox 3"/>
          <p:cNvSpPr txBox="1"/>
          <p:nvPr/>
        </p:nvSpPr>
        <p:spPr>
          <a:xfrm>
            <a:off x="1851316" y="3330985"/>
            <a:ext cx="684803" cy="461665"/>
          </a:xfrm>
          <a:prstGeom prst="rect">
            <a:avLst/>
          </a:prstGeom>
          <a:noFill/>
        </p:spPr>
        <p:txBody>
          <a:bodyPr wrap="none" rtlCol="0">
            <a:spAutoFit/>
          </a:bodyPr>
          <a:lstStyle/>
          <a:p>
            <a:r>
              <a:rPr lang="en-US" sz="2400" b="1">
                <a:solidFill>
                  <a:schemeClr val="bg1"/>
                </a:solidFill>
              </a:rPr>
              <a:t>PCR</a:t>
            </a:r>
          </a:p>
        </p:txBody>
      </p:sp>
      <p:sp>
        <p:nvSpPr>
          <p:cNvPr id="14" name="TextBox 13"/>
          <p:cNvSpPr txBox="1"/>
          <p:nvPr/>
        </p:nvSpPr>
        <p:spPr>
          <a:xfrm>
            <a:off x="2731249" y="3345341"/>
            <a:ext cx="1039067" cy="461665"/>
          </a:xfrm>
          <a:prstGeom prst="rect">
            <a:avLst/>
          </a:prstGeom>
          <a:noFill/>
        </p:spPr>
        <p:txBody>
          <a:bodyPr wrap="none" rtlCol="0">
            <a:spAutoFit/>
          </a:bodyPr>
          <a:lstStyle/>
          <a:p>
            <a:r>
              <a:rPr lang="en-US" sz="2400" b="1">
                <a:solidFill>
                  <a:schemeClr val="bg1"/>
                </a:solidFill>
              </a:rPr>
              <a:t>Rapids</a:t>
            </a:r>
          </a:p>
        </p:txBody>
      </p:sp>
    </p:spTree>
    <p:extLst>
      <p:ext uri="{BB962C8B-B14F-4D97-AF65-F5344CB8AC3E}">
        <p14:creationId xmlns:p14="http://schemas.microsoft.com/office/powerpoint/2010/main" val="136063694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lIns="91440" tIns="45720" rIns="91440" bIns="45720" anchor="t"/>
          <a:lstStyle/>
          <a:p>
            <a:r>
              <a:rPr lang="en-US"/>
              <a:t>Pharmacy Update</a:t>
            </a:r>
            <a:br>
              <a:rPr lang="en-US"/>
            </a:br>
            <a:endParaRPr lang="en-US"/>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a:xfrm>
            <a:off x="3328021" y="3440151"/>
            <a:ext cx="5758069" cy="1752600"/>
          </a:xfrm>
        </p:spPr>
        <p:txBody>
          <a:bodyPr anchor="t"/>
          <a:lstStyle/>
          <a:p>
            <a:r>
              <a:rPr lang="en-US" sz="2400" dirty="0">
                <a:ea typeface="+mn-lt"/>
                <a:cs typeface="+mn-lt"/>
              </a:rPr>
              <a:t>Wesley Wells, PharmD</a:t>
            </a:r>
          </a:p>
          <a:p>
            <a:r>
              <a:rPr lang="en-US" sz="2000" dirty="0">
                <a:ea typeface="+mn-lt"/>
                <a:cs typeface="+mn-lt"/>
              </a:rPr>
              <a:t>Regional Pharmacy Director </a:t>
            </a:r>
          </a:p>
          <a:p>
            <a:r>
              <a:rPr lang="en-US" sz="2000" dirty="0">
                <a:ea typeface="+mn-lt"/>
                <a:cs typeface="+mn-lt"/>
              </a:rPr>
              <a:t>Covenant Health</a:t>
            </a:r>
            <a:endParaRPr lang="en-US" sz="2000" dirty="0"/>
          </a:p>
        </p:txBody>
      </p:sp>
    </p:spTree>
    <p:extLst>
      <p:ext uri="{BB962C8B-B14F-4D97-AF65-F5344CB8AC3E}">
        <p14:creationId xmlns:p14="http://schemas.microsoft.com/office/powerpoint/2010/main" val="23708203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49CAEA0-7C44-9643-A0EC-E1F37DE741A2}"/>
              </a:ext>
            </a:extLst>
          </p:cNvPr>
          <p:cNvSpPr>
            <a:spLocks noChangeArrowheads="1"/>
          </p:cNvSpPr>
          <p:nvPr/>
        </p:nvSpPr>
        <p:spPr bwMode="auto">
          <a:xfrm>
            <a:off x="418454" y="1148658"/>
            <a:ext cx="6633275" cy="5539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a:t>
            </a:r>
            <a:r>
              <a:rPr kumimoji="0" lang="en-US" altLang="en-US" sz="2400" b="0" i="0" u="none" strike="noStrike" cap="none" normalizeH="0" baseline="3000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d</a:t>
            </a:r>
            <a:r>
              <a:rPr kumimoji="0" lang="en-US" altLang="en-US" sz="24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Reflection Dying alone –</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2400" dirty="0">
                <a:latin typeface="Calibri" panose="020F0502020204030204" pitchFamily="34" charset="0"/>
                <a:ea typeface="Calibri" panose="020F0502020204030204" pitchFamily="34" charset="0"/>
                <a:cs typeface="Times New Roman" panose="02020603050405020304" pitchFamily="18" charset="0"/>
              </a:rPr>
              <a:t>	</a:t>
            </a:r>
            <a:r>
              <a:rPr kumimoji="0" lang="en-US" altLang="en-US" sz="24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elanie </a:t>
            </a:r>
            <a:r>
              <a:rPr kumimoji="0" lang="en-US" altLang="en-US" sz="2400" b="0" i="0" u="none" strike="noStrike" cap="none" normalizeH="0" baseline="0" dirty="0" err="1">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Oblender</a:t>
            </a:r>
            <a:r>
              <a:rPr kumimoji="0" lang="en-US" altLang="en-US" sz="24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1-2021</a:t>
            </a:r>
            <a:endParaRPr kumimoji="0" lang="en-US" altLang="en-US" sz="11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I was reading an article recently written by an Internist in the Canadian healthcare system about – COVID-19. He was advocating for relaxing visitor restrictions, especially in end of life situations. He never stated what the visitor restrictions are in the Canadian Healthcare system, but described the tremendous psychological toll on caregivers as they attempt to be the bridge between a family and their loved one dying of COVID-19. Their objective is to see that no one dies alone.</a:t>
            </a:r>
            <a:endParaRPr kumimoji="0" lang="en-US" altLang="en-US" sz="11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You know how your mind can jump from one thing to another to another… Jump with me today.</a:t>
            </a:r>
            <a:endParaRPr kumimoji="0" lang="en-US" altLang="en-US" sz="11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000" b="0" i="0" u="none" strike="noStrike" cap="none" normalizeH="0" baseline="0" dirty="0">
              <a:ln>
                <a:noFill/>
              </a:ln>
              <a:solidFill>
                <a:schemeClr val="tx1"/>
              </a:solidFill>
              <a:effectLst/>
              <a:latin typeface="Arial" panose="020B0604020202020204" pitchFamily="34" charset="0"/>
            </a:endParaRPr>
          </a:p>
        </p:txBody>
      </p:sp>
      <p:pic>
        <p:nvPicPr>
          <p:cNvPr id="16385" name="Picture 1" descr="File:Approaching Omaha.jpg">
            <a:extLst>
              <a:ext uri="{FF2B5EF4-FFF2-40B4-BE49-F238E27FC236}">
                <a16:creationId xmlns:a16="http://schemas.microsoft.com/office/drawing/2014/main" id="{8AD4828D-2106-0741-8818-A442AF06D3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15200" y="2115519"/>
            <a:ext cx="4641742" cy="33226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785609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73CADA-0734-4E2C-8E26-F025ED35AAA8}"/>
              </a:ext>
            </a:extLst>
          </p:cNvPr>
          <p:cNvSpPr>
            <a:spLocks noGrp="1"/>
          </p:cNvSpPr>
          <p:nvPr>
            <p:ph type="title"/>
          </p:nvPr>
        </p:nvSpPr>
        <p:spPr/>
        <p:txBody>
          <a:bodyPr/>
          <a:lstStyle/>
          <a:p>
            <a:r>
              <a:rPr lang="en-US"/>
              <a:t>Therapeutics Update</a:t>
            </a:r>
          </a:p>
        </p:txBody>
      </p:sp>
      <p:graphicFrame>
        <p:nvGraphicFramePr>
          <p:cNvPr id="12" name="Table 11">
            <a:extLst>
              <a:ext uri="{FF2B5EF4-FFF2-40B4-BE49-F238E27FC236}">
                <a16:creationId xmlns:a16="http://schemas.microsoft.com/office/drawing/2014/main" id="{E10F097A-A0B4-4164-9511-085C0AFB8783}"/>
              </a:ext>
            </a:extLst>
          </p:cNvPr>
          <p:cNvGraphicFramePr>
            <a:graphicFrameLocks noGrp="1"/>
          </p:cNvGraphicFramePr>
          <p:nvPr>
            <p:extLst/>
          </p:nvPr>
        </p:nvGraphicFramePr>
        <p:xfrm>
          <a:off x="404383" y="1191476"/>
          <a:ext cx="11383235" cy="5507953"/>
        </p:xfrm>
        <a:graphic>
          <a:graphicData uri="http://schemas.openxmlformats.org/drawingml/2006/table">
            <a:tbl>
              <a:tblPr firstRow="1" bandRow="1"/>
              <a:tblGrid>
                <a:gridCol w="1956672">
                  <a:extLst>
                    <a:ext uri="{9D8B030D-6E8A-4147-A177-3AD203B41FA5}">
                      <a16:colId xmlns:a16="http://schemas.microsoft.com/office/drawing/2014/main" val="2215980099"/>
                    </a:ext>
                  </a:extLst>
                </a:gridCol>
                <a:gridCol w="2595576">
                  <a:extLst>
                    <a:ext uri="{9D8B030D-6E8A-4147-A177-3AD203B41FA5}">
                      <a16:colId xmlns:a16="http://schemas.microsoft.com/office/drawing/2014/main" val="1686246411"/>
                    </a:ext>
                  </a:extLst>
                </a:gridCol>
                <a:gridCol w="2595576">
                  <a:extLst>
                    <a:ext uri="{9D8B030D-6E8A-4147-A177-3AD203B41FA5}">
                      <a16:colId xmlns:a16="http://schemas.microsoft.com/office/drawing/2014/main" val="2493988437"/>
                    </a:ext>
                  </a:extLst>
                </a:gridCol>
                <a:gridCol w="4235411">
                  <a:extLst>
                    <a:ext uri="{9D8B030D-6E8A-4147-A177-3AD203B41FA5}">
                      <a16:colId xmlns:a16="http://schemas.microsoft.com/office/drawing/2014/main" val="967429319"/>
                    </a:ext>
                  </a:extLst>
                </a:gridCol>
              </a:tblGrid>
              <a:tr h="37084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ctr" defTabSz="914400" rtl="0" eaLnBrk="1" latinLnBrk="0" hangingPunct="1"/>
                      <a:r>
                        <a:rPr lang="en-US" sz="1600" b="1" kern="1200" dirty="0">
                          <a:solidFill>
                            <a:srgbClr val="002060"/>
                          </a:solidFill>
                          <a:latin typeface="Calibri"/>
                          <a:ea typeface="+mn-ea"/>
                          <a:cs typeface="Calibri"/>
                        </a:rPr>
                        <a:t>Medication</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60000"/>
                        <a:lumOff val="40000"/>
                      </a:srgbClr>
                    </a:solidFill>
                  </a:tcPr>
                </a:tc>
                <a:tc gridSpan="2">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ctr" rtl="0" eaLnBrk="1" latinLnBrk="0" hangingPunct="1"/>
                      <a:r>
                        <a:rPr lang="en-US" sz="1600" b="1" kern="1200" dirty="0">
                          <a:solidFill>
                            <a:srgbClr val="002060"/>
                          </a:solidFill>
                          <a:latin typeface="Calibri"/>
                          <a:ea typeface="+mn-ea"/>
                          <a:cs typeface="Calibri"/>
                        </a:rPr>
                        <a:t>Current State</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60000"/>
                        <a:lumOff val="40000"/>
                      </a:srgbClr>
                    </a:solid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ctr" defTabSz="914400" rtl="0" eaLnBrk="1" latinLnBrk="0" hangingPunct="1"/>
                      <a:r>
                        <a:rPr lang="en-US" sz="1600" b="1" kern="1200" dirty="0">
                          <a:solidFill>
                            <a:srgbClr val="002060"/>
                          </a:solidFill>
                          <a:latin typeface="Calibri"/>
                          <a:ea typeface="+mn-ea"/>
                          <a:cs typeface="Calibri"/>
                        </a:rPr>
                        <a:t>Updates/Issues</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60000"/>
                        <a:lumOff val="40000"/>
                      </a:srgbClr>
                    </a:solidFill>
                  </a:tcPr>
                </a:tc>
                <a:extLst>
                  <a:ext uri="{0D108BD9-81ED-4DB2-BD59-A6C34878D82A}">
                    <a16:rowId xmlns:a16="http://schemas.microsoft.com/office/drawing/2014/main" val="1208858105"/>
                  </a:ext>
                </a:extLst>
              </a:tr>
              <a:tr h="1814793">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en-US" sz="1400" b="1" kern="1200" dirty="0">
                          <a:solidFill>
                            <a:schemeClr val="bg2">
                              <a:lumMod val="50000"/>
                            </a:schemeClr>
                          </a:solidFill>
                          <a:latin typeface="Calibri"/>
                          <a:ea typeface="+mn-ea"/>
                          <a:cs typeface="Calibri"/>
                        </a:rPr>
                        <a:t>Remdesivir</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ctr" defTabSz="914400" rtl="0" eaLnBrk="1" latinLnBrk="0" hangingPunct="1"/>
                      <a:endParaRPr lang="en-US" sz="1200" b="1" kern="1200" dirty="0">
                        <a:solidFill>
                          <a:schemeClr val="bg2">
                            <a:lumMod val="50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200" b="1" kern="1200" dirty="0">
                        <a:solidFill>
                          <a:schemeClr val="bg2">
                            <a:lumMod val="50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200" b="1" kern="1200" dirty="0">
                        <a:solidFill>
                          <a:schemeClr val="bg2">
                            <a:lumMod val="50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200" b="1" kern="1200" dirty="0">
                        <a:solidFill>
                          <a:schemeClr val="bg2">
                            <a:lumMod val="50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200" b="1" kern="1200" dirty="0">
                        <a:solidFill>
                          <a:schemeClr val="bg2">
                            <a:lumMod val="50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200" b="1" kern="1200" dirty="0">
                        <a:solidFill>
                          <a:schemeClr val="bg2">
                            <a:lumMod val="50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171450" indent="-171450" algn="l" rtl="0" eaLnBrk="1" latinLnBrk="0" hangingPunct="1">
                        <a:buFont typeface="Arial" panose="020B0604020202020204" pitchFamily="34" charset="0"/>
                        <a:buChar char="•"/>
                      </a:pPr>
                      <a:r>
                        <a:rPr lang="en-US" sz="1100" dirty="0">
                          <a:solidFill>
                            <a:schemeClr val="bg2">
                              <a:lumMod val="50000"/>
                            </a:schemeClr>
                          </a:solidFill>
                        </a:rPr>
                        <a:t>Dispensed 320 vials to the COVID tent thru end of January 5.</a:t>
                      </a:r>
                    </a:p>
                    <a:p>
                      <a:pPr marL="628650" lvl="1" indent="-171450" algn="l" rtl="0" eaLnBrk="1" latinLnBrk="0" hangingPunct="1">
                        <a:buFont typeface="Arial" panose="020B0604020202020204" pitchFamily="34" charset="0"/>
                        <a:buChar char="•"/>
                      </a:pPr>
                      <a:r>
                        <a:rPr lang="en-US" sz="1100">
                          <a:solidFill>
                            <a:schemeClr val="bg2">
                              <a:lumMod val="50000"/>
                            </a:schemeClr>
                          </a:solidFill>
                        </a:rPr>
                        <a:t>We </a:t>
                      </a:r>
                      <a:r>
                        <a:rPr lang="en-US" sz="1100" dirty="0">
                          <a:solidFill>
                            <a:schemeClr val="bg2">
                              <a:lumMod val="50000"/>
                            </a:schemeClr>
                          </a:solidFill>
                        </a:rPr>
                        <a:t>have treated 70 patients</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3971497"/>
                  </a:ext>
                </a:extLst>
              </a:tr>
              <a:tr h="128016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en-US" sz="1400" b="1" kern="1200" dirty="0" err="1">
                          <a:solidFill>
                            <a:schemeClr val="bg2">
                              <a:lumMod val="50000"/>
                            </a:schemeClr>
                          </a:solidFill>
                          <a:latin typeface="Calibri"/>
                          <a:ea typeface="+mn-ea"/>
                          <a:cs typeface="Calibri"/>
                        </a:rPr>
                        <a:t>Bamlanivimab</a:t>
                      </a:r>
                      <a:r>
                        <a:rPr lang="en-US" sz="1400" b="1" kern="1200" dirty="0">
                          <a:solidFill>
                            <a:schemeClr val="bg2">
                              <a:lumMod val="50000"/>
                            </a:schemeClr>
                          </a:solidFill>
                          <a:latin typeface="Calibri"/>
                          <a:ea typeface="+mn-ea"/>
                          <a:cs typeface="Calibri"/>
                        </a:rPr>
                        <a:t> (Lilly)</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kern="1200" dirty="0">
                        <a:solidFill>
                          <a:schemeClr val="bg2">
                            <a:lumMod val="50000"/>
                          </a:schemeClr>
                        </a:solidFill>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kern="1200" dirty="0">
                        <a:solidFill>
                          <a:schemeClr val="bg2">
                            <a:lumMod val="50000"/>
                          </a:schemeClr>
                        </a:solidFill>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kern="1200" dirty="0">
                        <a:solidFill>
                          <a:schemeClr val="bg2">
                            <a:lumMod val="50000"/>
                          </a:schemeClr>
                        </a:solidFill>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kern="1200" dirty="0">
                        <a:solidFill>
                          <a:schemeClr val="bg2">
                            <a:lumMod val="50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indent="-285750" algn="l" rtl="0" eaLnBrk="1" latinLnBrk="0" hangingPunct="1">
                        <a:buFont typeface="Arial" panose="020B0604020202020204" pitchFamily="34" charset="0"/>
                        <a:buChar char="•"/>
                      </a:pPr>
                      <a:r>
                        <a:rPr lang="en-US" sz="1100" b="0" kern="1200" dirty="0">
                          <a:solidFill>
                            <a:schemeClr val="bg2">
                              <a:lumMod val="50000"/>
                            </a:schemeClr>
                          </a:solidFill>
                          <a:latin typeface="Calibri"/>
                          <a:ea typeface="+mn-ea"/>
                          <a:cs typeface="Calibri"/>
                        </a:rPr>
                        <a:t>No updates</a:t>
                      </a:r>
                      <a:endParaRPr lang="en-US" sz="1100" dirty="0">
                        <a:solidFill>
                          <a:schemeClr val="bg2">
                            <a:lumMod val="50000"/>
                          </a:schemeClr>
                        </a:solidFill>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22059797"/>
                  </a:ext>
                </a:extLst>
              </a:tr>
              <a:tr h="100584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pt-BR" sz="1400" b="1" kern="1200" dirty="0">
                          <a:solidFill>
                            <a:schemeClr val="bg2">
                              <a:lumMod val="50000"/>
                            </a:schemeClr>
                          </a:solidFill>
                          <a:latin typeface="Calibri"/>
                          <a:ea typeface="+mn-ea"/>
                          <a:cs typeface="Calibri"/>
                        </a:rPr>
                        <a:t>Casirivimab and Imdevimab (Regeneron)</a:t>
                      </a:r>
                      <a:endParaRPr lang="en-US" sz="1400" b="1" kern="1200" dirty="0">
                        <a:solidFill>
                          <a:schemeClr val="bg2">
                            <a:lumMod val="50000"/>
                          </a:schemeClr>
                        </a:solidFill>
                        <a:latin typeface="Calibri"/>
                        <a:ea typeface="+mn-ea"/>
                        <a:cs typeface="Calibri"/>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dirty="0">
                        <a:solidFill>
                          <a:schemeClr val="bg2">
                            <a:lumMod val="50000"/>
                          </a:scheme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dirty="0">
                        <a:solidFill>
                          <a:schemeClr val="bg2">
                            <a:lumMod val="50000"/>
                          </a:scheme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dirty="0">
                        <a:solidFill>
                          <a:schemeClr val="bg2">
                            <a:lumMod val="50000"/>
                          </a:scheme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dirty="0">
                        <a:solidFill>
                          <a:schemeClr val="bg2">
                            <a:lumMod val="50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99BDD">
                              <a:lumMod val="50000"/>
                            </a:srgbClr>
                          </a:solidFill>
                          <a:effectLst/>
                          <a:uLnTx/>
                          <a:uFillTx/>
                          <a:latin typeface="Calibri"/>
                          <a:ea typeface="+mn-ea"/>
                          <a:cs typeface="Calibri"/>
                        </a:rPr>
                        <a:t>Plainview is reviewing their vial sizes to look for any possible disparities in dose counting.</a:t>
                      </a:r>
                      <a:endParaRPr kumimoji="0" lang="en-US" sz="11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40796029"/>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en-US" sz="1400" b="1" kern="1200" dirty="0">
                          <a:solidFill>
                            <a:schemeClr val="bg2">
                              <a:lumMod val="50000"/>
                            </a:schemeClr>
                          </a:solidFill>
                          <a:latin typeface="Calibri"/>
                          <a:ea typeface="+mn-ea"/>
                          <a:cs typeface="Calibri"/>
                        </a:rPr>
                        <a:t>Zanubrutinib</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b="0" kern="1200" dirty="0">
                          <a:solidFill>
                            <a:schemeClr val="bg2">
                              <a:lumMod val="50000"/>
                            </a:schemeClr>
                          </a:solidFill>
                          <a:latin typeface="Calibri"/>
                          <a:ea typeface="+mn-ea"/>
                          <a:cs typeface="Calibri"/>
                        </a:rPr>
                        <a:t>Patients enrolled: 6 </a:t>
                      </a:r>
                      <a:endParaRPr lang="en-US" sz="1100" b="0" kern="1200" dirty="0">
                        <a:solidFill>
                          <a:schemeClr val="bg2">
                            <a:lumMod val="50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dirty="0">
                          <a:solidFill>
                            <a:schemeClr val="bg2">
                              <a:lumMod val="50000"/>
                            </a:schemeClr>
                          </a:solidFill>
                          <a:latin typeface="Calibri"/>
                          <a:ea typeface="+mn-ea"/>
                          <a:cs typeface="Calibri"/>
                        </a:rPr>
                        <a:t>Active patients: 0</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indent="-285750" algn="l" rtl="0" eaLnBrk="1" latinLnBrk="0" hangingPunct="1">
                        <a:buFont typeface="Arial" panose="020B0604020202020204" pitchFamily="34" charset="0"/>
                        <a:buChar char="•"/>
                      </a:pPr>
                      <a:r>
                        <a:rPr lang="en-US" sz="1100" b="0" kern="1200" dirty="0">
                          <a:solidFill>
                            <a:schemeClr val="bg2">
                              <a:lumMod val="50000"/>
                            </a:schemeClr>
                          </a:solidFill>
                          <a:latin typeface="Calibri"/>
                          <a:ea typeface="+mn-ea"/>
                          <a:cs typeface="Calibri"/>
                        </a:rPr>
                        <a:t>No updates</a:t>
                      </a:r>
                      <a:endParaRPr lang="en-US" sz="1100" dirty="0">
                        <a:solidFill>
                          <a:schemeClr val="bg2">
                            <a:lumMod val="50000"/>
                          </a:schemeClr>
                        </a:solidFill>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4831238"/>
                  </a:ext>
                </a:extLst>
              </a:tr>
              <a:tr h="201982">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en-US" sz="1400" b="1" kern="1200" dirty="0">
                          <a:solidFill>
                            <a:schemeClr val="bg2">
                              <a:lumMod val="50000"/>
                            </a:schemeClr>
                          </a:solidFill>
                          <a:latin typeface="Calibri"/>
                          <a:ea typeface="+mn-ea"/>
                          <a:cs typeface="Calibri"/>
                        </a:rPr>
                        <a:t>Regeneron 2066</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dirty="0">
                          <a:solidFill>
                            <a:schemeClr val="bg2">
                              <a:lumMod val="50000"/>
                            </a:schemeClr>
                          </a:solidFill>
                          <a:latin typeface="Calibri"/>
                          <a:ea typeface="+mn-ea"/>
                          <a:cs typeface="Calibri"/>
                        </a:rPr>
                        <a:t>Patients enrolled: 3 (4 screened)</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dirty="0">
                          <a:solidFill>
                            <a:schemeClr val="bg2">
                              <a:lumMod val="50000"/>
                            </a:schemeClr>
                          </a:solidFill>
                          <a:latin typeface="Calibri"/>
                          <a:ea typeface="+mn-ea"/>
                          <a:cs typeface="Calibri"/>
                        </a:rPr>
                        <a:t>Active patients: 0</a:t>
                      </a:r>
                      <a:endParaRPr lang="en-US" sz="1100" b="0" kern="1200" dirty="0">
                        <a:solidFill>
                          <a:schemeClr val="bg2">
                            <a:lumMod val="50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dirty="0">
                          <a:solidFill>
                            <a:schemeClr val="bg2">
                              <a:lumMod val="50000"/>
                            </a:schemeClr>
                          </a:solidFill>
                          <a:latin typeface="Calibri"/>
                          <a:ea typeface="+mn-ea"/>
                          <a:cs typeface="Calibri"/>
                        </a:rPr>
                        <a:t>No updates</a:t>
                      </a:r>
                      <a:endParaRPr lang="en-US" sz="1100" dirty="0">
                        <a:solidFill>
                          <a:schemeClr val="bg2">
                            <a:lumMod val="50000"/>
                          </a:schemeClr>
                        </a:solidFill>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0021739"/>
                  </a:ext>
                </a:extLst>
              </a:tr>
              <a:tr h="19644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en-US" sz="1400" b="1" kern="1200" dirty="0">
                          <a:solidFill>
                            <a:schemeClr val="bg2">
                              <a:lumMod val="50000"/>
                            </a:schemeClr>
                          </a:solidFill>
                          <a:latin typeface="Calibri"/>
                          <a:ea typeface="+mn-ea"/>
                          <a:cs typeface="Calibri"/>
                        </a:rPr>
                        <a:t>EXIT COVID-19 Trial</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dirty="0">
                          <a:solidFill>
                            <a:schemeClr val="bg2">
                              <a:lumMod val="50000"/>
                            </a:schemeClr>
                          </a:solidFill>
                          <a:latin typeface="Calibri"/>
                          <a:ea typeface="+mn-ea"/>
                          <a:cs typeface="Calibri"/>
                        </a:rPr>
                        <a:t>Patients enrolled 4 (5 screened)</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dirty="0">
                          <a:solidFill>
                            <a:schemeClr val="bg2">
                              <a:lumMod val="50000"/>
                            </a:schemeClr>
                          </a:solidFill>
                          <a:latin typeface="Calibri"/>
                          <a:ea typeface="+mn-ea"/>
                          <a:cs typeface="Calibri"/>
                        </a:rPr>
                        <a:t>Active patients: 4</a:t>
                      </a:r>
                      <a:endParaRPr lang="en-US" sz="1100" b="0" kern="1200" dirty="0">
                        <a:solidFill>
                          <a:schemeClr val="bg2">
                            <a:lumMod val="50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4163" marR="0" lvl="0" indent="-2841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dirty="0">
                          <a:solidFill>
                            <a:schemeClr val="bg2">
                              <a:lumMod val="50000"/>
                            </a:schemeClr>
                          </a:solidFill>
                          <a:latin typeface="Calibri"/>
                          <a:ea typeface="+mn-ea"/>
                          <a:cs typeface="Calibri"/>
                        </a:rPr>
                        <a:t>Started first set of patients on Tuesday.</a:t>
                      </a:r>
                    </a:p>
                    <a:p>
                      <a:pPr marL="284163" marR="0" lvl="0" indent="-2841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dirty="0">
                          <a:solidFill>
                            <a:schemeClr val="bg2">
                              <a:lumMod val="50000"/>
                            </a:schemeClr>
                          </a:solidFill>
                          <a:latin typeface="Calibri"/>
                          <a:ea typeface="+mn-ea"/>
                          <a:cs typeface="Calibri"/>
                        </a:rPr>
                        <a:t>Day 4 of treatment will hit over weekend.</a:t>
                      </a:r>
                      <a:endParaRPr lang="en-US" sz="1100" dirty="0">
                        <a:solidFill>
                          <a:schemeClr val="bg2">
                            <a:lumMod val="50000"/>
                          </a:schemeClr>
                        </a:solidFill>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8117435"/>
                  </a:ext>
                </a:extLst>
              </a:tr>
            </a:tbl>
          </a:graphicData>
        </a:graphic>
      </p:graphicFrame>
      <p:graphicFrame>
        <p:nvGraphicFramePr>
          <p:cNvPr id="17" name="Table 3">
            <a:extLst>
              <a:ext uri="{FF2B5EF4-FFF2-40B4-BE49-F238E27FC236}">
                <a16:creationId xmlns:a16="http://schemas.microsoft.com/office/drawing/2014/main" id="{B558DCE0-2F82-49C4-A72E-83691C3DE1B8}"/>
              </a:ext>
            </a:extLst>
          </p:cNvPr>
          <p:cNvGraphicFramePr>
            <a:graphicFrameLocks noGrp="1"/>
          </p:cNvGraphicFramePr>
          <p:nvPr>
            <p:extLst/>
          </p:nvPr>
        </p:nvGraphicFramePr>
        <p:xfrm>
          <a:off x="2457099" y="1634536"/>
          <a:ext cx="4972394" cy="1623060"/>
        </p:xfrm>
        <a:graphic>
          <a:graphicData uri="http://schemas.openxmlformats.org/drawingml/2006/table">
            <a:tbl>
              <a:tblPr firstRow="1" bandRow="1"/>
              <a:tblGrid>
                <a:gridCol w="1904765">
                  <a:extLst>
                    <a:ext uri="{9D8B030D-6E8A-4147-A177-3AD203B41FA5}">
                      <a16:colId xmlns:a16="http://schemas.microsoft.com/office/drawing/2014/main" val="2117385413"/>
                    </a:ext>
                  </a:extLst>
                </a:gridCol>
                <a:gridCol w="2296276">
                  <a:extLst>
                    <a:ext uri="{9D8B030D-6E8A-4147-A177-3AD203B41FA5}">
                      <a16:colId xmlns:a16="http://schemas.microsoft.com/office/drawing/2014/main" val="1429329193"/>
                    </a:ext>
                  </a:extLst>
                </a:gridCol>
                <a:gridCol w="771353">
                  <a:extLst>
                    <a:ext uri="{9D8B030D-6E8A-4147-A177-3AD203B41FA5}">
                      <a16:colId xmlns:a16="http://schemas.microsoft.com/office/drawing/2014/main" val="2328128836"/>
                    </a:ext>
                  </a:extLst>
                </a:gridCol>
              </a:tblGrid>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dirty="0">
                          <a:solidFill>
                            <a:schemeClr val="bg2">
                              <a:lumMod val="50000"/>
                            </a:schemeClr>
                          </a:solidFill>
                          <a:latin typeface="Calibri"/>
                          <a:cs typeface="Calibri"/>
                        </a:rPr>
                        <a:t>Ministry</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dirty="0">
                          <a:solidFill>
                            <a:schemeClr val="bg2">
                              <a:lumMod val="50000"/>
                            </a:schemeClr>
                          </a:solidFill>
                          <a:latin typeface="Calibri"/>
                          <a:cs typeface="Calibri"/>
                        </a:rPr>
                        <a:t>Vials Used on Previous Day</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dirty="0">
                          <a:solidFill>
                            <a:schemeClr val="bg2">
                              <a:lumMod val="50000"/>
                            </a:schemeClr>
                          </a:solidFill>
                          <a:latin typeface="Calibri"/>
                          <a:cs typeface="Calibri"/>
                        </a:rPr>
                        <a:t>Stock</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extLst>
                  <a:ext uri="{0D108BD9-81ED-4DB2-BD59-A6C34878D82A}">
                    <a16:rowId xmlns:a16="http://schemas.microsoft.com/office/drawing/2014/main" val="2302739498"/>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dirty="0">
                          <a:solidFill>
                            <a:schemeClr val="bg2">
                              <a:lumMod val="50000"/>
                            </a:schemeClr>
                          </a:solidFill>
                          <a:latin typeface="Calibri"/>
                          <a:cs typeface="Calibri"/>
                        </a:rPr>
                        <a:t>Covenant Medical Center</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100" b="0" dirty="0">
                          <a:solidFill>
                            <a:schemeClr val="bg2">
                              <a:lumMod val="50000"/>
                            </a:schemeClr>
                          </a:solidFill>
                          <a:latin typeface="Calibri"/>
                          <a:cs typeface="Calibri"/>
                        </a:rPr>
                        <a:t>36</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200" b="1" kern="1200" dirty="0">
                          <a:solidFill>
                            <a:srgbClr val="00B050"/>
                          </a:solidFill>
                          <a:effectLst/>
                          <a:latin typeface="Calibri"/>
                          <a:ea typeface="+mn-ea"/>
                          <a:cs typeface="Calibri"/>
                        </a:rPr>
                        <a:t>247</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05379455"/>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dirty="0">
                          <a:solidFill>
                            <a:schemeClr val="bg2">
                              <a:lumMod val="50000"/>
                            </a:schemeClr>
                          </a:solidFill>
                          <a:latin typeface="Calibri" panose="020F0502020204030204" pitchFamily="34" charset="0"/>
                          <a:cs typeface="Calibri" panose="020F0502020204030204" pitchFamily="34" charset="0"/>
                        </a:rPr>
                        <a:t>Covenant Children’s Hospital</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0" dirty="0">
                          <a:solidFill>
                            <a:schemeClr val="bg2">
                              <a:lumMod val="50000"/>
                            </a:schemeClr>
                          </a:solidFill>
                          <a:latin typeface="Calibri"/>
                          <a:cs typeface="Calibri"/>
                        </a:rPr>
                        <a:t>4</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200" b="1" dirty="0">
                          <a:solidFill>
                            <a:srgbClr val="00B050"/>
                          </a:solidFill>
                          <a:effectLst/>
                          <a:latin typeface="Calibri"/>
                          <a:cs typeface="Calibri"/>
                        </a:rPr>
                        <a:t>39</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87273695"/>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dirty="0">
                          <a:solidFill>
                            <a:schemeClr val="bg2">
                              <a:lumMod val="50000"/>
                            </a:schemeClr>
                          </a:solidFill>
                          <a:latin typeface="Calibri" panose="020F0502020204030204" pitchFamily="34" charset="0"/>
                          <a:cs typeface="Calibri" panose="020F0502020204030204" pitchFamily="34" charset="0"/>
                        </a:rPr>
                        <a:t>Covenant Plainview</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100" b="0" dirty="0">
                          <a:solidFill>
                            <a:schemeClr val="bg2">
                              <a:lumMod val="50000"/>
                            </a:schemeClr>
                          </a:solidFill>
                          <a:latin typeface="Calibri"/>
                          <a:cs typeface="Calibri"/>
                        </a:rPr>
                        <a:t>4</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200" b="1" kern="1200" dirty="0">
                          <a:solidFill>
                            <a:srgbClr val="00B050"/>
                          </a:solidFill>
                          <a:effectLst/>
                          <a:latin typeface="Calibri"/>
                          <a:ea typeface="+mn-ea"/>
                          <a:cs typeface="Calibri"/>
                        </a:rPr>
                        <a:t>63</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19158812"/>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dirty="0">
                          <a:solidFill>
                            <a:schemeClr val="bg2">
                              <a:lumMod val="50000"/>
                            </a:schemeClr>
                          </a:solidFill>
                          <a:latin typeface="Calibri" panose="020F0502020204030204" pitchFamily="34" charset="0"/>
                          <a:cs typeface="Calibri" panose="020F0502020204030204" pitchFamily="34" charset="0"/>
                        </a:rPr>
                        <a:t>Covenant Levelland</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100" b="0" dirty="0">
                          <a:solidFill>
                            <a:schemeClr val="bg2">
                              <a:lumMod val="50000"/>
                            </a:schemeClr>
                          </a:solidFill>
                          <a:latin typeface="Calibri" panose="020F0502020204030204" pitchFamily="34" charset="0"/>
                          <a:cs typeface="Calibri" panose="020F0502020204030204" pitchFamily="34" charset="0"/>
                        </a:rPr>
                        <a:t>0</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marR="0" lvl="0" indent="0" algn="ctr" defTabSz="914400">
                        <a:lnSpc>
                          <a:spcPct val="100000"/>
                        </a:lnSpc>
                        <a:spcBef>
                          <a:spcPts val="0"/>
                        </a:spcBef>
                        <a:spcAft>
                          <a:spcPts val="0"/>
                        </a:spcAft>
                        <a:buNone/>
                        <a:tabLst/>
                        <a:defRPr/>
                      </a:pPr>
                      <a:r>
                        <a:rPr lang="en-US" sz="1200" b="1" dirty="0">
                          <a:solidFill>
                            <a:srgbClr val="00B050"/>
                          </a:solidFill>
                          <a:effectLst/>
                          <a:latin typeface="Calibri"/>
                          <a:cs typeface="Calibri"/>
                        </a:rPr>
                        <a:t>27</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0888606"/>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dirty="0">
                          <a:solidFill>
                            <a:schemeClr val="bg2">
                              <a:lumMod val="50000"/>
                            </a:schemeClr>
                          </a:solidFill>
                          <a:latin typeface="Calibri" panose="020F0502020204030204" pitchFamily="34" charset="0"/>
                          <a:cs typeface="Calibri" panose="020F0502020204030204" pitchFamily="34" charset="0"/>
                        </a:rPr>
                        <a:t>Home Infusion</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100" b="0" dirty="0">
                          <a:solidFill>
                            <a:schemeClr val="bg2">
                              <a:lumMod val="50000"/>
                            </a:schemeClr>
                          </a:solidFill>
                          <a:latin typeface="Calibri" panose="020F0502020204030204" pitchFamily="34" charset="0"/>
                          <a:cs typeface="Calibri" panose="020F0502020204030204" pitchFamily="34" charset="0"/>
                        </a:rPr>
                        <a:t>6</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marR="0" lvl="0" indent="0" algn="ctr" defTabSz="914400">
                        <a:lnSpc>
                          <a:spcPct val="100000"/>
                        </a:lnSpc>
                        <a:spcBef>
                          <a:spcPts val="0"/>
                        </a:spcBef>
                        <a:spcAft>
                          <a:spcPts val="0"/>
                        </a:spcAft>
                        <a:buNone/>
                        <a:tabLst/>
                        <a:defRPr/>
                      </a:pPr>
                      <a:r>
                        <a:rPr lang="en-US" sz="1200" b="1" dirty="0">
                          <a:solidFill>
                            <a:srgbClr val="00B050"/>
                          </a:solidFill>
                          <a:effectLst/>
                          <a:latin typeface="Calibri"/>
                          <a:cs typeface="Calibri"/>
                        </a:rPr>
                        <a:t>40</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51187796"/>
                  </a:ext>
                </a:extLst>
              </a:tr>
            </a:tbl>
          </a:graphicData>
        </a:graphic>
      </p:graphicFrame>
      <p:graphicFrame>
        <p:nvGraphicFramePr>
          <p:cNvPr id="18" name="Table 17">
            <a:extLst>
              <a:ext uri="{FF2B5EF4-FFF2-40B4-BE49-F238E27FC236}">
                <a16:creationId xmlns:a16="http://schemas.microsoft.com/office/drawing/2014/main" id="{673E3665-70F9-402F-8078-B1BC57D7456C}"/>
              </a:ext>
            </a:extLst>
          </p:cNvPr>
          <p:cNvGraphicFramePr>
            <a:graphicFrameLocks noGrp="1"/>
          </p:cNvGraphicFramePr>
          <p:nvPr>
            <p:extLst/>
          </p:nvPr>
        </p:nvGraphicFramePr>
        <p:xfrm>
          <a:off x="2440268" y="3460805"/>
          <a:ext cx="4972393" cy="1074420"/>
        </p:xfrm>
        <a:graphic>
          <a:graphicData uri="http://schemas.openxmlformats.org/drawingml/2006/table">
            <a:tbl>
              <a:tblPr firstRow="1" bandRow="1"/>
              <a:tblGrid>
                <a:gridCol w="1761482">
                  <a:extLst>
                    <a:ext uri="{9D8B030D-6E8A-4147-A177-3AD203B41FA5}">
                      <a16:colId xmlns:a16="http://schemas.microsoft.com/office/drawing/2014/main" val="1831604032"/>
                    </a:ext>
                  </a:extLst>
                </a:gridCol>
                <a:gridCol w="2451490">
                  <a:extLst>
                    <a:ext uri="{9D8B030D-6E8A-4147-A177-3AD203B41FA5}">
                      <a16:colId xmlns:a16="http://schemas.microsoft.com/office/drawing/2014/main" val="2941390616"/>
                    </a:ext>
                  </a:extLst>
                </a:gridCol>
                <a:gridCol w="759421">
                  <a:extLst>
                    <a:ext uri="{9D8B030D-6E8A-4147-A177-3AD203B41FA5}">
                      <a16:colId xmlns:a16="http://schemas.microsoft.com/office/drawing/2014/main" val="1118267883"/>
                    </a:ext>
                  </a:extLst>
                </a:gridCol>
              </a:tblGrid>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dirty="0">
                          <a:solidFill>
                            <a:schemeClr val="bg2">
                              <a:lumMod val="50000"/>
                            </a:schemeClr>
                          </a:solidFill>
                          <a:latin typeface="Calibri"/>
                          <a:cs typeface="Calibri"/>
                        </a:rPr>
                        <a:t>Ministry</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dirty="0">
                          <a:solidFill>
                            <a:schemeClr val="bg2">
                              <a:lumMod val="50000"/>
                            </a:schemeClr>
                          </a:solidFill>
                          <a:latin typeface="Calibri"/>
                          <a:cs typeface="Calibri"/>
                        </a:rPr>
                        <a:t>Total Doses Infused</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dirty="0">
                          <a:solidFill>
                            <a:schemeClr val="bg2">
                              <a:lumMod val="50000"/>
                            </a:schemeClr>
                          </a:solidFill>
                          <a:latin typeface="Calibri"/>
                          <a:cs typeface="Calibri"/>
                        </a:rPr>
                        <a:t>Stock</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extLst>
                  <a:ext uri="{0D108BD9-81ED-4DB2-BD59-A6C34878D82A}">
                    <a16:rowId xmlns:a16="http://schemas.microsoft.com/office/drawing/2014/main" val="1141403500"/>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dirty="0">
                          <a:solidFill>
                            <a:schemeClr val="bg2">
                              <a:lumMod val="50000"/>
                            </a:schemeClr>
                          </a:solidFill>
                          <a:latin typeface="Calibri"/>
                          <a:cs typeface="Calibri"/>
                        </a:rPr>
                        <a:t>CMC/Home Infusion</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0" dirty="0">
                          <a:solidFill>
                            <a:schemeClr val="bg2">
                              <a:lumMod val="50000"/>
                            </a:schemeClr>
                          </a:solidFill>
                          <a:latin typeface="Calibri"/>
                          <a:cs typeface="Calibri"/>
                        </a:rPr>
                        <a:t>347</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200" b="1" kern="1200" dirty="0">
                          <a:solidFill>
                            <a:srgbClr val="00B050"/>
                          </a:solidFill>
                          <a:effectLst/>
                          <a:latin typeface="Calibri"/>
                          <a:ea typeface="+mn-ea"/>
                          <a:cs typeface="Calibri"/>
                        </a:rPr>
                        <a:t>236</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97850120"/>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dirty="0">
                          <a:solidFill>
                            <a:schemeClr val="bg2">
                              <a:lumMod val="50000"/>
                            </a:schemeClr>
                          </a:solidFill>
                          <a:latin typeface="Calibri" panose="020F0502020204030204" pitchFamily="34" charset="0"/>
                          <a:cs typeface="Calibri" panose="020F0502020204030204" pitchFamily="34" charset="0"/>
                        </a:rPr>
                        <a:t>Covenant Plainview</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0" dirty="0">
                          <a:solidFill>
                            <a:schemeClr val="bg2">
                              <a:lumMod val="50000"/>
                            </a:schemeClr>
                          </a:solidFill>
                          <a:latin typeface="Calibri"/>
                          <a:cs typeface="Calibri"/>
                        </a:rPr>
                        <a:t>18</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200" b="1" dirty="0">
                          <a:solidFill>
                            <a:srgbClr val="00B050"/>
                          </a:solidFill>
                          <a:effectLst/>
                          <a:latin typeface="Calibri"/>
                          <a:cs typeface="Calibri"/>
                        </a:rPr>
                        <a:t>75</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16241756"/>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dirty="0">
                          <a:solidFill>
                            <a:schemeClr val="bg2">
                              <a:lumMod val="50000"/>
                            </a:schemeClr>
                          </a:solidFill>
                          <a:latin typeface="Calibri" panose="020F0502020204030204" pitchFamily="34" charset="0"/>
                          <a:cs typeface="Calibri" panose="020F0502020204030204" pitchFamily="34" charset="0"/>
                        </a:rPr>
                        <a:t>Covenant Levelland</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0" dirty="0">
                          <a:solidFill>
                            <a:schemeClr val="bg2">
                              <a:lumMod val="50000"/>
                            </a:schemeClr>
                          </a:solidFill>
                          <a:latin typeface="Calibri"/>
                          <a:cs typeface="Calibri"/>
                        </a:rPr>
                        <a:t>6</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200" b="1" dirty="0">
                          <a:solidFill>
                            <a:srgbClr val="00B050"/>
                          </a:solidFill>
                          <a:effectLst/>
                          <a:latin typeface="Calibri"/>
                          <a:cs typeface="Calibri"/>
                        </a:rPr>
                        <a:t>24</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4280610"/>
                  </a:ext>
                </a:extLst>
              </a:tr>
            </a:tbl>
          </a:graphicData>
        </a:graphic>
      </p:graphicFrame>
      <p:graphicFrame>
        <p:nvGraphicFramePr>
          <p:cNvPr id="19" name="Table 18">
            <a:extLst>
              <a:ext uri="{FF2B5EF4-FFF2-40B4-BE49-F238E27FC236}">
                <a16:creationId xmlns:a16="http://schemas.microsoft.com/office/drawing/2014/main" id="{116B61AA-6454-48D6-8C2B-78D483AA99E6}"/>
              </a:ext>
            </a:extLst>
          </p:cNvPr>
          <p:cNvGraphicFramePr>
            <a:graphicFrameLocks noGrp="1"/>
          </p:cNvGraphicFramePr>
          <p:nvPr>
            <p:extLst/>
          </p:nvPr>
        </p:nvGraphicFramePr>
        <p:xfrm>
          <a:off x="2445877" y="4743904"/>
          <a:ext cx="4961173" cy="800100"/>
        </p:xfrm>
        <a:graphic>
          <a:graphicData uri="http://schemas.openxmlformats.org/drawingml/2006/table">
            <a:tbl>
              <a:tblPr firstRow="1" bandRow="1"/>
              <a:tblGrid>
                <a:gridCol w="1761482">
                  <a:extLst>
                    <a:ext uri="{9D8B030D-6E8A-4147-A177-3AD203B41FA5}">
                      <a16:colId xmlns:a16="http://schemas.microsoft.com/office/drawing/2014/main" val="1831604032"/>
                    </a:ext>
                  </a:extLst>
                </a:gridCol>
                <a:gridCol w="2457100">
                  <a:extLst>
                    <a:ext uri="{9D8B030D-6E8A-4147-A177-3AD203B41FA5}">
                      <a16:colId xmlns:a16="http://schemas.microsoft.com/office/drawing/2014/main" val="2941390616"/>
                    </a:ext>
                  </a:extLst>
                </a:gridCol>
                <a:gridCol w="742591">
                  <a:extLst>
                    <a:ext uri="{9D8B030D-6E8A-4147-A177-3AD203B41FA5}">
                      <a16:colId xmlns:a16="http://schemas.microsoft.com/office/drawing/2014/main" val="1118267883"/>
                    </a:ext>
                  </a:extLst>
                </a:gridCol>
              </a:tblGrid>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dirty="0">
                          <a:solidFill>
                            <a:schemeClr val="bg2">
                              <a:lumMod val="50000"/>
                            </a:schemeClr>
                          </a:solidFill>
                          <a:latin typeface="Calibri"/>
                          <a:cs typeface="Calibri"/>
                        </a:rPr>
                        <a:t>Ministry</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dirty="0">
                          <a:solidFill>
                            <a:schemeClr val="bg2">
                              <a:lumMod val="50000"/>
                            </a:schemeClr>
                          </a:solidFill>
                          <a:latin typeface="Calibri"/>
                          <a:cs typeface="Calibri"/>
                        </a:rPr>
                        <a:t>Total Doses Infused</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dirty="0">
                          <a:solidFill>
                            <a:schemeClr val="bg2">
                              <a:lumMod val="50000"/>
                            </a:schemeClr>
                          </a:solidFill>
                          <a:latin typeface="Calibri"/>
                          <a:cs typeface="Calibri"/>
                        </a:rPr>
                        <a:t>Stock</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extLst>
                  <a:ext uri="{0D108BD9-81ED-4DB2-BD59-A6C34878D82A}">
                    <a16:rowId xmlns:a16="http://schemas.microsoft.com/office/drawing/2014/main" val="1141403500"/>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dirty="0">
                          <a:solidFill>
                            <a:schemeClr val="bg2">
                              <a:lumMod val="50000"/>
                            </a:schemeClr>
                          </a:solidFill>
                          <a:latin typeface="Calibri"/>
                          <a:cs typeface="Calibri"/>
                        </a:rPr>
                        <a:t>CMC/Home Infusion</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100" b="0" dirty="0">
                          <a:solidFill>
                            <a:schemeClr val="bg2">
                              <a:lumMod val="50000"/>
                            </a:schemeClr>
                          </a:solidFill>
                          <a:latin typeface="Calibri"/>
                          <a:cs typeface="Calibri"/>
                        </a:rPr>
                        <a:t>62</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200" b="1" kern="1200" dirty="0">
                          <a:solidFill>
                            <a:srgbClr val="00B050"/>
                          </a:solidFill>
                          <a:effectLst/>
                          <a:latin typeface="Calibri"/>
                          <a:ea typeface="+mn-ea"/>
                          <a:cs typeface="Calibri"/>
                        </a:rPr>
                        <a:t>207</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97850120"/>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dirty="0">
                          <a:solidFill>
                            <a:schemeClr val="bg2">
                              <a:lumMod val="50000"/>
                            </a:schemeClr>
                          </a:solidFill>
                          <a:latin typeface="Calibri" panose="020F0502020204030204" pitchFamily="34" charset="0"/>
                          <a:cs typeface="Calibri" panose="020F0502020204030204" pitchFamily="34" charset="0"/>
                        </a:rPr>
                        <a:t>Covenant Plainview</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0" dirty="0">
                          <a:solidFill>
                            <a:schemeClr val="bg2">
                              <a:lumMod val="50000"/>
                            </a:schemeClr>
                          </a:solidFill>
                          <a:latin typeface="Calibri"/>
                          <a:cs typeface="Calibri"/>
                        </a:rPr>
                        <a:t>0</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200" b="1" dirty="0">
                          <a:solidFill>
                            <a:srgbClr val="00B050"/>
                          </a:solidFill>
                          <a:effectLst/>
                          <a:latin typeface="Calibri"/>
                          <a:cs typeface="Calibri"/>
                        </a:rPr>
                        <a:t>37</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16241756"/>
                  </a:ext>
                </a:extLst>
              </a:tr>
            </a:tbl>
          </a:graphicData>
        </a:graphic>
      </p:graphicFrame>
      <p:sp>
        <p:nvSpPr>
          <p:cNvPr id="21" name="TextBox 20">
            <a:extLst>
              <a:ext uri="{FF2B5EF4-FFF2-40B4-BE49-F238E27FC236}">
                <a16:creationId xmlns:a16="http://schemas.microsoft.com/office/drawing/2014/main" id="{C0020083-14FB-4B43-81D0-446DB5BD0757}"/>
              </a:ext>
            </a:extLst>
          </p:cNvPr>
          <p:cNvSpPr txBox="1"/>
          <p:nvPr/>
        </p:nvSpPr>
        <p:spPr>
          <a:xfrm>
            <a:off x="8636001" y="771980"/>
            <a:ext cx="3463636"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Corbel" panose="020B0503020204020204"/>
                <a:ea typeface="+mn-ea"/>
                <a:cs typeface="+mn-cs"/>
              </a:rPr>
              <a:t>Numbers are reported as of January 6, 2021 at 11:00 pm</a:t>
            </a:r>
          </a:p>
        </p:txBody>
      </p:sp>
    </p:spTree>
    <p:extLst>
      <p:ext uri="{BB962C8B-B14F-4D97-AF65-F5344CB8AC3E}">
        <p14:creationId xmlns:p14="http://schemas.microsoft.com/office/powerpoint/2010/main" val="402109166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9C34D-A475-4420-B1C5-5EC1262D8F96}"/>
              </a:ext>
            </a:extLst>
          </p:cNvPr>
          <p:cNvSpPr>
            <a:spLocks noGrp="1"/>
          </p:cNvSpPr>
          <p:nvPr>
            <p:ph type="title"/>
          </p:nvPr>
        </p:nvSpPr>
        <p:spPr/>
        <p:txBody>
          <a:bodyPr/>
          <a:lstStyle/>
          <a:p>
            <a:r>
              <a:rPr lang="en-US"/>
              <a:t>Vaccine Update</a:t>
            </a:r>
          </a:p>
        </p:txBody>
      </p:sp>
      <p:pic>
        <p:nvPicPr>
          <p:cNvPr id="6" name="Picture 5">
            <a:extLst>
              <a:ext uri="{FF2B5EF4-FFF2-40B4-BE49-F238E27FC236}">
                <a16:creationId xmlns:a16="http://schemas.microsoft.com/office/drawing/2014/main" id="{1B8BE956-9B7D-4D88-A92C-AE6DAC1A8E0A}"/>
              </a:ext>
            </a:extLst>
          </p:cNvPr>
          <p:cNvPicPr>
            <a:picLocks noChangeAspect="1"/>
          </p:cNvPicPr>
          <p:nvPr/>
        </p:nvPicPr>
        <p:blipFill>
          <a:blip r:embed="rId2"/>
          <a:stretch>
            <a:fillRect/>
          </a:stretch>
        </p:blipFill>
        <p:spPr>
          <a:xfrm>
            <a:off x="1678508" y="1131551"/>
            <a:ext cx="8902396" cy="4934879"/>
          </a:xfrm>
          <a:prstGeom prst="rect">
            <a:avLst/>
          </a:prstGeom>
        </p:spPr>
      </p:pic>
    </p:spTree>
    <p:extLst>
      <p:ext uri="{BB962C8B-B14F-4D97-AF65-F5344CB8AC3E}">
        <p14:creationId xmlns:p14="http://schemas.microsoft.com/office/powerpoint/2010/main" val="254593268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9C34D-A475-4420-B1C5-5EC1262D8F96}"/>
              </a:ext>
            </a:extLst>
          </p:cNvPr>
          <p:cNvSpPr>
            <a:spLocks noGrp="1"/>
          </p:cNvSpPr>
          <p:nvPr>
            <p:ph type="title"/>
          </p:nvPr>
        </p:nvSpPr>
        <p:spPr/>
        <p:txBody>
          <a:bodyPr/>
          <a:lstStyle/>
          <a:p>
            <a:r>
              <a:rPr lang="en-US"/>
              <a:t>Vaccine Update</a:t>
            </a:r>
          </a:p>
        </p:txBody>
      </p:sp>
      <p:sp>
        <p:nvSpPr>
          <p:cNvPr id="5" name="Content Placeholder 4">
            <a:extLst>
              <a:ext uri="{FF2B5EF4-FFF2-40B4-BE49-F238E27FC236}">
                <a16:creationId xmlns:a16="http://schemas.microsoft.com/office/drawing/2014/main" id="{28E7754A-750D-4D19-BF4E-DF8F7D115CF0}"/>
              </a:ext>
            </a:extLst>
          </p:cNvPr>
          <p:cNvSpPr>
            <a:spLocks noGrp="1"/>
          </p:cNvSpPr>
          <p:nvPr>
            <p:ph idx="1"/>
          </p:nvPr>
        </p:nvSpPr>
        <p:spPr/>
        <p:txBody>
          <a:bodyPr/>
          <a:lstStyle/>
          <a:p>
            <a:r>
              <a:rPr lang="en-US" dirty="0"/>
              <a:t>CMC</a:t>
            </a:r>
          </a:p>
          <a:p>
            <a:endParaRPr lang="en-US" dirty="0"/>
          </a:p>
          <a:p>
            <a:endParaRPr lang="en-US" dirty="0"/>
          </a:p>
          <a:p>
            <a:endParaRPr lang="en-US" dirty="0"/>
          </a:p>
          <a:p>
            <a:r>
              <a:rPr lang="en-US" dirty="0"/>
              <a:t>Community</a:t>
            </a:r>
          </a:p>
        </p:txBody>
      </p:sp>
      <p:pic>
        <p:nvPicPr>
          <p:cNvPr id="3" name="Picture 2">
            <a:extLst>
              <a:ext uri="{FF2B5EF4-FFF2-40B4-BE49-F238E27FC236}">
                <a16:creationId xmlns:a16="http://schemas.microsoft.com/office/drawing/2014/main" id="{15A74661-35BC-4BC8-A4DE-014504BFB6B5}"/>
              </a:ext>
            </a:extLst>
          </p:cNvPr>
          <p:cNvPicPr>
            <a:picLocks noChangeAspect="1"/>
          </p:cNvPicPr>
          <p:nvPr/>
        </p:nvPicPr>
        <p:blipFill>
          <a:blip r:embed="rId2"/>
          <a:stretch>
            <a:fillRect/>
          </a:stretch>
        </p:blipFill>
        <p:spPr>
          <a:xfrm>
            <a:off x="3540653" y="1181782"/>
            <a:ext cx="8467103" cy="2247218"/>
          </a:xfrm>
          <a:prstGeom prst="rect">
            <a:avLst/>
          </a:prstGeom>
        </p:spPr>
      </p:pic>
      <p:pic>
        <p:nvPicPr>
          <p:cNvPr id="4" name="Picture 3">
            <a:extLst>
              <a:ext uri="{FF2B5EF4-FFF2-40B4-BE49-F238E27FC236}">
                <a16:creationId xmlns:a16="http://schemas.microsoft.com/office/drawing/2014/main" id="{FC0AFC51-E7F2-416E-AAAD-B25FDFC30E51}"/>
              </a:ext>
            </a:extLst>
          </p:cNvPr>
          <p:cNvPicPr>
            <a:picLocks noChangeAspect="1"/>
          </p:cNvPicPr>
          <p:nvPr/>
        </p:nvPicPr>
        <p:blipFill>
          <a:blip r:embed="rId3"/>
          <a:stretch>
            <a:fillRect/>
          </a:stretch>
        </p:blipFill>
        <p:spPr>
          <a:xfrm>
            <a:off x="3540653" y="3620182"/>
            <a:ext cx="8465901" cy="2247218"/>
          </a:xfrm>
          <a:prstGeom prst="rect">
            <a:avLst/>
          </a:prstGeom>
        </p:spPr>
      </p:pic>
    </p:spTree>
    <p:extLst>
      <p:ext uri="{BB962C8B-B14F-4D97-AF65-F5344CB8AC3E}">
        <p14:creationId xmlns:p14="http://schemas.microsoft.com/office/powerpoint/2010/main" val="387561934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9C34D-A475-4420-B1C5-5EC1262D8F96}"/>
              </a:ext>
            </a:extLst>
          </p:cNvPr>
          <p:cNvSpPr>
            <a:spLocks noGrp="1"/>
          </p:cNvSpPr>
          <p:nvPr>
            <p:ph type="title"/>
          </p:nvPr>
        </p:nvSpPr>
        <p:spPr/>
        <p:txBody>
          <a:bodyPr/>
          <a:lstStyle/>
          <a:p>
            <a:r>
              <a:rPr lang="en-US"/>
              <a:t>Vaccine Update</a:t>
            </a:r>
          </a:p>
        </p:txBody>
      </p:sp>
      <p:sp>
        <p:nvSpPr>
          <p:cNvPr id="5" name="Content Placeholder 4">
            <a:extLst>
              <a:ext uri="{FF2B5EF4-FFF2-40B4-BE49-F238E27FC236}">
                <a16:creationId xmlns:a16="http://schemas.microsoft.com/office/drawing/2014/main" id="{28E7754A-750D-4D19-BF4E-DF8F7D115CF0}"/>
              </a:ext>
            </a:extLst>
          </p:cNvPr>
          <p:cNvSpPr>
            <a:spLocks noGrp="1"/>
          </p:cNvSpPr>
          <p:nvPr>
            <p:ph idx="1"/>
          </p:nvPr>
        </p:nvSpPr>
        <p:spPr/>
        <p:txBody>
          <a:bodyPr/>
          <a:lstStyle/>
          <a:p>
            <a:r>
              <a:rPr lang="en-US" dirty="0"/>
              <a:t>Plainview</a:t>
            </a:r>
          </a:p>
          <a:p>
            <a:endParaRPr lang="en-US" dirty="0"/>
          </a:p>
          <a:p>
            <a:endParaRPr lang="en-US" dirty="0"/>
          </a:p>
          <a:p>
            <a:endParaRPr lang="en-US" dirty="0"/>
          </a:p>
          <a:p>
            <a:r>
              <a:rPr lang="en-US" dirty="0"/>
              <a:t>Levelland</a:t>
            </a:r>
          </a:p>
        </p:txBody>
      </p:sp>
      <p:pic>
        <p:nvPicPr>
          <p:cNvPr id="6" name="Picture 5">
            <a:extLst>
              <a:ext uri="{FF2B5EF4-FFF2-40B4-BE49-F238E27FC236}">
                <a16:creationId xmlns:a16="http://schemas.microsoft.com/office/drawing/2014/main" id="{8F6170CC-D152-4EAD-BAC7-301F84387644}"/>
              </a:ext>
            </a:extLst>
          </p:cNvPr>
          <p:cNvPicPr>
            <a:picLocks noChangeAspect="1"/>
          </p:cNvPicPr>
          <p:nvPr/>
        </p:nvPicPr>
        <p:blipFill>
          <a:blip r:embed="rId2"/>
          <a:stretch>
            <a:fillRect/>
          </a:stretch>
        </p:blipFill>
        <p:spPr>
          <a:xfrm>
            <a:off x="3670713" y="1262110"/>
            <a:ext cx="8075238" cy="2166889"/>
          </a:xfrm>
          <a:prstGeom prst="rect">
            <a:avLst/>
          </a:prstGeom>
        </p:spPr>
      </p:pic>
      <p:pic>
        <p:nvPicPr>
          <p:cNvPr id="7" name="Picture 6">
            <a:extLst>
              <a:ext uri="{FF2B5EF4-FFF2-40B4-BE49-F238E27FC236}">
                <a16:creationId xmlns:a16="http://schemas.microsoft.com/office/drawing/2014/main" id="{CDA2C810-85FF-490C-B31C-DBED4BE4EA16}"/>
              </a:ext>
            </a:extLst>
          </p:cNvPr>
          <p:cNvPicPr>
            <a:picLocks noChangeAspect="1"/>
          </p:cNvPicPr>
          <p:nvPr/>
        </p:nvPicPr>
        <p:blipFill>
          <a:blip r:embed="rId3"/>
          <a:stretch>
            <a:fillRect/>
          </a:stretch>
        </p:blipFill>
        <p:spPr>
          <a:xfrm>
            <a:off x="3670713" y="3672682"/>
            <a:ext cx="8075238" cy="2150124"/>
          </a:xfrm>
          <a:prstGeom prst="rect">
            <a:avLst/>
          </a:prstGeom>
        </p:spPr>
      </p:pic>
    </p:spTree>
    <p:extLst>
      <p:ext uri="{BB962C8B-B14F-4D97-AF65-F5344CB8AC3E}">
        <p14:creationId xmlns:p14="http://schemas.microsoft.com/office/powerpoint/2010/main" val="59355623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dministration</a:t>
            </a:r>
          </a:p>
        </p:txBody>
      </p:sp>
      <p:sp>
        <p:nvSpPr>
          <p:cNvPr id="3" name="Content Placeholder 2"/>
          <p:cNvSpPr>
            <a:spLocks noGrp="1"/>
          </p:cNvSpPr>
          <p:nvPr>
            <p:ph idx="1"/>
          </p:nvPr>
        </p:nvSpPr>
        <p:spPr/>
        <p:txBody>
          <a:bodyPr>
            <a:normAutofit lnSpcReduction="10000"/>
          </a:bodyPr>
          <a:lstStyle/>
          <a:p>
            <a:r>
              <a:rPr lang="en-US" sz="2800"/>
              <a:t>2-dose series administered intramuscularly 3 weeks apart</a:t>
            </a:r>
          </a:p>
          <a:p>
            <a:r>
              <a:rPr lang="en-US" sz="2800"/>
              <a:t>Two doses required to achieve high efficacy</a:t>
            </a:r>
          </a:p>
          <a:p>
            <a:pPr lvl="1"/>
            <a:r>
              <a:rPr lang="en-US" sz="2400"/>
              <a:t>Efficacy after 2nd dose: 95.0%</a:t>
            </a:r>
          </a:p>
          <a:p>
            <a:pPr lvl="1"/>
            <a:r>
              <a:rPr lang="en-US" sz="2400"/>
              <a:t>Efficacy of a single dose has not been systematically evaluated</a:t>
            </a:r>
          </a:p>
          <a:p>
            <a:r>
              <a:rPr lang="en-US" sz="2800"/>
              <a:t>How long in-between</a:t>
            </a:r>
          </a:p>
          <a:p>
            <a:pPr lvl="1"/>
            <a:r>
              <a:rPr lang="en-US" sz="2400"/>
              <a:t>Administration of 2nd dose within 4-day grace period (e.g., day 17-21)</a:t>
            </a:r>
          </a:p>
          <a:p>
            <a:pPr lvl="1"/>
            <a:r>
              <a:rPr lang="en-US" sz="2400"/>
              <a:t>If &gt;21 days since 1st dose, 2nd dose should be administered at earliest opportunity (but no doses need to be repeated)</a:t>
            </a:r>
          </a:p>
          <a:p>
            <a:pPr lvl="1"/>
            <a:r>
              <a:rPr lang="en-US" sz="2400"/>
              <a:t>Complete series with same product</a:t>
            </a:r>
          </a:p>
          <a:p>
            <a:r>
              <a:rPr lang="en-US" sz="2800"/>
              <a:t>Administer alone</a:t>
            </a:r>
          </a:p>
          <a:p>
            <a:pPr lvl="1"/>
            <a:r>
              <a:rPr lang="en-US" sz="2400"/>
              <a:t>14 days before or after administration with any other vaccines</a:t>
            </a:r>
          </a:p>
        </p:txBody>
      </p:sp>
    </p:spTree>
    <p:extLst>
      <p:ext uri="{BB962C8B-B14F-4D97-AF65-F5344CB8AC3E}">
        <p14:creationId xmlns:p14="http://schemas.microsoft.com/office/powerpoint/2010/main" val="229003527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o Can Get the Vaccine?</a:t>
            </a:r>
          </a:p>
        </p:txBody>
      </p:sp>
      <p:sp>
        <p:nvSpPr>
          <p:cNvPr id="3" name="Content Placeholder 2"/>
          <p:cNvSpPr>
            <a:spLocks noGrp="1"/>
          </p:cNvSpPr>
          <p:nvPr>
            <p:ph idx="1"/>
          </p:nvPr>
        </p:nvSpPr>
        <p:spPr/>
        <p:txBody>
          <a:bodyPr>
            <a:normAutofit/>
          </a:bodyPr>
          <a:lstStyle/>
          <a:p>
            <a:r>
              <a:rPr lang="en-US" sz="2800"/>
              <a:t>All caregivers, age &gt;= 16 years, regardless of history of prior symptomatic or asymptomatic SARS-CoV-2 infection</a:t>
            </a:r>
          </a:p>
          <a:p>
            <a:pPr lvl="1"/>
            <a:r>
              <a:rPr lang="en-US" sz="2400"/>
              <a:t>Reinfection uncommon in the 90 days after initial infection, and thus persons with documented acute infection in the preceding 90 days may defer vaccination until the end of this period, if desired</a:t>
            </a:r>
          </a:p>
          <a:p>
            <a:r>
              <a:rPr lang="en-US" sz="2800"/>
              <a:t>Persons with a known SARS-CoV-2 exposure</a:t>
            </a:r>
          </a:p>
          <a:p>
            <a:pPr lvl="1"/>
            <a:r>
              <a:rPr lang="en-US" sz="2400"/>
              <a:t>Defer vaccination until quarantine period has ended to avoid exposing healthcare personnel (HCP) or other persons during vaccination visit</a:t>
            </a:r>
          </a:p>
          <a:p>
            <a:r>
              <a:rPr lang="en-US" sz="2800"/>
              <a:t>Immunocompromised persons may still receive COVID-19 vaccine</a:t>
            </a:r>
          </a:p>
        </p:txBody>
      </p:sp>
    </p:spTree>
    <p:extLst>
      <p:ext uri="{BB962C8B-B14F-4D97-AF65-F5344CB8AC3E}">
        <p14:creationId xmlns:p14="http://schemas.microsoft.com/office/powerpoint/2010/main" val="164281980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557D64-1C29-45B3-9095-2EE73F40F6FA}"/>
              </a:ext>
            </a:extLst>
          </p:cNvPr>
          <p:cNvSpPr>
            <a:spLocks noGrp="1"/>
          </p:cNvSpPr>
          <p:nvPr>
            <p:ph type="title"/>
          </p:nvPr>
        </p:nvSpPr>
        <p:spPr/>
        <p:txBody>
          <a:bodyPr/>
          <a:lstStyle/>
          <a:p>
            <a:r>
              <a:rPr lang="en-US"/>
              <a:t>Who Can Get the Vaccine</a:t>
            </a:r>
          </a:p>
        </p:txBody>
      </p:sp>
      <p:sp>
        <p:nvSpPr>
          <p:cNvPr id="3" name="Content Placeholder 2">
            <a:extLst>
              <a:ext uri="{FF2B5EF4-FFF2-40B4-BE49-F238E27FC236}">
                <a16:creationId xmlns:a16="http://schemas.microsoft.com/office/drawing/2014/main" id="{8C6C7081-04C3-428A-81C9-6ADF689F191F}"/>
              </a:ext>
            </a:extLst>
          </p:cNvPr>
          <p:cNvSpPr>
            <a:spLocks noGrp="1"/>
          </p:cNvSpPr>
          <p:nvPr>
            <p:ph idx="1"/>
          </p:nvPr>
        </p:nvSpPr>
        <p:spPr/>
        <p:txBody>
          <a:bodyPr/>
          <a:lstStyle/>
          <a:p>
            <a:r>
              <a:rPr lang="en-US" sz="2800"/>
              <a:t>Pregnant/breastfeeding patients may choose to be vaccinated, discussion with healthcare provider can help make an informed decision</a:t>
            </a:r>
          </a:p>
          <a:p>
            <a:pPr lvl="1"/>
            <a:r>
              <a:rPr lang="en-US" sz="2400"/>
              <a:t>Need to balance risk-benefit</a:t>
            </a:r>
          </a:p>
          <a:p>
            <a:r>
              <a:rPr lang="en-US" sz="2800"/>
              <a:t>mRNA vaccines are not live and degrade quickly</a:t>
            </a:r>
          </a:p>
          <a:p>
            <a:r>
              <a:rPr lang="en-US" sz="2800"/>
              <a:t>Routine pregnancy testing is not required</a:t>
            </a:r>
          </a:p>
          <a:p>
            <a:r>
              <a:rPr lang="en-US" sz="2800"/>
              <a:t>Pregnant women who experience a fever can take acetaminophen</a:t>
            </a:r>
          </a:p>
        </p:txBody>
      </p:sp>
    </p:spTree>
    <p:extLst>
      <p:ext uri="{BB962C8B-B14F-4D97-AF65-F5344CB8AC3E}">
        <p14:creationId xmlns:p14="http://schemas.microsoft.com/office/powerpoint/2010/main" val="355027155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52FC98-9AAD-42D4-BCCE-248E0D50B33C}"/>
              </a:ext>
            </a:extLst>
          </p:cNvPr>
          <p:cNvSpPr>
            <a:spLocks noGrp="1"/>
          </p:cNvSpPr>
          <p:nvPr>
            <p:ph type="title"/>
          </p:nvPr>
        </p:nvSpPr>
        <p:spPr/>
        <p:txBody>
          <a:bodyPr/>
          <a:lstStyle/>
          <a:p>
            <a:r>
              <a:rPr lang="en-US" dirty="0"/>
              <a:t>Vaccine Update</a:t>
            </a:r>
          </a:p>
        </p:txBody>
      </p:sp>
      <p:pic>
        <p:nvPicPr>
          <p:cNvPr id="4" name="Content Placeholder 3">
            <a:extLst>
              <a:ext uri="{FF2B5EF4-FFF2-40B4-BE49-F238E27FC236}">
                <a16:creationId xmlns:a16="http://schemas.microsoft.com/office/drawing/2014/main" id="{1EE15DE8-6B11-4780-8719-E9723CB24EE8}"/>
              </a:ext>
            </a:extLst>
          </p:cNvPr>
          <p:cNvPicPr>
            <a:picLocks noGrp="1" noChangeAspect="1"/>
          </p:cNvPicPr>
          <p:nvPr>
            <p:ph idx="1"/>
          </p:nvPr>
        </p:nvPicPr>
        <p:blipFill>
          <a:blip r:embed="rId2"/>
          <a:stretch>
            <a:fillRect/>
          </a:stretch>
        </p:blipFill>
        <p:spPr>
          <a:xfrm>
            <a:off x="1748085" y="1219200"/>
            <a:ext cx="8695830" cy="4906963"/>
          </a:xfrm>
          <a:prstGeom prst="rect">
            <a:avLst/>
          </a:prstGeom>
        </p:spPr>
      </p:pic>
    </p:spTree>
    <p:extLst>
      <p:ext uri="{BB962C8B-B14F-4D97-AF65-F5344CB8AC3E}">
        <p14:creationId xmlns:p14="http://schemas.microsoft.com/office/powerpoint/2010/main" val="31468461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3A3E2-CC89-4BDB-8035-9F86E3C11B51}"/>
              </a:ext>
            </a:extLst>
          </p:cNvPr>
          <p:cNvSpPr>
            <a:spLocks noGrp="1"/>
          </p:cNvSpPr>
          <p:nvPr>
            <p:ph type="title"/>
          </p:nvPr>
        </p:nvSpPr>
        <p:spPr/>
        <p:txBody>
          <a:bodyPr/>
          <a:lstStyle/>
          <a:p>
            <a:r>
              <a:rPr lang="en-US" dirty="0"/>
              <a:t>Education for Staff</a:t>
            </a:r>
          </a:p>
        </p:txBody>
      </p:sp>
      <p:pic>
        <p:nvPicPr>
          <p:cNvPr id="4" name="Picture 3">
            <a:extLst>
              <a:ext uri="{FF2B5EF4-FFF2-40B4-BE49-F238E27FC236}">
                <a16:creationId xmlns:a16="http://schemas.microsoft.com/office/drawing/2014/main" id="{ADBEC284-2786-49A4-9348-91957D237A44}"/>
              </a:ext>
            </a:extLst>
          </p:cNvPr>
          <p:cNvPicPr>
            <a:picLocks noChangeAspect="1"/>
          </p:cNvPicPr>
          <p:nvPr/>
        </p:nvPicPr>
        <p:blipFill rotWithShape="1">
          <a:blip r:embed="rId2"/>
          <a:srcRect b="67073"/>
          <a:stretch/>
        </p:blipFill>
        <p:spPr>
          <a:xfrm>
            <a:off x="503663" y="2185638"/>
            <a:ext cx="4983558" cy="2129883"/>
          </a:xfrm>
          <a:prstGeom prst="rect">
            <a:avLst/>
          </a:prstGeom>
        </p:spPr>
      </p:pic>
      <p:pic>
        <p:nvPicPr>
          <p:cNvPr id="5" name="Picture 4">
            <a:extLst>
              <a:ext uri="{FF2B5EF4-FFF2-40B4-BE49-F238E27FC236}">
                <a16:creationId xmlns:a16="http://schemas.microsoft.com/office/drawing/2014/main" id="{3DDCEAB8-A8FE-4261-B559-8BD7693E925F}"/>
              </a:ext>
            </a:extLst>
          </p:cNvPr>
          <p:cNvPicPr>
            <a:picLocks noChangeAspect="1"/>
          </p:cNvPicPr>
          <p:nvPr/>
        </p:nvPicPr>
        <p:blipFill rotWithShape="1">
          <a:blip r:embed="rId2"/>
          <a:srcRect t="32446" b="15226"/>
          <a:stretch/>
        </p:blipFill>
        <p:spPr>
          <a:xfrm>
            <a:off x="5618357" y="1343720"/>
            <a:ext cx="6444070" cy="4376855"/>
          </a:xfrm>
          <a:prstGeom prst="rect">
            <a:avLst/>
          </a:prstGeom>
        </p:spPr>
      </p:pic>
    </p:spTree>
    <p:extLst>
      <p:ext uri="{BB962C8B-B14F-4D97-AF65-F5344CB8AC3E}">
        <p14:creationId xmlns:p14="http://schemas.microsoft.com/office/powerpoint/2010/main" val="38598124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9679D-28EE-4480-A6D5-8E062AF79975}"/>
              </a:ext>
            </a:extLst>
          </p:cNvPr>
          <p:cNvSpPr>
            <a:spLocks noGrp="1"/>
          </p:cNvSpPr>
          <p:nvPr>
            <p:ph type="title"/>
          </p:nvPr>
        </p:nvSpPr>
        <p:spPr/>
        <p:txBody>
          <a:bodyPr/>
          <a:lstStyle/>
          <a:p>
            <a:r>
              <a:rPr lang="en-US" dirty="0"/>
              <a:t>Vaccine Update</a:t>
            </a:r>
          </a:p>
        </p:txBody>
      </p:sp>
      <p:sp>
        <p:nvSpPr>
          <p:cNvPr id="3" name="Content Placeholder 2">
            <a:extLst>
              <a:ext uri="{FF2B5EF4-FFF2-40B4-BE49-F238E27FC236}">
                <a16:creationId xmlns:a16="http://schemas.microsoft.com/office/drawing/2014/main" id="{3B0C9F57-2452-4D44-ACF1-846DC7452C05}"/>
              </a:ext>
            </a:extLst>
          </p:cNvPr>
          <p:cNvSpPr>
            <a:spLocks noGrp="1"/>
          </p:cNvSpPr>
          <p:nvPr>
            <p:ph idx="1"/>
          </p:nvPr>
        </p:nvSpPr>
        <p:spPr/>
        <p:txBody>
          <a:bodyPr/>
          <a:lstStyle/>
          <a:p>
            <a:endParaRPr lang="en-US" sz="3600" dirty="0"/>
          </a:p>
          <a:p>
            <a:endParaRPr lang="en-US" sz="3600" dirty="0"/>
          </a:p>
          <a:p>
            <a:r>
              <a:rPr lang="en-US" sz="3600" dirty="0"/>
              <a:t>LAST DAY for 1</a:t>
            </a:r>
            <a:r>
              <a:rPr lang="en-US" sz="3600" baseline="30000" dirty="0"/>
              <a:t>st</a:t>
            </a:r>
            <a:r>
              <a:rPr lang="en-US" sz="3600" dirty="0"/>
              <a:t> Dose is </a:t>
            </a:r>
            <a:r>
              <a:rPr lang="en-US" sz="3600" u="sng" dirty="0"/>
              <a:t>January 21</a:t>
            </a:r>
            <a:r>
              <a:rPr lang="en-US" sz="3600" u="sng" baseline="30000" dirty="0"/>
              <a:t>st</a:t>
            </a:r>
            <a:endParaRPr lang="en-US" sz="3600" u="sng" dirty="0"/>
          </a:p>
          <a:p>
            <a:pPr lvl="1"/>
            <a:r>
              <a:rPr lang="en-US" sz="3200" dirty="0"/>
              <a:t>Will transition to ambulatory side after that date</a:t>
            </a:r>
          </a:p>
        </p:txBody>
      </p:sp>
    </p:spTree>
    <p:extLst>
      <p:ext uri="{BB962C8B-B14F-4D97-AF65-F5344CB8AC3E}">
        <p14:creationId xmlns:p14="http://schemas.microsoft.com/office/powerpoint/2010/main" val="16061260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54F9184-BD08-4840-83F6-734D8C46DBF8}"/>
              </a:ext>
            </a:extLst>
          </p:cNvPr>
          <p:cNvSpPr>
            <a:spLocks noGrp="1"/>
          </p:cNvSpPr>
          <p:nvPr>
            <p:ph type="title"/>
          </p:nvPr>
        </p:nvSpPr>
        <p:spPr>
          <a:xfrm>
            <a:off x="-2324373" y="0"/>
            <a:ext cx="8136835" cy="1143000"/>
          </a:xfrm>
        </p:spPr>
        <p:txBody>
          <a:bodyPr/>
          <a:lstStyle/>
          <a:p>
            <a:r>
              <a:rPr lang="en-US" dirty="0"/>
              <a:t>Into the Void</a:t>
            </a:r>
          </a:p>
        </p:txBody>
      </p:sp>
      <p:sp>
        <p:nvSpPr>
          <p:cNvPr id="8" name="Content Placeholder 7">
            <a:extLst>
              <a:ext uri="{FF2B5EF4-FFF2-40B4-BE49-F238E27FC236}">
                <a16:creationId xmlns:a16="http://schemas.microsoft.com/office/drawing/2014/main" id="{AE169653-B316-874C-857A-8F0A16253AC7}"/>
              </a:ext>
            </a:extLst>
          </p:cNvPr>
          <p:cNvSpPr>
            <a:spLocks noGrp="1"/>
          </p:cNvSpPr>
          <p:nvPr>
            <p:ph idx="1"/>
          </p:nvPr>
        </p:nvSpPr>
        <p:spPr>
          <a:xfrm>
            <a:off x="3239144" y="571500"/>
            <a:ext cx="8679051" cy="5982919"/>
          </a:xfrm>
        </p:spPr>
        <p:txBody>
          <a:bodyPr/>
          <a:lstStyle/>
          <a:p>
            <a:pPr marL="0" indent="0">
              <a:buNone/>
            </a:pPr>
            <a:r>
              <a:rPr lang="en-US" sz="2000" dirty="0"/>
              <a:t>	I’m re-reading a 3 volume set on WW2, in part because I’m a firm believer in the adage “Those who do not learn from history are doomed to repeat it”. In that massive war, the one that followed the “War to End All Wars”, millions of people died, civilians as well as fighting men. Those involved in the conflict were struck by the seeming randomness of it all – this boy would die, and that one would not. At times, the fighting was so intense that it was unsafe to collect the wounded, and they were left alone on the battlefield, as the war continued to rage around them. Many, many would die alone.</a:t>
            </a:r>
          </a:p>
          <a:p>
            <a:pPr marL="0" indent="0">
              <a:buNone/>
            </a:pPr>
            <a:r>
              <a:rPr lang="en-US" sz="2000" dirty="0"/>
              <a:t>	Sometimes, the fractured men and boys would come home, but would never find healing. In and out of the VA system, often homeless, often without family, many, many of these men would die alone.</a:t>
            </a:r>
          </a:p>
          <a:p>
            <a:pPr marL="0" indent="0">
              <a:buNone/>
            </a:pPr>
            <a:r>
              <a:rPr lang="en-US" sz="2000" dirty="0"/>
              <a:t>	Into that void stepped an unlikely hero. In 1995, a Pediatric </a:t>
            </a:r>
            <a:r>
              <a:rPr lang="en-US" sz="2000" dirty="0" err="1"/>
              <a:t>Heme</a:t>
            </a:r>
            <a:r>
              <a:rPr lang="en-US" sz="2000" dirty="0"/>
              <a:t>/</a:t>
            </a:r>
            <a:r>
              <a:rPr lang="en-US" sz="2000" dirty="0" err="1"/>
              <a:t>Onc</a:t>
            </a:r>
            <a:r>
              <a:rPr lang="en-US" sz="2000" dirty="0"/>
              <a:t> specialist moved to Lubbock from Galveston. As a pediatric </a:t>
            </a:r>
            <a:r>
              <a:rPr lang="en-US" sz="2000" dirty="0" err="1"/>
              <a:t>Heme</a:t>
            </a:r>
            <a:r>
              <a:rPr lang="en-US" sz="2000" dirty="0"/>
              <a:t>/</a:t>
            </a:r>
            <a:r>
              <a:rPr lang="en-US" sz="2000" dirty="0" err="1"/>
              <a:t>Onc</a:t>
            </a:r>
            <a:r>
              <a:rPr lang="en-US" sz="2000" dirty="0"/>
              <a:t> specialist, </a:t>
            </a:r>
            <a:r>
              <a:rPr lang="en-US" sz="2000" dirty="0" err="1"/>
              <a:t>Dr</a:t>
            </a:r>
            <a:r>
              <a:rPr lang="en-US" sz="2000" dirty="0"/>
              <a:t> Melanie </a:t>
            </a:r>
            <a:r>
              <a:rPr lang="en-US" sz="2000" dirty="0" err="1"/>
              <a:t>Oblender</a:t>
            </a:r>
            <a:r>
              <a:rPr lang="en-US" sz="2000" dirty="0"/>
              <a:t> was regularly immersed in life and death struggles as her pediatric patients battled cancer. Herself a military veteran, she never lost sight of the veterans who often presented for care in Lubbock alone, and died alone.</a:t>
            </a:r>
          </a:p>
          <a:p>
            <a:endParaRPr lang="en-US" sz="2000" dirty="0"/>
          </a:p>
          <a:p>
            <a:endParaRPr lang="en-US" sz="2000" dirty="0"/>
          </a:p>
          <a:p>
            <a:endParaRPr lang="en-US" sz="2400" dirty="0"/>
          </a:p>
        </p:txBody>
      </p:sp>
      <p:sp>
        <p:nvSpPr>
          <p:cNvPr id="2" name="Rectangle 2">
            <a:extLst>
              <a:ext uri="{FF2B5EF4-FFF2-40B4-BE49-F238E27FC236}">
                <a16:creationId xmlns:a16="http://schemas.microsoft.com/office/drawing/2014/main" id="{1CF0A594-1F74-CB40-B7B7-1EDE7E131B4B}"/>
              </a:ext>
            </a:extLst>
          </p:cNvPr>
          <p:cNvSpPr>
            <a:spLocks noChangeArrowheads="1"/>
          </p:cNvSpPr>
          <p:nvPr/>
        </p:nvSpPr>
        <p:spPr bwMode="auto">
          <a:xfrm>
            <a:off x="3868814" y="-1200969"/>
            <a:ext cx="1943648" cy="192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pic>
        <p:nvPicPr>
          <p:cNvPr id="17409" name="Picture 2" descr="photo of a woman">
            <a:extLst>
              <a:ext uri="{FF2B5EF4-FFF2-40B4-BE49-F238E27FC236}">
                <a16:creationId xmlns:a16="http://schemas.microsoft.com/office/drawing/2014/main" id="{293EF1AC-59BF-454B-87BD-B2A11E0A56C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7873" y="1417638"/>
            <a:ext cx="2497130" cy="3324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887548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C8FA4E-CA8A-AC4E-8C85-F983A3349269}"/>
              </a:ext>
            </a:extLst>
          </p:cNvPr>
          <p:cNvSpPr>
            <a:spLocks noGrp="1"/>
          </p:cNvSpPr>
          <p:nvPr>
            <p:ph type="ctrTitle"/>
          </p:nvPr>
        </p:nvSpPr>
        <p:spPr/>
        <p:txBody>
          <a:bodyPr/>
          <a:lstStyle/>
          <a:p>
            <a:r>
              <a:rPr lang="en-US"/>
              <a:t>Texas Demographics</a:t>
            </a:r>
          </a:p>
        </p:txBody>
      </p:sp>
      <p:sp>
        <p:nvSpPr>
          <p:cNvPr id="5" name="Subtitle 4">
            <a:extLst>
              <a:ext uri="{FF2B5EF4-FFF2-40B4-BE49-F238E27FC236}">
                <a16:creationId xmlns:a16="http://schemas.microsoft.com/office/drawing/2014/main" id="{9307FDAA-B804-324F-93EC-967979A3E53E}"/>
              </a:ext>
            </a:extLst>
          </p:cNvPr>
          <p:cNvSpPr>
            <a:spLocks noGrp="1"/>
          </p:cNvSpPr>
          <p:nvPr>
            <p:ph type="subTitle" idx="1"/>
          </p:nvPr>
        </p:nvSpPr>
        <p:spPr/>
        <p:txBody>
          <a:bodyPr/>
          <a:lstStyle/>
          <a:p>
            <a:endParaRPr lang="en-US"/>
          </a:p>
        </p:txBody>
      </p:sp>
      <p:pic>
        <p:nvPicPr>
          <p:cNvPr id="3" name="Picture 2">
            <a:extLst>
              <a:ext uri="{FF2B5EF4-FFF2-40B4-BE49-F238E27FC236}">
                <a16:creationId xmlns:a16="http://schemas.microsoft.com/office/drawing/2014/main" id="{DE5B17B0-30D9-464D-8F8B-1BF43D01DF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4520" y="761924"/>
            <a:ext cx="2381971" cy="2308302"/>
          </a:xfrm>
          <a:prstGeom prst="rect">
            <a:avLst/>
          </a:prstGeom>
        </p:spPr>
      </p:pic>
    </p:spTree>
    <p:extLst>
      <p:ext uri="{BB962C8B-B14F-4D97-AF65-F5344CB8AC3E}">
        <p14:creationId xmlns:p14="http://schemas.microsoft.com/office/powerpoint/2010/main" val="297045442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F760E2D-D8EA-CF46-9806-2B313A0B3B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5940" y="0"/>
            <a:ext cx="10420120" cy="6858000"/>
          </a:xfrm>
          <a:prstGeom prst="rect">
            <a:avLst/>
          </a:prstGeom>
        </p:spPr>
      </p:pic>
    </p:spTree>
    <p:extLst>
      <p:ext uri="{BB962C8B-B14F-4D97-AF65-F5344CB8AC3E}">
        <p14:creationId xmlns:p14="http://schemas.microsoft.com/office/powerpoint/2010/main" val="57390035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7DD8484-5B7B-914F-A8FD-227EBBD4CA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7084" y="0"/>
            <a:ext cx="10277832" cy="6858000"/>
          </a:xfrm>
          <a:prstGeom prst="rect">
            <a:avLst/>
          </a:prstGeom>
        </p:spPr>
      </p:pic>
    </p:spTree>
    <p:extLst>
      <p:ext uri="{BB962C8B-B14F-4D97-AF65-F5344CB8AC3E}">
        <p14:creationId xmlns:p14="http://schemas.microsoft.com/office/powerpoint/2010/main" val="382103560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D5CAE3F-0E23-FB40-9AA9-A94FE7E040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8471"/>
            <a:ext cx="12192000" cy="6621057"/>
          </a:xfrm>
          <a:prstGeom prst="rect">
            <a:avLst/>
          </a:prstGeom>
        </p:spPr>
      </p:pic>
    </p:spTree>
    <p:extLst>
      <p:ext uri="{BB962C8B-B14F-4D97-AF65-F5344CB8AC3E}">
        <p14:creationId xmlns:p14="http://schemas.microsoft.com/office/powerpoint/2010/main" val="295206910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110974-F214-0D42-9343-A25B0F581637}"/>
              </a:ext>
            </a:extLst>
          </p:cNvPr>
          <p:cNvSpPr>
            <a:spLocks noGrp="1"/>
          </p:cNvSpPr>
          <p:nvPr>
            <p:ph type="ctrTitle"/>
          </p:nvPr>
        </p:nvSpPr>
        <p:spPr/>
        <p:txBody>
          <a:bodyPr/>
          <a:lstStyle/>
          <a:p>
            <a:r>
              <a:rPr lang="en-US" sz="9600"/>
              <a:t>Q &amp; A</a:t>
            </a:r>
          </a:p>
        </p:txBody>
      </p:sp>
      <p:sp>
        <p:nvSpPr>
          <p:cNvPr id="2" name="Subtitle 1">
            <a:extLst>
              <a:ext uri="{FF2B5EF4-FFF2-40B4-BE49-F238E27FC236}">
                <a16:creationId xmlns:a16="http://schemas.microsoft.com/office/drawing/2014/main" id="{CD61BE95-A369-2548-A283-65820DD6E1C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455103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C8363AF0-D2B8-4491-B7BB-D2FFDD93F93A}"/>
              </a:ext>
            </a:extLst>
          </p:cNvPr>
          <p:cNvSpPr>
            <a:spLocks noGrp="1" noChangeArrowheads="1"/>
          </p:cNvSpPr>
          <p:nvPr>
            <p:ph type="title"/>
          </p:nvPr>
        </p:nvSpPr>
        <p:spPr bwMode="auto">
          <a:xfrm>
            <a:off x="2895600" y="207963"/>
            <a:ext cx="6400800" cy="1274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600">
                <a:latin typeface="Baskerville Old Face" panose="02020602080505020303" pitchFamily="18" charset="0"/>
              </a:rPr>
              <a:t>CME Credit was </a:t>
            </a:r>
            <a:r>
              <a:rPr lang="en-US" altLang="en-US" sz="3600" i="1" u="sng">
                <a:latin typeface="Baskerville Old Face" panose="02020602080505020303" pitchFamily="18" charset="0"/>
              </a:rPr>
              <a:t>only</a:t>
            </a:r>
            <a:r>
              <a:rPr lang="en-US" altLang="en-US" sz="3600">
                <a:latin typeface="Baskerville Old Face" panose="02020602080505020303" pitchFamily="18" charset="0"/>
              </a:rPr>
              <a:t> approved for the </a:t>
            </a:r>
            <a:r>
              <a:rPr lang="en-US" altLang="en-US" sz="3600" i="1" u="sng">
                <a:latin typeface="Baskerville Old Face" panose="02020602080505020303" pitchFamily="18" charset="0"/>
              </a:rPr>
              <a:t>Live</a:t>
            </a:r>
            <a:r>
              <a:rPr lang="en-US" altLang="en-US" sz="3600">
                <a:latin typeface="Baskerville Old Face" panose="02020602080505020303" pitchFamily="18" charset="0"/>
              </a:rPr>
              <a:t> Teams meeting</a:t>
            </a:r>
          </a:p>
        </p:txBody>
      </p:sp>
      <p:sp>
        <p:nvSpPr>
          <p:cNvPr id="16387" name="Content Placeholder 2">
            <a:extLst>
              <a:ext uri="{FF2B5EF4-FFF2-40B4-BE49-F238E27FC236}">
                <a16:creationId xmlns:a16="http://schemas.microsoft.com/office/drawing/2014/main" id="{9E8C90B7-F3F3-4A5A-AD1E-7A094B2141B4}"/>
              </a:ext>
            </a:extLst>
          </p:cNvPr>
          <p:cNvSpPr>
            <a:spLocks noGrp="1" noChangeArrowheads="1"/>
          </p:cNvSpPr>
          <p:nvPr>
            <p:ph idx="1"/>
          </p:nvPr>
        </p:nvSpPr>
        <p:spPr bwMode="auto">
          <a:xfrm>
            <a:off x="1898651" y="1593851"/>
            <a:ext cx="8423275" cy="440531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0" eaLnBrk="1" hangingPunct="1">
              <a:spcBef>
                <a:spcPct val="0"/>
              </a:spcBef>
              <a:buNone/>
              <a:defRPr/>
            </a:pPr>
            <a:r>
              <a:rPr lang="en-US" altLang="en-US" sz="2400">
                <a:solidFill>
                  <a:schemeClr val="tx1"/>
                </a:solidFill>
                <a:latin typeface="Baskerville Old Face" panose="02020602080505020303" pitchFamily="18" charset="0"/>
              </a:rPr>
              <a:t>To receive credit for this continuing education activity, the participant must:</a:t>
            </a:r>
          </a:p>
          <a:p>
            <a:pPr indent="0" eaLnBrk="1" hangingPunct="1">
              <a:spcBef>
                <a:spcPct val="0"/>
              </a:spcBef>
              <a:buNone/>
              <a:defRPr/>
            </a:pPr>
            <a:endParaRPr lang="en-US" altLang="en-US" sz="100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altLang="en-US" sz="2000">
                <a:solidFill>
                  <a:schemeClr val="tx1"/>
                </a:solidFill>
                <a:latin typeface="Baskerville Old Face" panose="02020602080505020303" pitchFamily="18" charset="0"/>
              </a:rPr>
              <a:t>Make sure you are logged into your Teams account, if you are signed in with a group provide attendee’s First and Last name(s) in the comments section.</a:t>
            </a:r>
          </a:p>
          <a:p>
            <a:pPr marL="1077595" lvl="1" indent="-457200" eaLnBrk="1" hangingPunct="1">
              <a:spcBef>
                <a:spcPct val="0"/>
              </a:spcBef>
              <a:buFont typeface="Wingdings" panose="05000000000000000000" pitchFamily="2" charset="2"/>
              <a:buChar char="v"/>
              <a:defRPr/>
            </a:pPr>
            <a:endParaRPr lang="en-US" altLang="en-US" sz="200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a:solidFill>
                  <a:schemeClr val="tx1"/>
                </a:solidFill>
                <a:latin typeface="Baskerville Old Face"/>
              </a:rPr>
              <a:t>If you are calling into the Teams meeting you </a:t>
            </a:r>
            <a:r>
              <a:rPr lang="en-US" sz="2000" u="sng">
                <a:solidFill>
                  <a:schemeClr val="tx1"/>
                </a:solidFill>
                <a:latin typeface="Baskerville Old Face"/>
              </a:rPr>
              <a:t>MUST</a:t>
            </a:r>
            <a:r>
              <a:rPr lang="en-US" sz="2000">
                <a:solidFill>
                  <a:schemeClr val="tx1"/>
                </a:solidFill>
                <a:latin typeface="Baskerville Old Face"/>
              </a:rPr>
              <a:t> text your First &amp; Last Name to </a:t>
            </a:r>
            <a:r>
              <a:rPr lang="en-US" sz="2000" b="1">
                <a:solidFill>
                  <a:schemeClr val="tx1"/>
                </a:solidFill>
                <a:latin typeface="Baskerville Old Face"/>
              </a:rPr>
              <a:t>(806) 252-4735</a:t>
            </a:r>
            <a:r>
              <a:rPr lang="en-US" sz="2000">
                <a:solidFill>
                  <a:schemeClr val="tx1"/>
                </a:solidFill>
                <a:latin typeface="Baskerville Old Face"/>
              </a:rPr>
              <a:t>. This will ensure you are added to the sign in sheet to receive CME Credit.</a:t>
            </a:r>
          </a:p>
          <a:p>
            <a:pPr marL="1077595" lvl="1" indent="-457200" eaLnBrk="1" hangingPunct="1">
              <a:spcBef>
                <a:spcPct val="0"/>
              </a:spcBef>
              <a:buFont typeface="Wingdings" panose="05000000000000000000" pitchFamily="2" charset="2"/>
              <a:buChar char="v"/>
              <a:defRPr/>
            </a:pPr>
            <a:endParaRPr lang="en-US" sz="200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a:solidFill>
                  <a:schemeClr val="tx1"/>
                </a:solidFill>
                <a:latin typeface="Baskerville Old Face"/>
              </a:rPr>
              <a:t>You will receive an email by the following Wednesday from the CME department with further instructions on claiming your certificate.</a:t>
            </a:r>
          </a:p>
          <a:p>
            <a:pPr marL="620395" lvl="1" indent="0" eaLnBrk="1" hangingPunct="1">
              <a:spcBef>
                <a:spcPct val="0"/>
              </a:spcBef>
              <a:buNone/>
              <a:defRPr/>
            </a:pPr>
            <a:endParaRPr lang="en-US" altLang="en-US" sz="2400">
              <a:solidFill>
                <a:schemeClr val="tx1"/>
              </a:solidFill>
              <a:latin typeface="Baskerville Old Face" panose="02020602080505020303" pitchFamily="18" charset="0"/>
            </a:endParaRPr>
          </a:p>
        </p:txBody>
      </p:sp>
    </p:spTree>
    <p:extLst>
      <p:ext uri="{BB962C8B-B14F-4D97-AF65-F5344CB8AC3E}">
        <p14:creationId xmlns:p14="http://schemas.microsoft.com/office/powerpoint/2010/main" val="28045320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A81BDD5-B313-1547-AF27-929FC1938C3B}"/>
              </a:ext>
            </a:extLst>
          </p:cNvPr>
          <p:cNvSpPr>
            <a:spLocks noGrp="1"/>
          </p:cNvSpPr>
          <p:nvPr>
            <p:ph type="title"/>
          </p:nvPr>
        </p:nvSpPr>
        <p:spPr>
          <a:xfrm>
            <a:off x="-848139" y="35379"/>
            <a:ext cx="10972800" cy="745779"/>
          </a:xfrm>
        </p:spPr>
        <p:txBody>
          <a:bodyPr/>
          <a:lstStyle/>
          <a:p>
            <a:r>
              <a:rPr lang="en-US" sz="4000" dirty="0"/>
              <a:t>Dr. Melanie </a:t>
            </a:r>
            <a:r>
              <a:rPr lang="en-US" sz="4000" dirty="0" err="1"/>
              <a:t>Oblender</a:t>
            </a:r>
            <a:endParaRPr lang="en-US" sz="4000" dirty="0"/>
          </a:p>
        </p:txBody>
      </p:sp>
      <p:sp>
        <p:nvSpPr>
          <p:cNvPr id="6" name="Content Placeholder 5">
            <a:extLst>
              <a:ext uri="{FF2B5EF4-FFF2-40B4-BE49-F238E27FC236}">
                <a16:creationId xmlns:a16="http://schemas.microsoft.com/office/drawing/2014/main" id="{C4AA47FA-E193-C742-8AB9-61FDC4A93417}"/>
              </a:ext>
            </a:extLst>
          </p:cNvPr>
          <p:cNvSpPr>
            <a:spLocks noGrp="1"/>
          </p:cNvSpPr>
          <p:nvPr>
            <p:ph idx="1"/>
          </p:nvPr>
        </p:nvSpPr>
        <p:spPr>
          <a:xfrm>
            <a:off x="609599" y="874301"/>
            <a:ext cx="8878957" cy="4386814"/>
          </a:xfrm>
        </p:spPr>
        <p:txBody>
          <a:bodyPr/>
          <a:lstStyle/>
          <a:p>
            <a:r>
              <a:rPr lang="en-US" sz="2000" dirty="0"/>
              <a:t>Dr. </a:t>
            </a:r>
            <a:r>
              <a:rPr lang="en-US" sz="2000" dirty="0" err="1"/>
              <a:t>Oblender</a:t>
            </a:r>
            <a:r>
              <a:rPr lang="en-US" sz="2000" dirty="0"/>
              <a:t> was instrumental in creating our Certified Palliative Care Unit, and bringing Hospice services into a closer working relationship with Pall Med. When she recognized the need for an effective Palliative Care process, she did not receive a warm welcome from the Administration in place at that time – but she did not give up. Because of her persistence, many, many veterans did not die alone, but received focused, compassionate care at the very end of their lives. Because of her legacy, I was able to hold my dad’s hand in our Pall Med unit as he passed away earlier this year.</a:t>
            </a:r>
          </a:p>
          <a:p>
            <a:r>
              <a:rPr lang="en-US" sz="2000" dirty="0"/>
              <a:t>Why would a Pediatric Hematologist/Oncologist leave such a legacy among adult patients? Because she saw a need and her heart compelled her to address it. She took courses in Palliative care, researched certification in Palliative Care, and persisted until a thriving and sustainable care process was in place. When it was within her power, no veteran ever died alone.</a:t>
            </a:r>
          </a:p>
          <a:p>
            <a:pPr marL="0" indent="0">
              <a:buNone/>
            </a:pPr>
            <a:endParaRPr lang="en-US" dirty="0"/>
          </a:p>
        </p:txBody>
      </p:sp>
      <p:pic>
        <p:nvPicPr>
          <p:cNvPr id="8" name="Content Placeholder 4">
            <a:extLst>
              <a:ext uri="{FF2B5EF4-FFF2-40B4-BE49-F238E27FC236}">
                <a16:creationId xmlns:a16="http://schemas.microsoft.com/office/drawing/2014/main" id="{602EECE9-FD14-C74B-B3E6-1F91BC2CB0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84341" y="424070"/>
            <a:ext cx="2444870" cy="1813934"/>
          </a:xfrm>
          <a:prstGeom prst="rect">
            <a:avLst/>
          </a:prstGeom>
        </p:spPr>
      </p:pic>
    </p:spTree>
    <p:extLst>
      <p:ext uri="{BB962C8B-B14F-4D97-AF65-F5344CB8AC3E}">
        <p14:creationId xmlns:p14="http://schemas.microsoft.com/office/powerpoint/2010/main" val="22188978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1"/>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xml><?xml version="1.0" encoding="utf-8"?>
<p:tagLst xmlns:a="http://schemas.openxmlformats.org/drawingml/2006/main" xmlns:r="http://schemas.openxmlformats.org/officeDocument/2006/relationships" xmlns:p="http://schemas.openxmlformats.org/presentationml/2006/main">
  <p:tag name="ANGLE" val="5"/>
</p:tagLst>
</file>

<file path=ppt/tags/tag27.xml><?xml version="1.0" encoding="utf-8"?>
<p:tagLst xmlns:a="http://schemas.openxmlformats.org/drawingml/2006/main" xmlns:r="http://schemas.openxmlformats.org/officeDocument/2006/relationships" xmlns:p="http://schemas.openxmlformats.org/presentationml/2006/main">
  <p:tag name="ANGLE" val="5"/>
</p:tagLst>
</file>

<file path=ppt/tags/tag28.xml><?xml version="1.0" encoding="utf-8"?>
<p:tagLst xmlns:a="http://schemas.openxmlformats.org/drawingml/2006/main" xmlns:r="http://schemas.openxmlformats.org/officeDocument/2006/relationships" xmlns:p="http://schemas.openxmlformats.org/presentationml/2006/main">
  <p:tag name="ANGLE" val="4"/>
</p:tagLst>
</file>

<file path=ppt/tags/tag29.xml><?xml version="1.0" encoding="utf-8"?>
<p:tagLst xmlns:a="http://schemas.openxmlformats.org/drawingml/2006/main" xmlns:r="http://schemas.openxmlformats.org/officeDocument/2006/relationships" xmlns:p="http://schemas.openxmlformats.org/presentationml/2006/main">
  <p:tag name="ANGLE" val="4"/>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ANGLE" val="3"/>
</p:tagLst>
</file>

<file path=ppt/tags/tag32.xml><?xml version="1.0" encoding="utf-8"?>
<p:tagLst xmlns:a="http://schemas.openxmlformats.org/drawingml/2006/main" xmlns:r="http://schemas.openxmlformats.org/officeDocument/2006/relationships" xmlns:p="http://schemas.openxmlformats.org/presentationml/2006/main">
  <p:tag name="ANGLE" val="2"/>
</p:tagLst>
</file>

<file path=ppt/tags/tag33.xml><?xml version="1.0" encoding="utf-8"?>
<p:tagLst xmlns:a="http://schemas.openxmlformats.org/drawingml/2006/main" xmlns:r="http://schemas.openxmlformats.org/officeDocument/2006/relationships" xmlns:p="http://schemas.openxmlformats.org/presentationml/2006/main">
  <p:tag name="ANGLE" val="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UpCClAV5oHf.Uv09Fn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1R4ZFc503tAQ6JnfEklv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Empty"/>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ZaT0pc1t5njNc.QjjniQ"/>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oe8TP4XhZ.lnTo2za9cA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P.XMQcYbPtSh31.Br9hHQ"/>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NUaM_SWfAmEY4NYmacs7Q"/>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RGyMAMPu_wFFhPSuQDqWQ"/>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10.xml><?xml version="1.0" encoding="utf-8"?>
<a:theme xmlns:a="http://schemas.openxmlformats.org/drawingml/2006/main" name="25_Office Theme">
  <a:themeElements>
    <a:clrScheme name="PRVD">
      <a:dk1>
        <a:srgbClr val="000000"/>
      </a:dk1>
      <a:lt1>
        <a:srgbClr val="FFFFFF"/>
      </a:lt1>
      <a:dk2>
        <a:srgbClr val="595959"/>
      </a:dk2>
      <a:lt2>
        <a:srgbClr val="E7E6E6"/>
      </a:lt2>
      <a:accent1>
        <a:srgbClr val="00338E"/>
      </a:accent1>
      <a:accent2>
        <a:srgbClr val="38892F"/>
      </a:accent2>
      <a:accent3>
        <a:srgbClr val="EAE5D0"/>
      </a:accent3>
      <a:accent4>
        <a:srgbClr val="988C7E"/>
      </a:accent4>
      <a:accent5>
        <a:srgbClr val="71243A"/>
      </a:accent5>
      <a:accent6>
        <a:srgbClr val="D59A5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marL="0" indent="0" algn="l">
          <a:lnSpc>
            <a:spcPts val="2100"/>
          </a:lnSpc>
          <a:spcAft>
            <a:spcPts val="900"/>
          </a:spcAft>
          <a:defRPr sz="1800" b="0" i="0">
            <a:latin typeface="Barlow" pitchFamily="2" charset="77"/>
          </a:defRPr>
        </a:defPPr>
      </a:lstStyle>
    </a:txDef>
  </a:objectDefaults>
  <a:extraClrSchemeLst/>
  <a:extLst>
    <a:ext uri="{05A4C25C-085E-4340-85A3-A5531E510DB2}">
      <thm15:themeFamily xmlns:thm15="http://schemas.microsoft.com/office/thememl/2012/main" name="Providence_ppt_16x9_master.potx  -  Read-Only" id="{EE80F1CD-DF99-4A9B-9F2F-725569F22C90}" vid="{D01D50CC-53F6-42CC-92C1-B8950126E057}"/>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A7253780-DE27-3648-B9E5-518D3AE3900B}"/>
    </a:ext>
  </a:extLst>
</a:theme>
</file>

<file path=ppt/theme/theme3.xml><?xml version="1.0" encoding="utf-8"?>
<a:theme xmlns:a="http://schemas.openxmlformats.org/drawingml/2006/main" name="1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EBA91C50-C2BF-6544-940E-74B663AC4748}"/>
    </a:ext>
  </a:extLst>
</a:theme>
</file>

<file path=ppt/theme/theme4.xml><?xml version="1.0" encoding="utf-8"?>
<a:theme xmlns:a="http://schemas.openxmlformats.org/drawingml/2006/main" name="3349UU_CF">
  <a:themeElements>
    <a:clrScheme name="CURRENT">
      <a:dk1>
        <a:srgbClr val="000000"/>
      </a:dk1>
      <a:lt1>
        <a:srgbClr val="FFFFFF"/>
      </a:lt1>
      <a:dk2>
        <a:srgbClr val="000000"/>
      </a:dk2>
      <a:lt2>
        <a:srgbClr val="FFFFFF"/>
      </a:lt2>
      <a:accent1>
        <a:srgbClr val="0070C0"/>
      </a:accent1>
      <a:accent2>
        <a:srgbClr val="00529B"/>
      </a:accent2>
      <a:accent3>
        <a:srgbClr val="419639"/>
      </a:accent3>
      <a:accent4>
        <a:srgbClr val="93C571"/>
      </a:accent4>
      <a:accent5>
        <a:srgbClr val="3EABAA"/>
      </a:accent5>
      <a:accent6>
        <a:srgbClr val="808080"/>
      </a:accent6>
      <a:hlink>
        <a:srgbClr val="419639"/>
      </a:hlink>
      <a:folHlink>
        <a:srgbClr val="93C571"/>
      </a:folHlink>
    </a:clrScheme>
    <a:fontScheme name="Custom 10">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93C571"/>
        </a:accent1>
        <a:accent2>
          <a:srgbClr val="419639"/>
        </a:accent2>
        <a:accent3>
          <a:srgbClr val="0070C0"/>
        </a:accent3>
        <a:accent4>
          <a:srgbClr val="2F5597"/>
        </a:accent4>
        <a:accent5>
          <a:srgbClr val="3EABAA"/>
        </a:accent5>
        <a:accent6>
          <a:srgbClr val="808080"/>
        </a:accent6>
        <a:hlink>
          <a:srgbClr val="0070C0"/>
        </a:hlink>
        <a:folHlink>
          <a:srgbClr val="2F559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3349UU vF.potx" id="{2BEC9316-A2CD-4894-BBC6-3B78765581E4}" vid="{4A7DEE00-6925-42B1-8430-6A16D9323133}"/>
    </a:ext>
  </a:extLst>
</a:theme>
</file>

<file path=ppt/theme/theme5.xml><?xml version="1.0" encoding="utf-8"?>
<a:theme xmlns:a="http://schemas.openxmlformats.org/drawingml/2006/main" name="2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venant Health" id="{F87D4349-4C9B-4399-BD00-AAAB857E8A8B}" vid="{298206E4-BFCD-4F37-B667-0591ACAB0A35}"/>
    </a:ext>
  </a:extLst>
</a:theme>
</file>

<file path=ppt/theme/theme6.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2_Office Theme">
  <a:themeElements>
    <a:clrScheme name="PRVD">
      <a:dk1>
        <a:srgbClr val="000000"/>
      </a:dk1>
      <a:lt1>
        <a:srgbClr val="FFFFFF"/>
      </a:lt1>
      <a:dk2>
        <a:srgbClr val="595959"/>
      </a:dk2>
      <a:lt2>
        <a:srgbClr val="E7E6E6"/>
      </a:lt2>
      <a:accent1>
        <a:srgbClr val="00338E"/>
      </a:accent1>
      <a:accent2>
        <a:srgbClr val="38892F"/>
      </a:accent2>
      <a:accent3>
        <a:srgbClr val="EAE5D0"/>
      </a:accent3>
      <a:accent4>
        <a:srgbClr val="988C7E"/>
      </a:accent4>
      <a:accent5>
        <a:srgbClr val="71243A"/>
      </a:accent5>
      <a:accent6>
        <a:srgbClr val="D59A5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marL="0" indent="0" algn="l">
          <a:lnSpc>
            <a:spcPts val="2100"/>
          </a:lnSpc>
          <a:spcAft>
            <a:spcPts val="900"/>
          </a:spcAft>
          <a:defRPr sz="1800" b="0" i="0">
            <a:latin typeface="Barlow" pitchFamily="2" charset="77"/>
          </a:defRPr>
        </a:defPPr>
      </a:lstStyle>
    </a:txDef>
  </a:objectDefaults>
  <a:extraClrSchemeLst/>
  <a:extLst>
    <a:ext uri="{05A4C25C-085E-4340-85A3-A5531E510DB2}">
      <thm15:themeFamily xmlns:thm15="http://schemas.microsoft.com/office/thememl/2012/main" name="Presentation3" id="{2025B503-2754-EA4E-85C7-1C1FE5B97B51}" vid="{8C7FFD3E-102F-F043-87FA-A56E94C1BA24}"/>
    </a:ext>
  </a:extLst>
</a:theme>
</file>

<file path=ppt/theme/theme9.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venant Health</Template>
  <TotalTime>29408</TotalTime>
  <Words>2911</Words>
  <Application>Microsoft Macintosh PowerPoint</Application>
  <PresentationFormat>Widescreen</PresentationFormat>
  <Paragraphs>520</Paragraphs>
  <Slides>85</Slides>
  <Notes>15</Notes>
  <HiddenSlides>3</HiddenSlides>
  <MMClips>0</MMClips>
  <ScaleCrop>false</ScaleCrop>
  <HeadingPairs>
    <vt:vector size="8" baseType="variant">
      <vt:variant>
        <vt:lpstr>Fonts Used</vt:lpstr>
      </vt:variant>
      <vt:variant>
        <vt:i4>19</vt:i4>
      </vt:variant>
      <vt:variant>
        <vt:lpstr>Theme</vt:lpstr>
      </vt:variant>
      <vt:variant>
        <vt:i4>10</vt:i4>
      </vt:variant>
      <vt:variant>
        <vt:lpstr>Embedded OLE Servers</vt:lpstr>
      </vt:variant>
      <vt:variant>
        <vt:i4>1</vt:i4>
      </vt:variant>
      <vt:variant>
        <vt:lpstr>Slide Titles</vt:lpstr>
      </vt:variant>
      <vt:variant>
        <vt:i4>85</vt:i4>
      </vt:variant>
    </vt:vector>
  </HeadingPairs>
  <TitlesOfParts>
    <vt:vector size="115" baseType="lpstr">
      <vt:lpstr> Arial</vt:lpstr>
      <vt:lpstr>Arial</vt:lpstr>
      <vt:lpstr>Arial Narrow</vt:lpstr>
      <vt:lpstr>Barlow</vt:lpstr>
      <vt:lpstr>Baskerville Old Face</vt:lpstr>
      <vt:lpstr>Calibri</vt:lpstr>
      <vt:lpstr>Calibri Light</vt:lpstr>
      <vt:lpstr>Calibri Regular</vt:lpstr>
      <vt:lpstr>Century Gothic</vt:lpstr>
      <vt:lpstr>Corbel</vt:lpstr>
      <vt:lpstr>Courier New</vt:lpstr>
      <vt:lpstr>ff-quadraat-web-pro</vt:lpstr>
      <vt:lpstr>Georgia</vt:lpstr>
      <vt:lpstr>Helvetica Neue Medium</vt:lpstr>
      <vt:lpstr>Lora</vt:lpstr>
      <vt:lpstr>Segoe UI</vt:lpstr>
      <vt:lpstr>Times New Roman</vt:lpstr>
      <vt:lpstr>Verdana</vt:lpstr>
      <vt:lpstr>Wingdings</vt:lpstr>
      <vt:lpstr>Covenant Health</vt:lpstr>
      <vt:lpstr>Custom Design</vt:lpstr>
      <vt:lpstr>1_Covenant Health</vt:lpstr>
      <vt:lpstr>3349UU_CF</vt:lpstr>
      <vt:lpstr>2_Covenant Health</vt:lpstr>
      <vt:lpstr>1_Custom Design</vt:lpstr>
      <vt:lpstr>1_Office Theme</vt:lpstr>
      <vt:lpstr>2_Office Theme</vt:lpstr>
      <vt:lpstr>3_Office Theme</vt:lpstr>
      <vt:lpstr>25_Office Theme</vt:lpstr>
      <vt:lpstr>think-cell Slide</vt:lpstr>
      <vt:lpstr>Covenant Health Presents    Critical Communications: A Weekly Physician Update  January 8, 2021</vt:lpstr>
      <vt:lpstr>PowerPoint Presentation</vt:lpstr>
      <vt:lpstr>Disclosures of Commercial Interest</vt:lpstr>
      <vt:lpstr>Disclosures</vt:lpstr>
      <vt:lpstr>CME Credit was only approved for the Live Teams meeting</vt:lpstr>
      <vt:lpstr>Reflection</vt:lpstr>
      <vt:lpstr>PowerPoint Presentation</vt:lpstr>
      <vt:lpstr>Into the Void</vt:lpstr>
      <vt:lpstr>Dr. Melanie Oblender</vt:lpstr>
      <vt:lpstr>PowerPoint Presentation</vt:lpstr>
      <vt:lpstr>Covid-19 Vaccine   </vt:lpstr>
      <vt:lpstr>Does the Vaccine Work?</vt:lpstr>
      <vt:lpstr>PowerPoint Presentation</vt:lpstr>
      <vt:lpstr>Vaccinations for Office Caregivers</vt:lpstr>
      <vt:lpstr>Racial Disparity in Susceptabilty to Covid-19</vt:lpstr>
      <vt:lpstr>Covid Mortality in Texas 2020</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o Hispanic patients in TX have a different comorbidity profile than in other regions? (Data from patients admitted through 12.11.2020)</vt:lpstr>
      <vt:lpstr>Impact for West Texas</vt:lpstr>
      <vt:lpstr>Regional Chief Diversity Officer – Kevin McConic</vt:lpstr>
      <vt:lpstr>New Physician Screening and Mask Replacement Process for CMC</vt:lpstr>
      <vt:lpstr>Physician Dining Room Screening Site</vt:lpstr>
      <vt:lpstr>Reprocess or Replace N-95s </vt:lpstr>
      <vt:lpstr>Current Regional Covid-19 Census</vt:lpstr>
      <vt:lpstr>PowerPoint Presentation</vt:lpstr>
      <vt:lpstr>STATE</vt:lpstr>
      <vt:lpstr>COUNTIES</vt:lpstr>
      <vt:lpstr>COVID+ HOSPITALIZATIONS BY TSA ID</vt:lpstr>
      <vt:lpstr>COVID+ HOSPITALIZATIONS BY TSA ID</vt:lpstr>
      <vt:lpstr>Lubbock This Morning</vt:lpstr>
      <vt:lpstr>Surge Plans</vt:lpstr>
      <vt:lpstr>COVID Units - CMC</vt:lpstr>
      <vt:lpstr>Statistics</vt:lpstr>
      <vt:lpstr>Providence System Hospitalized COVID-19 Cases</vt:lpstr>
      <vt:lpstr>Providence Inpatient COVID-19 Volume</vt:lpstr>
      <vt:lpstr>Texas Inpatient COVID-19 Volume</vt:lpstr>
      <vt:lpstr>New COVID-19 POSITIVES by Day Trend </vt:lpstr>
      <vt:lpstr> COVID-19 POSITIVES Age Distribution </vt:lpstr>
      <vt:lpstr>TX/NM Region Weekly Procedures (YOY)</vt:lpstr>
      <vt:lpstr>Covenant Outpatient Infusion Center Update</vt:lpstr>
      <vt:lpstr>COVID Infusion Center</vt:lpstr>
      <vt:lpstr>Infusion Center Update</vt:lpstr>
      <vt:lpstr>Hours and Capacity</vt:lpstr>
      <vt:lpstr>Infusions to Date</vt:lpstr>
      <vt:lpstr>Other Options</vt:lpstr>
      <vt:lpstr>Research</vt:lpstr>
      <vt:lpstr>Remdesivir</vt:lpstr>
      <vt:lpstr>PowerPoint Presentation</vt:lpstr>
      <vt:lpstr>Others are watching our success</vt:lpstr>
      <vt:lpstr>Request from Dr. Duriex</vt:lpstr>
      <vt:lpstr>Covid-19 Testing</vt:lpstr>
      <vt:lpstr>PowerPoint Presentation</vt:lpstr>
      <vt:lpstr>TESTING</vt:lpstr>
      <vt:lpstr>Pharmacy Update </vt:lpstr>
      <vt:lpstr>Therapeutics Update</vt:lpstr>
      <vt:lpstr>Vaccine Update</vt:lpstr>
      <vt:lpstr>Vaccine Update</vt:lpstr>
      <vt:lpstr>Vaccine Update</vt:lpstr>
      <vt:lpstr>Administration</vt:lpstr>
      <vt:lpstr>Who Can Get the Vaccine?</vt:lpstr>
      <vt:lpstr>Who Can Get the Vaccine</vt:lpstr>
      <vt:lpstr>Vaccine Update</vt:lpstr>
      <vt:lpstr>Education for Staff</vt:lpstr>
      <vt:lpstr>Vaccine Update</vt:lpstr>
      <vt:lpstr>Texas Demographics</vt:lpstr>
      <vt:lpstr>PowerPoint Presentation</vt:lpstr>
      <vt:lpstr>PowerPoint Presentation</vt:lpstr>
      <vt:lpstr>PowerPoint Presentation</vt:lpstr>
      <vt:lpstr>Q &amp; A</vt:lpstr>
      <vt:lpstr>CME Credit was only approved for the Live Teams meeting</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nant Health presents New Provider Training:  Best Practices </dc:title>
  <dc:creator>Rhyne, Craig</dc:creator>
  <cp:lastModifiedBy>Rhyne, Craig D</cp:lastModifiedBy>
  <cp:revision>797</cp:revision>
  <cp:lastPrinted>2020-12-04T15:18:20Z</cp:lastPrinted>
  <dcterms:created xsi:type="dcterms:W3CDTF">2020-04-06T15:45:06Z</dcterms:created>
  <dcterms:modified xsi:type="dcterms:W3CDTF">2021-01-08T17:32:00Z</dcterms:modified>
</cp:coreProperties>
</file>